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3.xml" ContentType="application/vnd.openxmlformats-officedocument.theme+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4.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5.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6.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7.xml" ContentType="application/vnd.openxmlformats-officedocument.theme+xml"/>
  <Override PartName="/ppt/tags/tag3.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0.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3" r:id="rId10"/>
    <p:sldMasterId id="2147483700" r:id="rId11"/>
    <p:sldMasterId id="2147483743" r:id="rId12"/>
    <p:sldMasterId id="2147483763" r:id="rId13"/>
    <p:sldMasterId id="2147483784" r:id="rId14"/>
    <p:sldMasterId id="2147483804" r:id="rId15"/>
    <p:sldMasterId id="2147483827" r:id="rId16"/>
  </p:sldMasterIdLst>
  <p:notesMasterIdLst>
    <p:notesMasterId r:id="rId54"/>
  </p:notesMasterIdLst>
  <p:sldIdLst>
    <p:sldId id="257" r:id="rId17"/>
    <p:sldId id="2147481468" r:id="rId18"/>
    <p:sldId id="2147481466" r:id="rId19"/>
    <p:sldId id="2147478938" r:id="rId20"/>
    <p:sldId id="2147478940" r:id="rId21"/>
    <p:sldId id="2142533296" r:id="rId22"/>
    <p:sldId id="2142533299" r:id="rId23"/>
    <p:sldId id="2147478912" r:id="rId24"/>
    <p:sldId id="2147478942" r:id="rId25"/>
    <p:sldId id="2147481470" r:id="rId26"/>
    <p:sldId id="2147472973" r:id="rId27"/>
    <p:sldId id="2147479083" r:id="rId28"/>
    <p:sldId id="2147481487" r:id="rId29"/>
    <p:sldId id="2147481479" r:id="rId30"/>
    <p:sldId id="2147481481" r:id="rId31"/>
    <p:sldId id="2147478796" r:id="rId32"/>
    <p:sldId id="2147481475" r:id="rId33"/>
    <p:sldId id="2147481476" r:id="rId34"/>
    <p:sldId id="2147481483" r:id="rId35"/>
    <p:sldId id="2147481477" r:id="rId36"/>
    <p:sldId id="2147481482" r:id="rId37"/>
    <p:sldId id="2147481488" r:id="rId38"/>
    <p:sldId id="2147480490" r:id="rId39"/>
    <p:sldId id="4416" r:id="rId40"/>
    <p:sldId id="2142533345" r:id="rId41"/>
    <p:sldId id="2142533334" r:id="rId42"/>
    <p:sldId id="2142533426" r:id="rId43"/>
    <p:sldId id="2147478956" r:id="rId44"/>
    <p:sldId id="2147478822" r:id="rId45"/>
    <p:sldId id="2147481489" r:id="rId46"/>
    <p:sldId id="2147481480" r:id="rId47"/>
    <p:sldId id="2147478920" r:id="rId48"/>
    <p:sldId id="2147478921" r:id="rId49"/>
    <p:sldId id="2147481474" r:id="rId50"/>
    <p:sldId id="2147481465" r:id="rId51"/>
    <p:sldId id="2147481485" r:id="rId52"/>
    <p:sldId id="2147481490" r:id="rId53"/>
  </p:sldIdLst>
  <p:sldSz cx="12192000" cy="6858000"/>
  <p:notesSz cx="6858000" cy="9144000"/>
  <p:custDataLst>
    <p:tags r:id="rId55"/>
  </p:custDataLst>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6157"/>
    <a:srgbClr val="A6C0BC"/>
    <a:srgbClr val="4A858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E9C30F7-90CD-4966-80F0-D061DBD819C0}" v="375" dt="2025-05-09T14:26:27.70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980" autoAdjust="0"/>
    <p:restoredTop sz="94660"/>
  </p:normalViewPr>
  <p:slideViewPr>
    <p:cSldViewPr snapToGrid="0">
      <p:cViewPr varScale="1">
        <p:scale>
          <a:sx n="62" d="100"/>
          <a:sy n="62" d="100"/>
        </p:scale>
        <p:origin x="58" y="221"/>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4.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slide" Target="slides/slide23.xml"/><Relationship Id="rId21" Type="http://schemas.openxmlformats.org/officeDocument/2006/relationships/slide" Target="slides/slide5.xml"/><Relationship Id="rId34" Type="http://schemas.openxmlformats.org/officeDocument/2006/relationships/slide" Target="slides/slide18.xml"/><Relationship Id="rId42" Type="http://schemas.openxmlformats.org/officeDocument/2006/relationships/slide" Target="slides/slide26.xml"/><Relationship Id="rId47" Type="http://schemas.openxmlformats.org/officeDocument/2006/relationships/slide" Target="slides/slide31.xml"/><Relationship Id="rId50" Type="http://schemas.openxmlformats.org/officeDocument/2006/relationships/slide" Target="slides/slide34.xml"/><Relationship Id="rId55" Type="http://schemas.openxmlformats.org/officeDocument/2006/relationships/tags" Target="tags/tag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slideMaster" Target="slideMasters/slideMaster7.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slide" Target="slides/slide25.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2.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slide" Target="slides/slide21.xml"/><Relationship Id="rId40" Type="http://schemas.openxmlformats.org/officeDocument/2006/relationships/slide" Target="slides/slide24.xml"/><Relationship Id="rId45" Type="http://schemas.openxmlformats.org/officeDocument/2006/relationships/slide" Target="slides/slide29.xml"/><Relationship Id="rId53" Type="http://schemas.openxmlformats.org/officeDocument/2006/relationships/slide" Target="slides/slide37.xml"/><Relationship Id="rId58" Type="http://schemas.openxmlformats.org/officeDocument/2006/relationships/theme" Target="theme/theme1.xml"/><Relationship Id="rId5" Type="http://schemas.openxmlformats.org/officeDocument/2006/relationships/customXml" Target="../customXml/item5.xml"/><Relationship Id="rId15" Type="http://schemas.openxmlformats.org/officeDocument/2006/relationships/slideMaster" Target="slideMasters/slideMaster6.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slide" Target="slides/slide20.xml"/><Relationship Id="rId49" Type="http://schemas.openxmlformats.org/officeDocument/2006/relationships/slide" Target="slides/slide33.xml"/><Relationship Id="rId57" Type="http://schemas.openxmlformats.org/officeDocument/2006/relationships/viewProps" Target="viewProps.xml"/><Relationship Id="rId61" Type="http://schemas.microsoft.com/office/2015/10/relationships/revisionInfo" Target="revisionInfo.xml"/><Relationship Id="rId10" Type="http://schemas.openxmlformats.org/officeDocument/2006/relationships/slideMaster" Target="slideMasters/slideMaster1.xml"/><Relationship Id="rId19" Type="http://schemas.openxmlformats.org/officeDocument/2006/relationships/slide" Target="slides/slide3.xml"/><Relationship Id="rId31" Type="http://schemas.openxmlformats.org/officeDocument/2006/relationships/slide" Target="slides/slide15.xml"/><Relationship Id="rId44" Type="http://schemas.openxmlformats.org/officeDocument/2006/relationships/slide" Target="slides/slide28.xml"/><Relationship Id="rId52" Type="http://schemas.openxmlformats.org/officeDocument/2006/relationships/slide" Target="slides/slide36.xml"/><Relationship Id="rId60"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Master" Target="slideMasters/slideMaster5.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slide" Target="slides/slide19.xml"/><Relationship Id="rId43" Type="http://schemas.openxmlformats.org/officeDocument/2006/relationships/slide" Target="slides/slide27.xml"/><Relationship Id="rId48" Type="http://schemas.openxmlformats.org/officeDocument/2006/relationships/slide" Target="slides/slide32.xml"/><Relationship Id="rId56" Type="http://schemas.openxmlformats.org/officeDocument/2006/relationships/presProps" Target="presProps.xml"/><Relationship Id="rId8" Type="http://schemas.openxmlformats.org/officeDocument/2006/relationships/customXml" Target="../customXml/item8.xml"/><Relationship Id="rId51" Type="http://schemas.openxmlformats.org/officeDocument/2006/relationships/slide" Target="slides/slide35.xml"/><Relationship Id="rId3" Type="http://schemas.openxmlformats.org/officeDocument/2006/relationships/customXml" Target="../customXml/item3.xml"/><Relationship Id="rId12" Type="http://schemas.openxmlformats.org/officeDocument/2006/relationships/slideMaster" Target="slideMasters/slideMaster3.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slide" Target="slides/slide22.xml"/><Relationship Id="rId46" Type="http://schemas.openxmlformats.org/officeDocument/2006/relationships/slide" Target="slides/slide30.xml"/><Relationship Id="rId59"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tte Thomassen" userId="7694b98c-ed6c-402b-934e-e6aacb9998e5" providerId="ADAL" clId="{7E9C30F7-90CD-4966-80F0-D061DBD819C0}"/>
    <pc:docChg chg="undo custSel addSld delSld modSld sldOrd delMainMaster modMainMaster">
      <pc:chgData name="Mette Thomassen" userId="7694b98c-ed6c-402b-934e-e6aacb9998e5" providerId="ADAL" clId="{7E9C30F7-90CD-4966-80F0-D061DBD819C0}" dt="2025-05-09T14:32:25.118" v="4509" actId="47"/>
      <pc:docMkLst>
        <pc:docMk/>
      </pc:docMkLst>
      <pc:sldChg chg="addSp modSp mod">
        <pc:chgData name="Mette Thomassen" userId="7694b98c-ed6c-402b-934e-e6aacb9998e5" providerId="ADAL" clId="{7E9C30F7-90CD-4966-80F0-D061DBD819C0}" dt="2025-05-08T22:05:54.882" v="1892" actId="1076"/>
        <pc:sldMkLst>
          <pc:docMk/>
          <pc:sldMk cId="126127179" sldId="257"/>
        </pc:sldMkLst>
        <pc:spChg chg="mod">
          <ac:chgData name="Mette Thomassen" userId="7694b98c-ed6c-402b-934e-e6aacb9998e5" providerId="ADAL" clId="{7E9C30F7-90CD-4966-80F0-D061DBD819C0}" dt="2025-05-08T11:12:01.318" v="0" actId="20577"/>
          <ac:spMkLst>
            <pc:docMk/>
            <pc:sldMk cId="126127179" sldId="257"/>
            <ac:spMk id="32" creationId="{A51DA613-011A-5841-A3FA-68B2D005A18D}"/>
          </ac:spMkLst>
        </pc:spChg>
        <pc:picChg chg="add mod">
          <ac:chgData name="Mette Thomassen" userId="7694b98c-ed6c-402b-934e-e6aacb9998e5" providerId="ADAL" clId="{7E9C30F7-90CD-4966-80F0-D061DBD819C0}" dt="2025-05-08T22:05:54.882" v="1892" actId="1076"/>
          <ac:picMkLst>
            <pc:docMk/>
            <pc:sldMk cId="126127179" sldId="257"/>
            <ac:picMk id="5122" creationId="{70C622FE-898F-CD42-E62B-B8C81019742C}"/>
          </ac:picMkLst>
        </pc:picChg>
      </pc:sldChg>
      <pc:sldChg chg="add">
        <pc:chgData name="Mette Thomassen" userId="7694b98c-ed6c-402b-934e-e6aacb9998e5" providerId="ADAL" clId="{7E9C30F7-90CD-4966-80F0-D061DBD819C0}" dt="2025-05-08T21:04:45.879" v="1268"/>
        <pc:sldMkLst>
          <pc:docMk/>
          <pc:sldMk cId="74360639" sldId="4416"/>
        </pc:sldMkLst>
      </pc:sldChg>
      <pc:sldChg chg="add del ord">
        <pc:chgData name="Mette Thomassen" userId="7694b98c-ed6c-402b-934e-e6aacb9998e5" providerId="ADAL" clId="{7E9C30F7-90CD-4966-80F0-D061DBD819C0}" dt="2025-05-08T20:54:04.133" v="1267"/>
        <pc:sldMkLst>
          <pc:docMk/>
          <pc:sldMk cId="773915141" sldId="2142533296"/>
        </pc:sldMkLst>
      </pc:sldChg>
      <pc:sldChg chg="modSp add del">
        <pc:chgData name="Mette Thomassen" userId="7694b98c-ed6c-402b-934e-e6aacb9998e5" providerId="ADAL" clId="{7E9C30F7-90CD-4966-80F0-D061DBD819C0}" dt="2025-05-08T22:18:38.473" v="1961" actId="20577"/>
        <pc:sldMkLst>
          <pc:docMk/>
          <pc:sldMk cId="434425787" sldId="2142533299"/>
        </pc:sldMkLst>
        <pc:graphicFrameChg chg="mod">
          <ac:chgData name="Mette Thomassen" userId="7694b98c-ed6c-402b-934e-e6aacb9998e5" providerId="ADAL" clId="{7E9C30F7-90CD-4966-80F0-D061DBD819C0}" dt="2025-05-08T22:18:38.473" v="1961" actId="20577"/>
          <ac:graphicFrameMkLst>
            <pc:docMk/>
            <pc:sldMk cId="434425787" sldId="2142533299"/>
            <ac:graphicFrameMk id="11" creationId="{E16545E0-C091-660C-ACD1-D4FB1C049106}"/>
          </ac:graphicFrameMkLst>
        </pc:graphicFrameChg>
      </pc:sldChg>
      <pc:sldChg chg="modSp mod">
        <pc:chgData name="Mette Thomassen" userId="7694b98c-ed6c-402b-934e-e6aacb9998e5" providerId="ADAL" clId="{7E9C30F7-90CD-4966-80F0-D061DBD819C0}" dt="2025-05-08T22:22:19.792" v="2114" actId="20577"/>
        <pc:sldMkLst>
          <pc:docMk/>
          <pc:sldMk cId="196445056" sldId="2142533334"/>
        </pc:sldMkLst>
        <pc:spChg chg="mod">
          <ac:chgData name="Mette Thomassen" userId="7694b98c-ed6c-402b-934e-e6aacb9998e5" providerId="ADAL" clId="{7E9C30F7-90CD-4966-80F0-D061DBD819C0}" dt="2025-05-08T22:22:19.792" v="2114" actId="20577"/>
          <ac:spMkLst>
            <pc:docMk/>
            <pc:sldMk cId="196445056" sldId="2142533334"/>
            <ac:spMk id="18" creationId="{224D250F-B0C3-59CC-E920-883E59697B9F}"/>
          </ac:spMkLst>
        </pc:spChg>
      </pc:sldChg>
      <pc:sldChg chg="addSp modSp mod">
        <pc:chgData name="Mette Thomassen" userId="7694b98c-ed6c-402b-934e-e6aacb9998e5" providerId="ADAL" clId="{7E9C30F7-90CD-4966-80F0-D061DBD819C0}" dt="2025-05-09T06:36:58.078" v="4042" actId="1076"/>
        <pc:sldMkLst>
          <pc:docMk/>
          <pc:sldMk cId="3414828432" sldId="2142533345"/>
        </pc:sldMkLst>
        <pc:spChg chg="add mod">
          <ac:chgData name="Mette Thomassen" userId="7694b98c-ed6c-402b-934e-e6aacb9998e5" providerId="ADAL" clId="{7E9C30F7-90CD-4966-80F0-D061DBD819C0}" dt="2025-05-09T06:36:58.078" v="4042" actId="1076"/>
          <ac:spMkLst>
            <pc:docMk/>
            <pc:sldMk cId="3414828432" sldId="2142533345"/>
            <ac:spMk id="5" creationId="{CCB657C7-D3C4-F470-2223-7C6ED5EB8453}"/>
          </ac:spMkLst>
        </pc:spChg>
      </pc:sldChg>
      <pc:sldChg chg="del ord">
        <pc:chgData name="Mette Thomassen" userId="7694b98c-ed6c-402b-934e-e6aacb9998e5" providerId="ADAL" clId="{7E9C30F7-90CD-4966-80F0-D061DBD819C0}" dt="2025-05-08T22:19:09.733" v="1962" actId="47"/>
        <pc:sldMkLst>
          <pc:docMk/>
          <pc:sldMk cId="1816428952" sldId="2142533349"/>
        </pc:sldMkLst>
      </pc:sldChg>
      <pc:sldChg chg="modSp add mod ord">
        <pc:chgData name="Mette Thomassen" userId="7694b98c-ed6c-402b-934e-e6aacb9998e5" providerId="ADAL" clId="{7E9C30F7-90CD-4966-80F0-D061DBD819C0}" dt="2025-05-09T06:24:30.066" v="3369"/>
        <pc:sldMkLst>
          <pc:docMk/>
          <pc:sldMk cId="4293171538" sldId="2147472973"/>
        </pc:sldMkLst>
        <pc:spChg chg="mod">
          <ac:chgData name="Mette Thomassen" userId="7694b98c-ed6c-402b-934e-e6aacb9998e5" providerId="ADAL" clId="{7E9C30F7-90CD-4966-80F0-D061DBD819C0}" dt="2025-05-09T06:22:58.170" v="3367" actId="1076"/>
          <ac:spMkLst>
            <pc:docMk/>
            <pc:sldMk cId="4293171538" sldId="2147472973"/>
            <ac:spMk id="24" creationId="{32C0F0DB-4D61-1978-15C2-64FBB6EC7CA5}"/>
          </ac:spMkLst>
        </pc:spChg>
      </pc:sldChg>
      <pc:sldChg chg="del">
        <pc:chgData name="Mette Thomassen" userId="7694b98c-ed6c-402b-934e-e6aacb9998e5" providerId="ADAL" clId="{7E9C30F7-90CD-4966-80F0-D061DBD819C0}" dt="2025-05-08T22:19:11.813" v="1963" actId="47"/>
        <pc:sldMkLst>
          <pc:docMk/>
          <pc:sldMk cId="2802281661" sldId="2147473143"/>
        </pc:sldMkLst>
      </pc:sldChg>
      <pc:sldChg chg="del">
        <pc:chgData name="Mette Thomassen" userId="7694b98c-ed6c-402b-934e-e6aacb9998e5" providerId="ADAL" clId="{7E9C30F7-90CD-4966-80F0-D061DBD819C0}" dt="2025-05-08T22:01:50.278" v="1883" actId="47"/>
        <pc:sldMkLst>
          <pc:docMk/>
          <pc:sldMk cId="3833550521" sldId="2147473243"/>
        </pc:sldMkLst>
      </pc:sldChg>
      <pc:sldChg chg="del">
        <pc:chgData name="Mette Thomassen" userId="7694b98c-ed6c-402b-934e-e6aacb9998e5" providerId="ADAL" clId="{7E9C30F7-90CD-4966-80F0-D061DBD819C0}" dt="2025-05-08T22:01:51.182" v="1884" actId="47"/>
        <pc:sldMkLst>
          <pc:docMk/>
          <pc:sldMk cId="2116493797" sldId="2147473244"/>
        </pc:sldMkLst>
      </pc:sldChg>
      <pc:sldChg chg="add del">
        <pc:chgData name="Mette Thomassen" userId="7694b98c-ed6c-402b-934e-e6aacb9998e5" providerId="ADAL" clId="{7E9C30F7-90CD-4966-80F0-D061DBD819C0}" dt="2025-05-09T14:26:15.979" v="4409" actId="47"/>
        <pc:sldMkLst>
          <pc:docMk/>
          <pc:sldMk cId="2075359628" sldId="2147478795"/>
        </pc:sldMkLst>
      </pc:sldChg>
      <pc:sldChg chg="addSp delSp modSp add mod">
        <pc:chgData name="Mette Thomassen" userId="7694b98c-ed6c-402b-934e-e6aacb9998e5" providerId="ADAL" clId="{7E9C30F7-90CD-4966-80F0-D061DBD819C0}" dt="2025-05-09T14:30:38.112" v="4508" actId="403"/>
        <pc:sldMkLst>
          <pc:docMk/>
          <pc:sldMk cId="2944175900" sldId="2147478796"/>
        </pc:sldMkLst>
        <pc:spChg chg="mod">
          <ac:chgData name="Mette Thomassen" userId="7694b98c-ed6c-402b-934e-e6aacb9998e5" providerId="ADAL" clId="{7E9C30F7-90CD-4966-80F0-D061DBD819C0}" dt="2025-05-09T14:28:19.913" v="4503" actId="1076"/>
          <ac:spMkLst>
            <pc:docMk/>
            <pc:sldMk cId="2944175900" sldId="2147478796"/>
            <ac:spMk id="2" creationId="{2219F9AD-5B74-D0BB-0DE2-1E603CC87216}"/>
          </ac:spMkLst>
        </pc:spChg>
        <pc:spChg chg="add mod">
          <ac:chgData name="Mette Thomassen" userId="7694b98c-ed6c-402b-934e-e6aacb9998e5" providerId="ADAL" clId="{7E9C30F7-90CD-4966-80F0-D061DBD819C0}" dt="2025-05-09T14:30:38.112" v="4508" actId="403"/>
          <ac:spMkLst>
            <pc:docMk/>
            <pc:sldMk cId="2944175900" sldId="2147478796"/>
            <ac:spMk id="3" creationId="{70952582-F91F-2F13-852C-37877C869A1D}"/>
          </ac:spMkLst>
        </pc:spChg>
        <pc:picChg chg="del">
          <ac:chgData name="Mette Thomassen" userId="7694b98c-ed6c-402b-934e-e6aacb9998e5" providerId="ADAL" clId="{7E9C30F7-90CD-4966-80F0-D061DBD819C0}" dt="2025-05-09T14:30:27.980" v="4507" actId="478"/>
          <ac:picMkLst>
            <pc:docMk/>
            <pc:sldMk cId="2944175900" sldId="2147478796"/>
            <ac:picMk id="6" creationId="{1316CC3E-416F-3FA1-5A52-B3B93C7049C3}"/>
          </ac:picMkLst>
        </pc:picChg>
      </pc:sldChg>
      <pc:sldChg chg="modSp add mod ord">
        <pc:chgData name="Mette Thomassen" userId="7694b98c-ed6c-402b-934e-e6aacb9998e5" providerId="ADAL" clId="{7E9C30F7-90CD-4966-80F0-D061DBD819C0}" dt="2025-05-09T05:34:26.199" v="3142"/>
        <pc:sldMkLst>
          <pc:docMk/>
          <pc:sldMk cId="881754638" sldId="2147478822"/>
        </pc:sldMkLst>
        <pc:spChg chg="mod">
          <ac:chgData name="Mette Thomassen" userId="7694b98c-ed6c-402b-934e-e6aacb9998e5" providerId="ADAL" clId="{7E9C30F7-90CD-4966-80F0-D061DBD819C0}" dt="2025-05-08T22:21:32.984" v="2113" actId="20577"/>
          <ac:spMkLst>
            <pc:docMk/>
            <pc:sldMk cId="881754638" sldId="2147478822"/>
            <ac:spMk id="6" creationId="{02C929D2-AFAD-5B90-6F2A-9A45045FC501}"/>
          </ac:spMkLst>
        </pc:spChg>
      </pc:sldChg>
      <pc:sldChg chg="add del">
        <pc:chgData name="Mette Thomassen" userId="7694b98c-ed6c-402b-934e-e6aacb9998e5" providerId="ADAL" clId="{7E9C30F7-90CD-4966-80F0-D061DBD819C0}" dt="2025-05-08T22:34:08.511" v="2476" actId="47"/>
        <pc:sldMkLst>
          <pc:docMk/>
          <pc:sldMk cId="693965293" sldId="2147478906"/>
        </pc:sldMkLst>
      </pc:sldChg>
      <pc:sldChg chg="add del">
        <pc:chgData name="Mette Thomassen" userId="7694b98c-ed6c-402b-934e-e6aacb9998e5" providerId="ADAL" clId="{7E9C30F7-90CD-4966-80F0-D061DBD819C0}" dt="2025-05-08T22:23:44.194" v="2116" actId="2696"/>
        <pc:sldMkLst>
          <pc:docMk/>
          <pc:sldMk cId="3016311298" sldId="2147478906"/>
        </pc:sldMkLst>
      </pc:sldChg>
      <pc:sldChg chg="add del">
        <pc:chgData name="Mette Thomassen" userId="7694b98c-ed6c-402b-934e-e6aacb9998e5" providerId="ADAL" clId="{7E9C30F7-90CD-4966-80F0-D061DBD819C0}" dt="2025-05-08T20:47:03.943" v="1235" actId="2696"/>
        <pc:sldMkLst>
          <pc:docMk/>
          <pc:sldMk cId="1428036383" sldId="2147478912"/>
        </pc:sldMkLst>
      </pc:sldChg>
      <pc:sldChg chg="add del ord">
        <pc:chgData name="Mette Thomassen" userId="7694b98c-ed6c-402b-934e-e6aacb9998e5" providerId="ADAL" clId="{7E9C30F7-90CD-4966-80F0-D061DBD819C0}" dt="2025-05-08T14:15:36.006" v="1009" actId="2696"/>
        <pc:sldMkLst>
          <pc:docMk/>
          <pc:sldMk cId="2372740950" sldId="2147478912"/>
        </pc:sldMkLst>
      </pc:sldChg>
      <pc:sldChg chg="add del">
        <pc:chgData name="Mette Thomassen" userId="7694b98c-ed6c-402b-934e-e6aacb9998e5" providerId="ADAL" clId="{7E9C30F7-90CD-4966-80F0-D061DBD819C0}" dt="2025-05-08T14:15:57.163" v="1011"/>
        <pc:sldMkLst>
          <pc:docMk/>
          <pc:sldMk cId="2499363645" sldId="2147478912"/>
        </pc:sldMkLst>
      </pc:sldChg>
      <pc:sldChg chg="add">
        <pc:chgData name="Mette Thomassen" userId="7694b98c-ed6c-402b-934e-e6aacb9998e5" providerId="ADAL" clId="{7E9C30F7-90CD-4966-80F0-D061DBD819C0}" dt="2025-05-08T20:48:13.554" v="1241"/>
        <pc:sldMkLst>
          <pc:docMk/>
          <pc:sldMk cId="3383790016" sldId="2147478912"/>
        </pc:sldMkLst>
      </pc:sldChg>
      <pc:sldChg chg="add del">
        <pc:chgData name="Mette Thomassen" userId="7694b98c-ed6c-402b-934e-e6aacb9998e5" providerId="ADAL" clId="{7E9C30F7-90CD-4966-80F0-D061DBD819C0}" dt="2025-05-08T20:47:41.862" v="1240"/>
        <pc:sldMkLst>
          <pc:docMk/>
          <pc:sldMk cId="3812323174" sldId="2147478912"/>
        </pc:sldMkLst>
      </pc:sldChg>
      <pc:sldChg chg="modSp add mod">
        <pc:chgData name="Mette Thomassen" userId="7694b98c-ed6c-402b-934e-e6aacb9998e5" providerId="ADAL" clId="{7E9C30F7-90CD-4966-80F0-D061DBD819C0}" dt="2025-05-08T22:33:47.673" v="2475" actId="1038"/>
        <pc:sldMkLst>
          <pc:docMk/>
          <pc:sldMk cId="134958420" sldId="2147478920"/>
        </pc:sldMkLst>
        <pc:spChg chg="mod">
          <ac:chgData name="Mette Thomassen" userId="7694b98c-ed6c-402b-934e-e6aacb9998e5" providerId="ADAL" clId="{7E9C30F7-90CD-4966-80F0-D061DBD819C0}" dt="2025-05-08T22:33:47.673" v="2475" actId="1038"/>
          <ac:spMkLst>
            <pc:docMk/>
            <pc:sldMk cId="134958420" sldId="2147478920"/>
            <ac:spMk id="3" creationId="{FE8ED7DD-46A3-B1DB-6E76-E3312E17D7E6}"/>
          </ac:spMkLst>
        </pc:spChg>
      </pc:sldChg>
      <pc:sldChg chg="add del">
        <pc:chgData name="Mette Thomassen" userId="7694b98c-ed6c-402b-934e-e6aacb9998e5" providerId="ADAL" clId="{7E9C30F7-90CD-4966-80F0-D061DBD819C0}" dt="2025-05-08T22:23:44.194" v="2116" actId="2696"/>
        <pc:sldMkLst>
          <pc:docMk/>
          <pc:sldMk cId="385303665" sldId="2147478920"/>
        </pc:sldMkLst>
      </pc:sldChg>
      <pc:sldChg chg="add del">
        <pc:chgData name="Mette Thomassen" userId="7694b98c-ed6c-402b-934e-e6aacb9998e5" providerId="ADAL" clId="{7E9C30F7-90CD-4966-80F0-D061DBD819C0}" dt="2025-05-08T22:23:44.194" v="2116" actId="2696"/>
        <pc:sldMkLst>
          <pc:docMk/>
          <pc:sldMk cId="746954912" sldId="2147478921"/>
        </pc:sldMkLst>
      </pc:sldChg>
      <pc:sldChg chg="add">
        <pc:chgData name="Mette Thomassen" userId="7694b98c-ed6c-402b-934e-e6aacb9998e5" providerId="ADAL" clId="{7E9C30F7-90CD-4966-80F0-D061DBD819C0}" dt="2025-05-08T22:23:52.877" v="2117"/>
        <pc:sldMkLst>
          <pc:docMk/>
          <pc:sldMk cId="1986067511" sldId="2147478921"/>
        </pc:sldMkLst>
      </pc:sldChg>
      <pc:sldChg chg="add del">
        <pc:chgData name="Mette Thomassen" userId="7694b98c-ed6c-402b-934e-e6aacb9998e5" providerId="ADAL" clId="{7E9C30F7-90CD-4966-80F0-D061DBD819C0}" dt="2025-05-09T04:53:20.842" v="2600" actId="47"/>
        <pc:sldMkLst>
          <pc:docMk/>
          <pc:sldMk cId="1038920880" sldId="2147478936"/>
        </pc:sldMkLst>
      </pc:sldChg>
      <pc:sldChg chg="add del setBg">
        <pc:chgData name="Mette Thomassen" userId="7694b98c-ed6c-402b-934e-e6aacb9998e5" providerId="ADAL" clId="{7E9C30F7-90CD-4966-80F0-D061DBD819C0}" dt="2025-05-08T14:11:18.391" v="959"/>
        <pc:sldMkLst>
          <pc:docMk/>
          <pc:sldMk cId="3866624818" sldId="2147478938"/>
        </pc:sldMkLst>
      </pc:sldChg>
      <pc:sldChg chg="addSp modSp add mod">
        <pc:chgData name="Mette Thomassen" userId="7694b98c-ed6c-402b-934e-e6aacb9998e5" providerId="ADAL" clId="{7E9C30F7-90CD-4966-80F0-D061DBD819C0}" dt="2025-05-09T04:47:13.239" v="2596" actId="1036"/>
        <pc:sldMkLst>
          <pc:docMk/>
          <pc:sldMk cId="1989565552" sldId="2147478940"/>
        </pc:sldMkLst>
        <pc:spChg chg="mod">
          <ac:chgData name="Mette Thomassen" userId="7694b98c-ed6c-402b-934e-e6aacb9998e5" providerId="ADAL" clId="{7E9C30F7-90CD-4966-80F0-D061DBD819C0}" dt="2025-05-09T04:46:43.409" v="2506" actId="1076"/>
          <ac:spMkLst>
            <pc:docMk/>
            <pc:sldMk cId="1989565552" sldId="2147478940"/>
            <ac:spMk id="3" creationId="{0876E2E6-D71F-8A98-EB78-2D73678D3347}"/>
          </ac:spMkLst>
        </pc:spChg>
        <pc:picChg chg="add mod">
          <ac:chgData name="Mette Thomassen" userId="7694b98c-ed6c-402b-934e-e6aacb9998e5" providerId="ADAL" clId="{7E9C30F7-90CD-4966-80F0-D061DBD819C0}" dt="2025-05-09T04:47:13.239" v="2596" actId="1036"/>
          <ac:picMkLst>
            <pc:docMk/>
            <pc:sldMk cId="1989565552" sldId="2147478940"/>
            <ac:picMk id="12290" creationId="{8D97BB3B-FE03-E920-B253-DFE8DC42070E}"/>
          </ac:picMkLst>
        </pc:picChg>
      </pc:sldChg>
      <pc:sldChg chg="add del">
        <pc:chgData name="Mette Thomassen" userId="7694b98c-ed6c-402b-934e-e6aacb9998e5" providerId="ADAL" clId="{7E9C30F7-90CD-4966-80F0-D061DBD819C0}" dt="2025-05-08T20:47:03.943" v="1235" actId="2696"/>
        <pc:sldMkLst>
          <pc:docMk/>
          <pc:sldMk cId="326233751" sldId="2147478942"/>
        </pc:sldMkLst>
      </pc:sldChg>
      <pc:sldChg chg="add del">
        <pc:chgData name="Mette Thomassen" userId="7694b98c-ed6c-402b-934e-e6aacb9998e5" providerId="ADAL" clId="{7E9C30F7-90CD-4966-80F0-D061DBD819C0}" dt="2025-05-08T20:47:41.862" v="1240"/>
        <pc:sldMkLst>
          <pc:docMk/>
          <pc:sldMk cId="537353634" sldId="2147478942"/>
        </pc:sldMkLst>
      </pc:sldChg>
      <pc:sldChg chg="modSp add mod">
        <pc:chgData name="Mette Thomassen" userId="7694b98c-ed6c-402b-934e-e6aacb9998e5" providerId="ADAL" clId="{7E9C30F7-90CD-4966-80F0-D061DBD819C0}" dt="2025-05-08T22:17:31.925" v="1937" actId="20577"/>
        <pc:sldMkLst>
          <pc:docMk/>
          <pc:sldMk cId="935376652" sldId="2147478942"/>
        </pc:sldMkLst>
        <pc:spChg chg="mod">
          <ac:chgData name="Mette Thomassen" userId="7694b98c-ed6c-402b-934e-e6aacb9998e5" providerId="ADAL" clId="{7E9C30F7-90CD-4966-80F0-D061DBD819C0}" dt="2025-05-08T22:17:31.925" v="1937" actId="20577"/>
          <ac:spMkLst>
            <pc:docMk/>
            <pc:sldMk cId="935376652" sldId="2147478942"/>
            <ac:spMk id="19" creationId="{CFB4BC5C-37B0-EC28-B36F-57790FA970A2}"/>
          </ac:spMkLst>
        </pc:spChg>
      </pc:sldChg>
      <pc:sldChg chg="add del ord">
        <pc:chgData name="Mette Thomassen" userId="7694b98c-ed6c-402b-934e-e6aacb9998e5" providerId="ADAL" clId="{7E9C30F7-90CD-4966-80F0-D061DBD819C0}" dt="2025-05-08T14:15:36.006" v="1009" actId="2696"/>
        <pc:sldMkLst>
          <pc:docMk/>
          <pc:sldMk cId="1730165082" sldId="2147478942"/>
        </pc:sldMkLst>
      </pc:sldChg>
      <pc:sldChg chg="add del">
        <pc:chgData name="Mette Thomassen" userId="7694b98c-ed6c-402b-934e-e6aacb9998e5" providerId="ADAL" clId="{7E9C30F7-90CD-4966-80F0-D061DBD819C0}" dt="2025-05-08T14:15:57.163" v="1011"/>
        <pc:sldMkLst>
          <pc:docMk/>
          <pc:sldMk cId="2454808449" sldId="2147478942"/>
        </pc:sldMkLst>
      </pc:sldChg>
      <pc:sldChg chg="del">
        <pc:chgData name="Mette Thomassen" userId="7694b98c-ed6c-402b-934e-e6aacb9998e5" providerId="ADAL" clId="{7E9C30F7-90CD-4966-80F0-D061DBD819C0}" dt="2025-05-08T22:19:22.634" v="1964" actId="47"/>
        <pc:sldMkLst>
          <pc:docMk/>
          <pc:sldMk cId="2831751821" sldId="2147478951"/>
        </pc:sldMkLst>
      </pc:sldChg>
      <pc:sldChg chg="del ord">
        <pc:chgData name="Mette Thomassen" userId="7694b98c-ed6c-402b-934e-e6aacb9998e5" providerId="ADAL" clId="{7E9C30F7-90CD-4966-80F0-D061DBD819C0}" dt="2025-05-08T22:19:24.356" v="1965" actId="47"/>
        <pc:sldMkLst>
          <pc:docMk/>
          <pc:sldMk cId="2936374495" sldId="2147478955"/>
        </pc:sldMkLst>
      </pc:sldChg>
      <pc:sldChg chg="ord">
        <pc:chgData name="Mette Thomassen" userId="7694b98c-ed6c-402b-934e-e6aacb9998e5" providerId="ADAL" clId="{7E9C30F7-90CD-4966-80F0-D061DBD819C0}" dt="2025-05-09T05:34:45.300" v="3144"/>
        <pc:sldMkLst>
          <pc:docMk/>
          <pc:sldMk cId="2384199576" sldId="2147478956"/>
        </pc:sldMkLst>
      </pc:sldChg>
      <pc:sldChg chg="del">
        <pc:chgData name="Mette Thomassen" userId="7694b98c-ed6c-402b-934e-e6aacb9998e5" providerId="ADAL" clId="{7E9C30F7-90CD-4966-80F0-D061DBD819C0}" dt="2025-05-08T22:22:55.412" v="2115" actId="47"/>
        <pc:sldMkLst>
          <pc:docMk/>
          <pc:sldMk cId="1887358266" sldId="2147479022"/>
        </pc:sldMkLst>
      </pc:sldChg>
      <pc:sldChg chg="del">
        <pc:chgData name="Mette Thomassen" userId="7694b98c-ed6c-402b-934e-e6aacb9998e5" providerId="ADAL" clId="{7E9C30F7-90CD-4966-80F0-D061DBD819C0}" dt="2025-05-08T22:22:55.412" v="2115" actId="47"/>
        <pc:sldMkLst>
          <pc:docMk/>
          <pc:sldMk cId="2057738292" sldId="2147479023"/>
        </pc:sldMkLst>
      </pc:sldChg>
      <pc:sldChg chg="del">
        <pc:chgData name="Mette Thomassen" userId="7694b98c-ed6c-402b-934e-e6aacb9998e5" providerId="ADAL" clId="{7E9C30F7-90CD-4966-80F0-D061DBD819C0}" dt="2025-05-08T22:22:55.412" v="2115" actId="47"/>
        <pc:sldMkLst>
          <pc:docMk/>
          <pc:sldMk cId="3250209913" sldId="2147479024"/>
        </pc:sldMkLst>
      </pc:sldChg>
      <pc:sldChg chg="modSp add del mod ord modShow">
        <pc:chgData name="Mette Thomassen" userId="7694b98c-ed6c-402b-934e-e6aacb9998e5" providerId="ADAL" clId="{7E9C30F7-90CD-4966-80F0-D061DBD819C0}" dt="2025-05-09T14:32:25.118" v="4509" actId="47"/>
        <pc:sldMkLst>
          <pc:docMk/>
          <pc:sldMk cId="3515816812" sldId="2147479071"/>
        </pc:sldMkLst>
        <pc:spChg chg="mod">
          <ac:chgData name="Mette Thomassen" userId="7694b98c-ed6c-402b-934e-e6aacb9998e5" providerId="ADAL" clId="{7E9C30F7-90CD-4966-80F0-D061DBD819C0}" dt="2025-05-09T06:18:44.794" v="3361" actId="20577"/>
          <ac:spMkLst>
            <pc:docMk/>
            <pc:sldMk cId="3515816812" sldId="2147479071"/>
            <ac:spMk id="2" creationId="{6E1C4219-5A7A-55DB-78F6-6698DB57D34F}"/>
          </ac:spMkLst>
        </pc:spChg>
      </pc:sldChg>
      <pc:sldChg chg="addSp delSp modSp add del mod">
        <pc:chgData name="Mette Thomassen" userId="7694b98c-ed6c-402b-934e-e6aacb9998e5" providerId="ADAL" clId="{7E9C30F7-90CD-4966-80F0-D061DBD819C0}" dt="2025-05-09T06:22:27.053" v="3364" actId="478"/>
        <pc:sldMkLst>
          <pc:docMk/>
          <pc:sldMk cId="1142080565" sldId="2147479083"/>
        </pc:sldMkLst>
        <pc:spChg chg="del">
          <ac:chgData name="Mette Thomassen" userId="7694b98c-ed6c-402b-934e-e6aacb9998e5" providerId="ADAL" clId="{7E9C30F7-90CD-4966-80F0-D061DBD819C0}" dt="2025-05-09T06:22:24.254" v="3363" actId="478"/>
          <ac:spMkLst>
            <pc:docMk/>
            <pc:sldMk cId="1142080565" sldId="2147479083"/>
            <ac:spMk id="17" creationId="{9A381645-FAF3-A5DF-D179-7F2D7D9488E3}"/>
          </ac:spMkLst>
        </pc:spChg>
        <pc:spChg chg="add del mod">
          <ac:chgData name="Mette Thomassen" userId="7694b98c-ed6c-402b-934e-e6aacb9998e5" providerId="ADAL" clId="{7E9C30F7-90CD-4966-80F0-D061DBD819C0}" dt="2025-05-09T06:22:27.053" v="3364" actId="478"/>
          <ac:spMkLst>
            <pc:docMk/>
            <pc:sldMk cId="1142080565" sldId="2147479083"/>
            <ac:spMk id="30" creationId="{766A0722-7857-A6C1-72F4-26EAB8D26FF4}"/>
          </ac:spMkLst>
        </pc:spChg>
      </pc:sldChg>
      <pc:sldChg chg="addSp delSp modSp mod">
        <pc:chgData name="Mette Thomassen" userId="7694b98c-ed6c-402b-934e-e6aacb9998e5" providerId="ADAL" clId="{7E9C30F7-90CD-4966-80F0-D061DBD819C0}" dt="2025-05-09T06:35:36.442" v="4008" actId="1036"/>
        <pc:sldMkLst>
          <pc:docMk/>
          <pc:sldMk cId="3303681197" sldId="2147480490"/>
        </pc:sldMkLst>
        <pc:spChg chg="mod">
          <ac:chgData name="Mette Thomassen" userId="7694b98c-ed6c-402b-934e-e6aacb9998e5" providerId="ADAL" clId="{7E9C30F7-90CD-4966-80F0-D061DBD819C0}" dt="2025-05-09T06:35:36.442" v="4008" actId="1036"/>
          <ac:spMkLst>
            <pc:docMk/>
            <pc:sldMk cId="3303681197" sldId="2147480490"/>
            <ac:spMk id="2" creationId="{35ADB56E-B30D-0509-BA5C-E9AF9AA5B5F8}"/>
          </ac:spMkLst>
        </pc:spChg>
        <pc:picChg chg="add mod">
          <ac:chgData name="Mette Thomassen" userId="7694b98c-ed6c-402b-934e-e6aacb9998e5" providerId="ADAL" clId="{7E9C30F7-90CD-4966-80F0-D061DBD819C0}" dt="2025-05-08T21:59:57.958" v="1880" actId="14100"/>
          <ac:picMkLst>
            <pc:docMk/>
            <pc:sldMk cId="3303681197" sldId="2147480490"/>
            <ac:picMk id="4098" creationId="{378FF4AE-E0A6-1960-10BB-82A45797248D}"/>
          </ac:picMkLst>
        </pc:picChg>
        <pc:picChg chg="add del mod">
          <ac:chgData name="Mette Thomassen" userId="7694b98c-ed6c-402b-934e-e6aacb9998e5" providerId="ADAL" clId="{7E9C30F7-90CD-4966-80F0-D061DBD819C0}" dt="2025-05-09T05:21:40.196" v="2983" actId="478"/>
          <ac:picMkLst>
            <pc:docMk/>
            <pc:sldMk cId="3303681197" sldId="2147480490"/>
            <ac:picMk id="6146" creationId="{8449023A-3583-6EF8-6C04-85BB13B932DD}"/>
          </ac:picMkLst>
        </pc:picChg>
        <pc:picChg chg="add mod">
          <ac:chgData name="Mette Thomassen" userId="7694b98c-ed6c-402b-934e-e6aacb9998e5" providerId="ADAL" clId="{7E9C30F7-90CD-4966-80F0-D061DBD819C0}" dt="2025-05-09T05:24:46.610" v="2985" actId="1076"/>
          <ac:picMkLst>
            <pc:docMk/>
            <pc:sldMk cId="3303681197" sldId="2147480490"/>
            <ac:picMk id="6148" creationId="{E3819615-5444-791A-7853-102C6FE90ABB}"/>
          </ac:picMkLst>
        </pc:picChg>
      </pc:sldChg>
      <pc:sldChg chg="add del">
        <pc:chgData name="Mette Thomassen" userId="7694b98c-ed6c-402b-934e-e6aacb9998e5" providerId="ADAL" clId="{7E9C30F7-90CD-4966-80F0-D061DBD819C0}" dt="2025-05-09T05:31:59.952" v="3099" actId="47"/>
        <pc:sldMkLst>
          <pc:docMk/>
          <pc:sldMk cId="3178901538" sldId="2147480494"/>
        </pc:sldMkLst>
      </pc:sldChg>
      <pc:sldChg chg="del ord">
        <pc:chgData name="Mette Thomassen" userId="7694b98c-ed6c-402b-934e-e6aacb9998e5" providerId="ADAL" clId="{7E9C30F7-90CD-4966-80F0-D061DBD819C0}" dt="2025-05-08T22:23:44.194" v="2116" actId="2696"/>
        <pc:sldMkLst>
          <pc:docMk/>
          <pc:sldMk cId="3893036516" sldId="2147480494"/>
        </pc:sldMkLst>
      </pc:sldChg>
      <pc:sldChg chg="addSp modSp add mod">
        <pc:chgData name="Mette Thomassen" userId="7694b98c-ed6c-402b-934e-e6aacb9998e5" providerId="ADAL" clId="{7E9C30F7-90CD-4966-80F0-D061DBD819C0}" dt="2025-05-09T06:44:02.259" v="4323" actId="20577"/>
        <pc:sldMkLst>
          <pc:docMk/>
          <pc:sldMk cId="317628677" sldId="2147481465"/>
        </pc:sldMkLst>
        <pc:spChg chg="mod">
          <ac:chgData name="Mette Thomassen" userId="7694b98c-ed6c-402b-934e-e6aacb9998e5" providerId="ADAL" clId="{7E9C30F7-90CD-4966-80F0-D061DBD819C0}" dt="2025-05-09T06:44:02.259" v="4323" actId="20577"/>
          <ac:spMkLst>
            <pc:docMk/>
            <pc:sldMk cId="317628677" sldId="2147481465"/>
            <ac:spMk id="4" creationId="{CA900CD7-B1EE-36C1-E76E-F4B75C150F1A}"/>
          </ac:spMkLst>
        </pc:spChg>
        <pc:picChg chg="add mod">
          <ac:chgData name="Mette Thomassen" userId="7694b98c-ed6c-402b-934e-e6aacb9998e5" providerId="ADAL" clId="{7E9C30F7-90CD-4966-80F0-D061DBD819C0}" dt="2025-05-09T05:31:27.979" v="3098" actId="1038"/>
          <ac:picMkLst>
            <pc:docMk/>
            <pc:sldMk cId="317628677" sldId="2147481465"/>
            <ac:picMk id="14338" creationId="{5486ED98-9300-4544-E5CE-8F14C621D4FA}"/>
          </ac:picMkLst>
        </pc:picChg>
      </pc:sldChg>
      <pc:sldChg chg="delSp del mod">
        <pc:chgData name="Mette Thomassen" userId="7694b98c-ed6c-402b-934e-e6aacb9998e5" providerId="ADAL" clId="{7E9C30F7-90CD-4966-80F0-D061DBD819C0}" dt="2025-05-08T22:23:44.194" v="2116" actId="2696"/>
        <pc:sldMkLst>
          <pc:docMk/>
          <pc:sldMk cId="569766960" sldId="2147481465"/>
        </pc:sldMkLst>
        <pc:spChg chg="del">
          <ac:chgData name="Mette Thomassen" userId="7694b98c-ed6c-402b-934e-e6aacb9998e5" providerId="ADAL" clId="{7E9C30F7-90CD-4966-80F0-D061DBD819C0}" dt="2025-05-08T22:01:40.726" v="1882" actId="478"/>
          <ac:spMkLst>
            <pc:docMk/>
            <pc:sldMk cId="569766960" sldId="2147481465"/>
            <ac:spMk id="7" creationId="{ABB5AE69-66D1-BE75-E7C5-BA6AEDE6DDF7}"/>
          </ac:spMkLst>
        </pc:spChg>
      </pc:sldChg>
      <pc:sldChg chg="addSp delSp modSp new mod">
        <pc:chgData name="Mette Thomassen" userId="7694b98c-ed6c-402b-934e-e6aacb9998e5" providerId="ADAL" clId="{7E9C30F7-90CD-4966-80F0-D061DBD819C0}" dt="2025-05-09T04:44:43.387" v="2501" actId="403"/>
        <pc:sldMkLst>
          <pc:docMk/>
          <pc:sldMk cId="3957613859" sldId="2147481466"/>
        </pc:sldMkLst>
        <pc:spChg chg="mod">
          <ac:chgData name="Mette Thomassen" userId="7694b98c-ed6c-402b-934e-e6aacb9998e5" providerId="ADAL" clId="{7E9C30F7-90CD-4966-80F0-D061DBD819C0}" dt="2025-05-08T22:03:23.599" v="1889" actId="1076"/>
          <ac:spMkLst>
            <pc:docMk/>
            <pc:sldMk cId="3957613859" sldId="2147481466"/>
            <ac:spMk id="2" creationId="{D6D4B08D-E93A-CCCE-98DC-8914199117D5}"/>
          </ac:spMkLst>
        </pc:spChg>
        <pc:spChg chg="mod">
          <ac:chgData name="Mette Thomassen" userId="7694b98c-ed6c-402b-934e-e6aacb9998e5" providerId="ADAL" clId="{7E9C30F7-90CD-4966-80F0-D061DBD819C0}" dt="2025-05-09T04:44:43.387" v="2501" actId="403"/>
          <ac:spMkLst>
            <pc:docMk/>
            <pc:sldMk cId="3957613859" sldId="2147481466"/>
            <ac:spMk id="3" creationId="{86CAF60A-0BC4-E14B-47E4-687B4441B281}"/>
          </ac:spMkLst>
        </pc:spChg>
        <pc:spChg chg="del">
          <ac:chgData name="Mette Thomassen" userId="7694b98c-ed6c-402b-934e-e6aacb9998e5" providerId="ADAL" clId="{7E9C30F7-90CD-4966-80F0-D061DBD819C0}" dt="2025-05-08T22:03:10.797" v="1887" actId="478"/>
          <ac:spMkLst>
            <pc:docMk/>
            <pc:sldMk cId="3957613859" sldId="2147481466"/>
            <ac:spMk id="5" creationId="{58B0FCDA-94E6-3AC3-0B69-01B7097BEA92}"/>
          </ac:spMkLst>
        </pc:spChg>
        <pc:picChg chg="add mod">
          <ac:chgData name="Mette Thomassen" userId="7694b98c-ed6c-402b-934e-e6aacb9998e5" providerId="ADAL" clId="{7E9C30F7-90CD-4966-80F0-D061DBD819C0}" dt="2025-05-08T22:16:04.951" v="1900" actId="14100"/>
          <ac:picMkLst>
            <pc:docMk/>
            <pc:sldMk cId="3957613859" sldId="2147481466"/>
            <ac:picMk id="9218" creationId="{E5F8319A-796B-3073-15FC-F29FA7174CF4}"/>
          </ac:picMkLst>
        </pc:picChg>
      </pc:sldChg>
      <pc:sldChg chg="new del">
        <pc:chgData name="Mette Thomassen" userId="7694b98c-ed6c-402b-934e-e6aacb9998e5" providerId="ADAL" clId="{7E9C30F7-90CD-4966-80F0-D061DBD819C0}" dt="2025-05-08T11:18:44.873" v="102" actId="680"/>
        <pc:sldMkLst>
          <pc:docMk/>
          <pc:sldMk cId="2014234491" sldId="2147481467"/>
        </pc:sldMkLst>
      </pc:sldChg>
      <pc:sldChg chg="addSp delSp new del mod">
        <pc:chgData name="Mette Thomassen" userId="7694b98c-ed6c-402b-934e-e6aacb9998e5" providerId="ADAL" clId="{7E9C30F7-90CD-4966-80F0-D061DBD819C0}" dt="2025-05-08T14:02:12.691" v="680" actId="47"/>
        <pc:sldMkLst>
          <pc:docMk/>
          <pc:sldMk cId="2481554132" sldId="2147481467"/>
        </pc:sldMkLst>
        <pc:spChg chg="add del">
          <ac:chgData name="Mette Thomassen" userId="7694b98c-ed6c-402b-934e-e6aacb9998e5" providerId="ADAL" clId="{7E9C30F7-90CD-4966-80F0-D061DBD819C0}" dt="2025-05-08T11:18:57.951" v="105" actId="22"/>
          <ac:spMkLst>
            <pc:docMk/>
            <pc:sldMk cId="2481554132" sldId="2147481467"/>
            <ac:spMk id="5" creationId="{251F49DF-A35F-AC47-9325-04D3927CF762}"/>
          </ac:spMkLst>
        </pc:spChg>
      </pc:sldChg>
      <pc:sldChg chg="addSp delSp modSp new mod">
        <pc:chgData name="Mette Thomassen" userId="7694b98c-ed6c-402b-934e-e6aacb9998e5" providerId="ADAL" clId="{7E9C30F7-90CD-4966-80F0-D061DBD819C0}" dt="2025-05-08T22:25:35.375" v="2233" actId="20577"/>
        <pc:sldMkLst>
          <pc:docMk/>
          <pc:sldMk cId="2893640115" sldId="2147481468"/>
        </pc:sldMkLst>
        <pc:spChg chg="mod">
          <ac:chgData name="Mette Thomassen" userId="7694b98c-ed6c-402b-934e-e6aacb9998e5" providerId="ADAL" clId="{7E9C30F7-90CD-4966-80F0-D061DBD819C0}" dt="2025-05-08T14:04:53.510" v="893" actId="1036"/>
          <ac:spMkLst>
            <pc:docMk/>
            <pc:sldMk cId="2893640115" sldId="2147481468"/>
            <ac:spMk id="2" creationId="{1BC2F8CE-A7BD-C97B-4BBE-2D1EB8810E78}"/>
          </ac:spMkLst>
        </pc:spChg>
        <pc:spChg chg="mod">
          <ac:chgData name="Mette Thomassen" userId="7694b98c-ed6c-402b-934e-e6aacb9998e5" providerId="ADAL" clId="{7E9C30F7-90CD-4966-80F0-D061DBD819C0}" dt="2025-05-08T22:25:35.375" v="2233" actId="20577"/>
          <ac:spMkLst>
            <pc:docMk/>
            <pc:sldMk cId="2893640115" sldId="2147481468"/>
            <ac:spMk id="3" creationId="{6F603227-2244-8ED4-86D9-253C9E8B0ABA}"/>
          </ac:spMkLst>
        </pc:spChg>
        <pc:spChg chg="del">
          <ac:chgData name="Mette Thomassen" userId="7694b98c-ed6c-402b-934e-e6aacb9998e5" providerId="ADAL" clId="{7E9C30F7-90CD-4966-80F0-D061DBD819C0}" dt="2025-05-08T14:04:39.687" v="877" actId="478"/>
          <ac:spMkLst>
            <pc:docMk/>
            <pc:sldMk cId="2893640115" sldId="2147481468"/>
            <ac:spMk id="5" creationId="{EA9FBA93-06D8-64EA-53D5-09F75991256E}"/>
          </ac:spMkLst>
        </pc:spChg>
        <pc:picChg chg="add mod">
          <ac:chgData name="Mette Thomassen" userId="7694b98c-ed6c-402b-934e-e6aacb9998e5" providerId="ADAL" clId="{7E9C30F7-90CD-4966-80F0-D061DBD819C0}" dt="2025-05-08T14:04:30.106" v="876" actId="14100"/>
          <ac:picMkLst>
            <pc:docMk/>
            <pc:sldMk cId="2893640115" sldId="2147481468"/>
            <ac:picMk id="7" creationId="{6279A2DC-6465-1FA3-791C-C12CB590C1AD}"/>
          </ac:picMkLst>
        </pc:picChg>
        <pc:picChg chg="add mod">
          <ac:chgData name="Mette Thomassen" userId="7694b98c-ed6c-402b-934e-e6aacb9998e5" providerId="ADAL" clId="{7E9C30F7-90CD-4966-80F0-D061DBD819C0}" dt="2025-05-08T14:04:30.106" v="876" actId="14100"/>
          <ac:picMkLst>
            <pc:docMk/>
            <pc:sldMk cId="2893640115" sldId="2147481468"/>
            <ac:picMk id="8" creationId="{D3D09B15-5A2B-40EC-47B3-17A36F694DF4}"/>
          </ac:picMkLst>
        </pc:picChg>
        <pc:picChg chg="add mod">
          <ac:chgData name="Mette Thomassen" userId="7694b98c-ed6c-402b-934e-e6aacb9998e5" providerId="ADAL" clId="{7E9C30F7-90CD-4966-80F0-D061DBD819C0}" dt="2025-05-08T22:06:26.052" v="1895" actId="1076"/>
          <ac:picMkLst>
            <pc:docMk/>
            <pc:sldMk cId="2893640115" sldId="2147481468"/>
            <ac:picMk id="8194" creationId="{9A2F4338-F628-3348-4AA7-902F590D0D45}"/>
          </ac:picMkLst>
        </pc:picChg>
      </pc:sldChg>
      <pc:sldChg chg="add del">
        <pc:chgData name="Mette Thomassen" userId="7694b98c-ed6c-402b-934e-e6aacb9998e5" providerId="ADAL" clId="{7E9C30F7-90CD-4966-80F0-D061DBD819C0}" dt="2025-05-08T14:14:49.523" v="1004" actId="47"/>
        <pc:sldMkLst>
          <pc:docMk/>
          <pc:sldMk cId="3570482683" sldId="2147481469"/>
        </pc:sldMkLst>
      </pc:sldChg>
      <pc:sldChg chg="add del">
        <pc:chgData name="Mette Thomassen" userId="7694b98c-ed6c-402b-934e-e6aacb9998e5" providerId="ADAL" clId="{7E9C30F7-90CD-4966-80F0-D061DBD819C0}" dt="2025-05-08T14:11:18.391" v="959"/>
        <pc:sldMkLst>
          <pc:docMk/>
          <pc:sldMk cId="3877408302" sldId="2147481470"/>
        </pc:sldMkLst>
      </pc:sldChg>
      <pc:sldChg chg="add del">
        <pc:chgData name="Mette Thomassen" userId="7694b98c-ed6c-402b-934e-e6aacb9998e5" providerId="ADAL" clId="{7E9C30F7-90CD-4966-80F0-D061DBD819C0}" dt="2025-05-08T14:11:12.609" v="958"/>
        <pc:sldMkLst>
          <pc:docMk/>
          <pc:sldMk cId="917555809" sldId="2147481471"/>
        </pc:sldMkLst>
      </pc:sldChg>
      <pc:sldChg chg="add del">
        <pc:chgData name="Mette Thomassen" userId="7694b98c-ed6c-402b-934e-e6aacb9998e5" providerId="ADAL" clId="{7E9C30F7-90CD-4966-80F0-D061DBD819C0}" dt="2025-05-08T14:16:37.962" v="1013" actId="47"/>
        <pc:sldMkLst>
          <pc:docMk/>
          <pc:sldMk cId="2264106208" sldId="2147481471"/>
        </pc:sldMkLst>
      </pc:sldChg>
      <pc:sldChg chg="add del">
        <pc:chgData name="Mette Thomassen" userId="7694b98c-ed6c-402b-934e-e6aacb9998e5" providerId="ADAL" clId="{7E9C30F7-90CD-4966-80F0-D061DBD819C0}" dt="2025-05-08T22:19:30.764" v="1966" actId="47"/>
        <pc:sldMkLst>
          <pc:docMk/>
          <pc:sldMk cId="3814135371" sldId="2147481472"/>
        </pc:sldMkLst>
      </pc:sldChg>
      <pc:sldChg chg="add del">
        <pc:chgData name="Mette Thomassen" userId="7694b98c-ed6c-402b-934e-e6aacb9998e5" providerId="ADAL" clId="{7E9C30F7-90CD-4966-80F0-D061DBD819C0}" dt="2025-05-08T14:11:12.609" v="958"/>
        <pc:sldMkLst>
          <pc:docMk/>
          <pc:sldMk cId="4172002900" sldId="2147481472"/>
        </pc:sldMkLst>
      </pc:sldChg>
      <pc:sldChg chg="modSp new del mod">
        <pc:chgData name="Mette Thomassen" userId="7694b98c-ed6c-402b-934e-e6aacb9998e5" providerId="ADAL" clId="{7E9C30F7-90CD-4966-80F0-D061DBD819C0}" dt="2025-05-08T21:23:52.365" v="1426" actId="47"/>
        <pc:sldMkLst>
          <pc:docMk/>
          <pc:sldMk cId="19712423" sldId="2147481473"/>
        </pc:sldMkLst>
        <pc:spChg chg="mod">
          <ac:chgData name="Mette Thomassen" userId="7694b98c-ed6c-402b-934e-e6aacb9998e5" providerId="ADAL" clId="{7E9C30F7-90CD-4966-80F0-D061DBD819C0}" dt="2025-05-08T21:10:35.891" v="1313" actId="403"/>
          <ac:spMkLst>
            <pc:docMk/>
            <pc:sldMk cId="19712423" sldId="2147481473"/>
            <ac:spMk id="2" creationId="{2F457DC1-55E7-58FC-58A1-BE58955AD126}"/>
          </ac:spMkLst>
        </pc:spChg>
        <pc:spChg chg="mod">
          <ac:chgData name="Mette Thomassen" userId="7694b98c-ed6c-402b-934e-e6aacb9998e5" providerId="ADAL" clId="{7E9C30F7-90CD-4966-80F0-D061DBD819C0}" dt="2025-05-08T21:10:26.178" v="1305"/>
          <ac:spMkLst>
            <pc:docMk/>
            <pc:sldMk cId="19712423" sldId="2147481473"/>
            <ac:spMk id="3" creationId="{3EB35C81-066E-AB54-DA22-3E95C5022BEA}"/>
          </ac:spMkLst>
        </pc:spChg>
      </pc:sldChg>
      <pc:sldChg chg="addSp modSp add mod">
        <pc:chgData name="Mette Thomassen" userId="7694b98c-ed6c-402b-934e-e6aacb9998e5" providerId="ADAL" clId="{7E9C30F7-90CD-4966-80F0-D061DBD819C0}" dt="2025-05-09T06:18:10.623" v="3352" actId="403"/>
        <pc:sldMkLst>
          <pc:docMk/>
          <pc:sldMk cId="151350751" sldId="2147481474"/>
        </pc:sldMkLst>
        <pc:spChg chg="mod">
          <ac:chgData name="Mette Thomassen" userId="7694b98c-ed6c-402b-934e-e6aacb9998e5" providerId="ADAL" clId="{7E9C30F7-90CD-4966-80F0-D061DBD819C0}" dt="2025-05-09T06:18:10.623" v="3352" actId="403"/>
          <ac:spMkLst>
            <pc:docMk/>
            <pc:sldMk cId="151350751" sldId="2147481474"/>
            <ac:spMk id="3" creationId="{152FE263-4D5F-AC3F-37F2-30470944D308}"/>
          </ac:spMkLst>
        </pc:spChg>
        <pc:spChg chg="add">
          <ac:chgData name="Mette Thomassen" userId="7694b98c-ed6c-402b-934e-e6aacb9998e5" providerId="ADAL" clId="{7E9C30F7-90CD-4966-80F0-D061DBD819C0}" dt="2025-05-09T06:17:28.431" v="3348"/>
          <ac:spMkLst>
            <pc:docMk/>
            <pc:sldMk cId="151350751" sldId="2147481474"/>
            <ac:spMk id="5" creationId="{A81314A9-CA78-A4BA-57DF-D84FE326A35F}"/>
          </ac:spMkLst>
        </pc:spChg>
      </pc:sldChg>
      <pc:sldChg chg="addSp delSp modSp add del mod">
        <pc:chgData name="Mette Thomassen" userId="7694b98c-ed6c-402b-934e-e6aacb9998e5" providerId="ADAL" clId="{7E9C30F7-90CD-4966-80F0-D061DBD819C0}" dt="2025-05-08T22:23:44.194" v="2116" actId="2696"/>
        <pc:sldMkLst>
          <pc:docMk/>
          <pc:sldMk cId="4108157157" sldId="2147481474"/>
        </pc:sldMkLst>
        <pc:spChg chg="mod">
          <ac:chgData name="Mette Thomassen" userId="7694b98c-ed6c-402b-934e-e6aacb9998e5" providerId="ADAL" clId="{7E9C30F7-90CD-4966-80F0-D061DBD819C0}" dt="2025-05-08T21:11:12.806" v="1340" actId="20577"/>
          <ac:spMkLst>
            <pc:docMk/>
            <pc:sldMk cId="4108157157" sldId="2147481474"/>
            <ac:spMk id="2" creationId="{D899B422-A93E-7DDA-2C5C-D6CE36F03DC2}"/>
          </ac:spMkLst>
        </pc:spChg>
        <pc:spChg chg="mod">
          <ac:chgData name="Mette Thomassen" userId="7694b98c-ed6c-402b-934e-e6aacb9998e5" providerId="ADAL" clId="{7E9C30F7-90CD-4966-80F0-D061DBD819C0}" dt="2025-05-08T21:14:27.235" v="1425" actId="20577"/>
          <ac:spMkLst>
            <pc:docMk/>
            <pc:sldMk cId="4108157157" sldId="2147481474"/>
            <ac:spMk id="3" creationId="{152FE263-4D5F-AC3F-37F2-30470944D308}"/>
          </ac:spMkLst>
        </pc:spChg>
        <pc:spChg chg="mod">
          <ac:chgData name="Mette Thomassen" userId="7694b98c-ed6c-402b-934e-e6aacb9998e5" providerId="ADAL" clId="{7E9C30F7-90CD-4966-80F0-D061DBD819C0}" dt="2025-05-08T21:13:03.493" v="1342" actId="6549"/>
          <ac:spMkLst>
            <pc:docMk/>
            <pc:sldMk cId="4108157157" sldId="2147481474"/>
            <ac:spMk id="34" creationId="{0B72F103-D251-065D-CD46-8EF5D145D956}"/>
          </ac:spMkLst>
        </pc:spChg>
        <pc:spChg chg="del">
          <ac:chgData name="Mette Thomassen" userId="7694b98c-ed6c-402b-934e-e6aacb9998e5" providerId="ADAL" clId="{7E9C30F7-90CD-4966-80F0-D061DBD819C0}" dt="2025-05-08T21:12:59.785" v="1341" actId="478"/>
          <ac:spMkLst>
            <pc:docMk/>
            <pc:sldMk cId="4108157157" sldId="2147481474"/>
            <ac:spMk id="35" creationId="{95D649D5-F083-1C4B-B877-BA9FDB1AB592}"/>
          </ac:spMkLst>
        </pc:spChg>
        <pc:grpChg chg="del">
          <ac:chgData name="Mette Thomassen" userId="7694b98c-ed6c-402b-934e-e6aacb9998e5" providerId="ADAL" clId="{7E9C30F7-90CD-4966-80F0-D061DBD819C0}" dt="2025-05-08T21:13:06.397" v="1343" actId="478"/>
          <ac:grpSpMkLst>
            <pc:docMk/>
            <pc:sldMk cId="4108157157" sldId="2147481474"/>
            <ac:grpSpMk id="40" creationId="{1F6B0108-416F-BBC5-E4BA-B92B0BBFC50E}"/>
          </ac:grpSpMkLst>
        </pc:grpChg>
        <pc:picChg chg="add mod">
          <ac:chgData name="Mette Thomassen" userId="7694b98c-ed6c-402b-934e-e6aacb9998e5" providerId="ADAL" clId="{7E9C30F7-90CD-4966-80F0-D061DBD819C0}" dt="2025-05-08T21:13:16.338" v="1345" actId="1076"/>
          <ac:picMkLst>
            <pc:docMk/>
            <pc:sldMk cId="4108157157" sldId="2147481474"/>
            <ac:picMk id="1026" creationId="{4F279C6A-3337-DE53-9894-6445066141F0}"/>
          </ac:picMkLst>
        </pc:picChg>
      </pc:sldChg>
      <pc:sldChg chg="new del">
        <pc:chgData name="Mette Thomassen" userId="7694b98c-ed6c-402b-934e-e6aacb9998e5" providerId="ADAL" clId="{7E9C30F7-90CD-4966-80F0-D061DBD819C0}" dt="2025-05-08T21:24:35.191" v="1428" actId="47"/>
        <pc:sldMkLst>
          <pc:docMk/>
          <pc:sldMk cId="1858453208" sldId="2147481475"/>
        </pc:sldMkLst>
      </pc:sldChg>
      <pc:sldChg chg="new del">
        <pc:chgData name="Mette Thomassen" userId="7694b98c-ed6c-402b-934e-e6aacb9998e5" providerId="ADAL" clId="{7E9C30F7-90CD-4966-80F0-D061DBD819C0}" dt="2025-05-08T21:25:07.491" v="1430" actId="47"/>
        <pc:sldMkLst>
          <pc:docMk/>
          <pc:sldMk cId="1892612941" sldId="2147481475"/>
        </pc:sldMkLst>
      </pc:sldChg>
      <pc:sldChg chg="addSp new mod ord">
        <pc:chgData name="Mette Thomassen" userId="7694b98c-ed6c-402b-934e-e6aacb9998e5" providerId="ADAL" clId="{7E9C30F7-90CD-4966-80F0-D061DBD819C0}" dt="2025-05-08T21:25:34.497" v="1434" actId="22"/>
        <pc:sldMkLst>
          <pc:docMk/>
          <pc:sldMk cId="3092109821" sldId="2147481475"/>
        </pc:sldMkLst>
        <pc:picChg chg="add">
          <ac:chgData name="Mette Thomassen" userId="7694b98c-ed6c-402b-934e-e6aacb9998e5" providerId="ADAL" clId="{7E9C30F7-90CD-4966-80F0-D061DBD819C0}" dt="2025-05-08T21:25:34.497" v="1434" actId="22"/>
          <ac:picMkLst>
            <pc:docMk/>
            <pc:sldMk cId="3092109821" sldId="2147481475"/>
            <ac:picMk id="8" creationId="{308DDBE7-4A34-FD2F-FA14-569A8E40A294}"/>
          </ac:picMkLst>
        </pc:picChg>
      </pc:sldChg>
      <pc:sldChg chg="addSp new mod">
        <pc:chgData name="Mette Thomassen" userId="7694b98c-ed6c-402b-934e-e6aacb9998e5" providerId="ADAL" clId="{7E9C30F7-90CD-4966-80F0-D061DBD819C0}" dt="2025-05-08T21:32:55.393" v="1436" actId="22"/>
        <pc:sldMkLst>
          <pc:docMk/>
          <pc:sldMk cId="21139290" sldId="2147481476"/>
        </pc:sldMkLst>
        <pc:picChg chg="add">
          <ac:chgData name="Mette Thomassen" userId="7694b98c-ed6c-402b-934e-e6aacb9998e5" providerId="ADAL" clId="{7E9C30F7-90CD-4966-80F0-D061DBD819C0}" dt="2025-05-08T21:32:55.393" v="1436" actId="22"/>
          <ac:picMkLst>
            <pc:docMk/>
            <pc:sldMk cId="21139290" sldId="2147481476"/>
            <ac:picMk id="8" creationId="{4B8936FE-5C80-982D-E256-CE00E1191946}"/>
          </ac:picMkLst>
        </pc:picChg>
      </pc:sldChg>
      <pc:sldChg chg="addSp modSp new mod ord">
        <pc:chgData name="Mette Thomassen" userId="7694b98c-ed6c-402b-934e-e6aacb9998e5" providerId="ADAL" clId="{7E9C30F7-90CD-4966-80F0-D061DBD819C0}" dt="2025-05-09T05:25:24.093" v="2996"/>
        <pc:sldMkLst>
          <pc:docMk/>
          <pc:sldMk cId="85273276" sldId="2147481477"/>
        </pc:sldMkLst>
        <pc:picChg chg="add mod">
          <ac:chgData name="Mette Thomassen" userId="7694b98c-ed6c-402b-934e-e6aacb9998e5" providerId="ADAL" clId="{7E9C30F7-90CD-4966-80F0-D061DBD819C0}" dt="2025-05-08T21:34:46.099" v="1440" actId="1076"/>
          <ac:picMkLst>
            <pc:docMk/>
            <pc:sldMk cId="85273276" sldId="2147481477"/>
            <ac:picMk id="8" creationId="{5EAEC555-07A8-648C-8F91-6E7E2EBAFDFA}"/>
          </ac:picMkLst>
        </pc:picChg>
      </pc:sldChg>
      <pc:sldChg chg="addSp delSp modSp add del mod">
        <pc:chgData name="Mette Thomassen" userId="7694b98c-ed6c-402b-934e-e6aacb9998e5" providerId="ADAL" clId="{7E9C30F7-90CD-4966-80F0-D061DBD819C0}" dt="2025-05-09T04:53:37.086" v="2601" actId="47"/>
        <pc:sldMkLst>
          <pc:docMk/>
          <pc:sldMk cId="1720000434" sldId="2147481478"/>
        </pc:sldMkLst>
        <pc:spChg chg="mod">
          <ac:chgData name="Mette Thomassen" userId="7694b98c-ed6c-402b-934e-e6aacb9998e5" providerId="ADAL" clId="{7E9C30F7-90CD-4966-80F0-D061DBD819C0}" dt="2025-05-08T21:40:53.991" v="1558" actId="1036"/>
          <ac:spMkLst>
            <pc:docMk/>
            <pc:sldMk cId="1720000434" sldId="2147481478"/>
            <ac:spMk id="2" creationId="{2ECDDE9D-4B0A-1B95-3AF1-B098E5EF1D1D}"/>
          </ac:spMkLst>
        </pc:spChg>
        <pc:spChg chg="mod ord">
          <ac:chgData name="Mette Thomassen" userId="7694b98c-ed6c-402b-934e-e6aacb9998e5" providerId="ADAL" clId="{7E9C30F7-90CD-4966-80F0-D061DBD819C0}" dt="2025-05-08T21:39:42.484" v="1458" actId="1076"/>
          <ac:spMkLst>
            <pc:docMk/>
            <pc:sldMk cId="1720000434" sldId="2147481478"/>
            <ac:spMk id="3" creationId="{239B49D3-6473-DF96-C2C9-93FCB79CE532}"/>
          </ac:spMkLst>
        </pc:spChg>
        <pc:picChg chg="add mod">
          <ac:chgData name="Mette Thomassen" userId="7694b98c-ed6c-402b-934e-e6aacb9998e5" providerId="ADAL" clId="{7E9C30F7-90CD-4966-80F0-D061DBD819C0}" dt="2025-05-08T21:39:50.316" v="1460" actId="1076"/>
          <ac:picMkLst>
            <pc:docMk/>
            <pc:sldMk cId="1720000434" sldId="2147481478"/>
            <ac:picMk id="2050" creationId="{24880D92-DF6B-B393-130C-98608B9F2278}"/>
          </ac:picMkLst>
        </pc:picChg>
        <pc:picChg chg="del">
          <ac:chgData name="Mette Thomassen" userId="7694b98c-ed6c-402b-934e-e6aacb9998e5" providerId="ADAL" clId="{7E9C30F7-90CD-4966-80F0-D061DBD819C0}" dt="2025-05-08T21:37:55.065" v="1444" actId="478"/>
          <ac:picMkLst>
            <pc:docMk/>
            <pc:sldMk cId="1720000434" sldId="2147481478"/>
            <ac:picMk id="3074" creationId="{7CC83903-28D4-EAE4-E09F-BBC279516242}"/>
          </ac:picMkLst>
        </pc:picChg>
      </pc:sldChg>
      <pc:sldChg chg="new del">
        <pc:chgData name="Mette Thomassen" userId="7694b98c-ed6c-402b-934e-e6aacb9998e5" providerId="ADAL" clId="{7E9C30F7-90CD-4966-80F0-D061DBD819C0}" dt="2025-05-08T21:36:19.303" v="1443" actId="47"/>
        <pc:sldMkLst>
          <pc:docMk/>
          <pc:sldMk cId="3884647859" sldId="2147481479"/>
        </pc:sldMkLst>
      </pc:sldChg>
      <pc:sldChg chg="addSp delSp modSp add mod setBg">
        <pc:chgData name="Mette Thomassen" userId="7694b98c-ed6c-402b-934e-e6aacb9998e5" providerId="ADAL" clId="{7E9C30F7-90CD-4966-80F0-D061DBD819C0}" dt="2025-05-08T21:47:14.085" v="1659" actId="20577"/>
        <pc:sldMkLst>
          <pc:docMk/>
          <pc:sldMk cId="4067608422" sldId="2147481479"/>
        </pc:sldMkLst>
        <pc:spChg chg="mod">
          <ac:chgData name="Mette Thomassen" userId="7694b98c-ed6c-402b-934e-e6aacb9998e5" providerId="ADAL" clId="{7E9C30F7-90CD-4966-80F0-D061DBD819C0}" dt="2025-05-08T21:47:14.085" v="1659" actId="20577"/>
          <ac:spMkLst>
            <pc:docMk/>
            <pc:sldMk cId="4067608422" sldId="2147481479"/>
            <ac:spMk id="2" creationId="{5AFCCEE9-BD16-7743-7EA9-FE316C221FF4}"/>
          </ac:spMkLst>
        </pc:spChg>
        <pc:picChg chg="add mod">
          <ac:chgData name="Mette Thomassen" userId="7694b98c-ed6c-402b-934e-e6aacb9998e5" providerId="ADAL" clId="{7E9C30F7-90CD-4966-80F0-D061DBD819C0}" dt="2025-05-08T21:46:54.644" v="1649" actId="1076"/>
          <ac:picMkLst>
            <pc:docMk/>
            <pc:sldMk cId="4067608422" sldId="2147481479"/>
            <ac:picMk id="4" creationId="{31728DAA-0D5D-832C-144E-AC462FAF09C0}"/>
          </ac:picMkLst>
        </pc:picChg>
        <pc:picChg chg="add del mod">
          <ac:chgData name="Mette Thomassen" userId="7694b98c-ed6c-402b-934e-e6aacb9998e5" providerId="ADAL" clId="{7E9C30F7-90CD-4966-80F0-D061DBD819C0}" dt="2025-05-08T21:46:47.108" v="1647" actId="478"/>
          <ac:picMkLst>
            <pc:docMk/>
            <pc:sldMk cId="4067608422" sldId="2147481479"/>
            <ac:picMk id="3074" creationId="{3A4A7562-0620-1777-539A-696138B9E2B2}"/>
          </ac:picMkLst>
        </pc:picChg>
        <pc:picChg chg="add mod">
          <ac:chgData name="Mette Thomassen" userId="7694b98c-ed6c-402b-934e-e6aacb9998e5" providerId="ADAL" clId="{7E9C30F7-90CD-4966-80F0-D061DBD819C0}" dt="2025-05-08T21:47:00.050" v="1650" actId="1076"/>
          <ac:picMkLst>
            <pc:docMk/>
            <pc:sldMk cId="4067608422" sldId="2147481479"/>
            <ac:picMk id="3076" creationId="{2EAC44FE-A3B9-D615-74F8-F112F4AB27A8}"/>
          </ac:picMkLst>
        </pc:picChg>
      </pc:sldChg>
      <pc:sldChg chg="addSp delSp modSp add mod">
        <pc:chgData name="Mette Thomassen" userId="7694b98c-ed6c-402b-934e-e6aacb9998e5" providerId="ADAL" clId="{7E9C30F7-90CD-4966-80F0-D061DBD819C0}" dt="2025-05-08T22:32:38.672" v="2465" actId="20577"/>
        <pc:sldMkLst>
          <pc:docMk/>
          <pc:sldMk cId="36812611" sldId="2147481480"/>
        </pc:sldMkLst>
        <pc:spChg chg="mod">
          <ac:chgData name="Mette Thomassen" userId="7694b98c-ed6c-402b-934e-e6aacb9998e5" providerId="ADAL" clId="{7E9C30F7-90CD-4966-80F0-D061DBD819C0}" dt="2025-05-08T22:32:38.672" v="2465" actId="20577"/>
          <ac:spMkLst>
            <pc:docMk/>
            <pc:sldMk cId="36812611" sldId="2147481480"/>
            <ac:spMk id="2" creationId="{1BA74230-A239-DD85-B37C-BB3C8390D8F6}"/>
          </ac:spMkLst>
        </pc:spChg>
        <pc:picChg chg="del">
          <ac:chgData name="Mette Thomassen" userId="7694b98c-ed6c-402b-934e-e6aacb9998e5" providerId="ADAL" clId="{7E9C30F7-90CD-4966-80F0-D061DBD819C0}" dt="2025-05-08T22:26:45.192" v="2234" actId="478"/>
          <ac:picMkLst>
            <pc:docMk/>
            <pc:sldMk cId="36812611" sldId="2147481480"/>
            <ac:picMk id="4098" creationId="{F8A174F2-5C7E-2570-D65C-D4BF429DA3D3}"/>
          </ac:picMkLst>
        </pc:picChg>
        <pc:picChg chg="add mod">
          <ac:chgData name="Mette Thomassen" userId="7694b98c-ed6c-402b-934e-e6aacb9998e5" providerId="ADAL" clId="{7E9C30F7-90CD-4966-80F0-D061DBD819C0}" dt="2025-05-08T22:32:00.973" v="2344" actId="1035"/>
          <ac:picMkLst>
            <pc:docMk/>
            <pc:sldMk cId="36812611" sldId="2147481480"/>
            <ac:picMk id="10242" creationId="{547EDA50-DF71-FE61-FE43-FA1669936525}"/>
          </ac:picMkLst>
        </pc:picChg>
        <pc:picChg chg="add mod">
          <ac:chgData name="Mette Thomassen" userId="7694b98c-ed6c-402b-934e-e6aacb9998e5" providerId="ADAL" clId="{7E9C30F7-90CD-4966-80F0-D061DBD819C0}" dt="2025-05-08T22:32:04.942" v="2348" actId="1036"/>
          <ac:picMkLst>
            <pc:docMk/>
            <pc:sldMk cId="36812611" sldId="2147481480"/>
            <ac:picMk id="10244" creationId="{5D5EC829-A1C8-4D9C-FA8E-C30827D3032E}"/>
          </ac:picMkLst>
        </pc:picChg>
        <pc:picChg chg="add del">
          <ac:chgData name="Mette Thomassen" userId="7694b98c-ed6c-402b-934e-e6aacb9998e5" providerId="ADAL" clId="{7E9C30F7-90CD-4966-80F0-D061DBD819C0}" dt="2025-05-08T22:31:48.042" v="2336" actId="478"/>
          <ac:picMkLst>
            <pc:docMk/>
            <pc:sldMk cId="36812611" sldId="2147481480"/>
            <ac:picMk id="10246" creationId="{2A0CFF1A-553D-AC0A-65CB-421A836E5813}"/>
          </ac:picMkLst>
        </pc:picChg>
      </pc:sldChg>
      <pc:sldChg chg="delSp add del">
        <pc:chgData name="Mette Thomassen" userId="7694b98c-ed6c-402b-934e-e6aacb9998e5" providerId="ADAL" clId="{7E9C30F7-90CD-4966-80F0-D061DBD819C0}" dt="2025-05-08T21:59:37.346" v="1878" actId="47"/>
        <pc:sldMkLst>
          <pc:docMk/>
          <pc:sldMk cId="911846780" sldId="2147481480"/>
        </pc:sldMkLst>
        <pc:picChg chg="del">
          <ac:chgData name="Mette Thomassen" userId="7694b98c-ed6c-402b-934e-e6aacb9998e5" providerId="ADAL" clId="{7E9C30F7-90CD-4966-80F0-D061DBD819C0}" dt="2025-05-08T21:59:26.934" v="1875" actId="21"/>
          <ac:picMkLst>
            <pc:docMk/>
            <pc:sldMk cId="911846780" sldId="2147481480"/>
            <ac:picMk id="4098" creationId="{378FF4AE-E0A6-1960-10BB-82A45797248D}"/>
          </ac:picMkLst>
        </pc:picChg>
      </pc:sldChg>
      <pc:sldChg chg="addSp delSp modSp new del mod setBg">
        <pc:chgData name="Mette Thomassen" userId="7694b98c-ed6c-402b-934e-e6aacb9998e5" providerId="ADAL" clId="{7E9C30F7-90CD-4966-80F0-D061DBD819C0}" dt="2025-05-08T21:58:50.094" v="1872" actId="2696"/>
        <pc:sldMkLst>
          <pc:docMk/>
          <pc:sldMk cId="1027755233" sldId="2147481480"/>
        </pc:sldMkLst>
        <pc:spChg chg="mod">
          <ac:chgData name="Mette Thomassen" userId="7694b98c-ed6c-402b-934e-e6aacb9998e5" providerId="ADAL" clId="{7E9C30F7-90CD-4966-80F0-D061DBD819C0}" dt="2025-05-08T21:58:18.999" v="1870" actId="14100"/>
          <ac:spMkLst>
            <pc:docMk/>
            <pc:sldMk cId="1027755233" sldId="2147481480"/>
            <ac:spMk id="3" creationId="{7E1BAD3A-404E-44D3-707A-389B6375DA14}"/>
          </ac:spMkLst>
        </pc:spChg>
        <pc:spChg chg="del">
          <ac:chgData name="Mette Thomassen" userId="7694b98c-ed6c-402b-934e-e6aacb9998e5" providerId="ADAL" clId="{7E9C30F7-90CD-4966-80F0-D061DBD819C0}" dt="2025-05-08T21:58:27.267" v="1871" actId="478"/>
          <ac:spMkLst>
            <pc:docMk/>
            <pc:sldMk cId="1027755233" sldId="2147481480"/>
            <ac:spMk id="5" creationId="{FB20AF46-EEAC-D263-D5A2-D7BC8005E71C}"/>
          </ac:spMkLst>
        </pc:spChg>
        <pc:picChg chg="add mod">
          <ac:chgData name="Mette Thomassen" userId="7694b98c-ed6c-402b-934e-e6aacb9998e5" providerId="ADAL" clId="{7E9C30F7-90CD-4966-80F0-D061DBD819C0}" dt="2025-05-08T21:57:55.550" v="1864" actId="14100"/>
          <ac:picMkLst>
            <pc:docMk/>
            <pc:sldMk cId="1027755233" sldId="2147481480"/>
            <ac:picMk id="4098" creationId="{378FF4AE-E0A6-1960-10BB-82A45797248D}"/>
          </ac:picMkLst>
        </pc:picChg>
      </pc:sldChg>
      <pc:sldChg chg="add">
        <pc:chgData name="Mette Thomassen" userId="7694b98c-ed6c-402b-934e-e6aacb9998e5" providerId="ADAL" clId="{7E9C30F7-90CD-4966-80F0-D061DBD819C0}" dt="2025-05-09T04:53:18.185" v="2599"/>
        <pc:sldMkLst>
          <pc:docMk/>
          <pc:sldMk cId="1615976909" sldId="2147481481"/>
        </pc:sldMkLst>
      </pc:sldChg>
      <pc:sldChg chg="add del">
        <pc:chgData name="Mette Thomassen" userId="7694b98c-ed6c-402b-934e-e6aacb9998e5" providerId="ADAL" clId="{7E9C30F7-90CD-4966-80F0-D061DBD819C0}" dt="2025-05-08T21:53:19.800" v="1754"/>
        <pc:sldMkLst>
          <pc:docMk/>
          <pc:sldMk cId="2088680990" sldId="2147481481"/>
        </pc:sldMkLst>
      </pc:sldChg>
      <pc:sldChg chg="add del">
        <pc:chgData name="Mette Thomassen" userId="7694b98c-ed6c-402b-934e-e6aacb9998e5" providerId="ADAL" clId="{7E9C30F7-90CD-4966-80F0-D061DBD819C0}" dt="2025-05-08T21:53:14.002" v="1752"/>
        <pc:sldMkLst>
          <pc:docMk/>
          <pc:sldMk cId="4110884123" sldId="2147481481"/>
        </pc:sldMkLst>
      </pc:sldChg>
      <pc:sldChg chg="addSp modSp new mod">
        <pc:chgData name="Mette Thomassen" userId="7694b98c-ed6c-402b-934e-e6aacb9998e5" providerId="ADAL" clId="{7E9C30F7-90CD-4966-80F0-D061DBD819C0}" dt="2025-05-09T05:16:38.189" v="2974" actId="20577"/>
        <pc:sldMkLst>
          <pc:docMk/>
          <pc:sldMk cId="2567645622" sldId="2147481482"/>
        </pc:sldMkLst>
        <pc:spChg chg="mod">
          <ac:chgData name="Mette Thomassen" userId="7694b98c-ed6c-402b-934e-e6aacb9998e5" providerId="ADAL" clId="{7E9C30F7-90CD-4966-80F0-D061DBD819C0}" dt="2025-05-09T05:09:21.694" v="2655" actId="1037"/>
          <ac:spMkLst>
            <pc:docMk/>
            <pc:sldMk cId="2567645622" sldId="2147481482"/>
            <ac:spMk id="2" creationId="{1957828C-DFB3-7035-E5A8-1BE9A93E4655}"/>
          </ac:spMkLst>
        </pc:spChg>
        <pc:spChg chg="mod">
          <ac:chgData name="Mette Thomassen" userId="7694b98c-ed6c-402b-934e-e6aacb9998e5" providerId="ADAL" clId="{7E9C30F7-90CD-4966-80F0-D061DBD819C0}" dt="2025-05-09T05:16:38.189" v="2974" actId="20577"/>
          <ac:spMkLst>
            <pc:docMk/>
            <pc:sldMk cId="2567645622" sldId="2147481482"/>
            <ac:spMk id="3" creationId="{18CEC26D-DBEE-3AEE-D814-066C6DD644BD}"/>
          </ac:spMkLst>
        </pc:spChg>
        <pc:picChg chg="add mod">
          <ac:chgData name="Mette Thomassen" userId="7694b98c-ed6c-402b-934e-e6aacb9998e5" providerId="ADAL" clId="{7E9C30F7-90CD-4966-80F0-D061DBD819C0}" dt="2025-05-09T05:09:05.750" v="2651" actId="1076"/>
          <ac:picMkLst>
            <pc:docMk/>
            <pc:sldMk cId="2567645622" sldId="2147481482"/>
            <ac:picMk id="13314" creationId="{91557286-956F-F7FC-5E8D-E2DEC9F7FA0A}"/>
          </ac:picMkLst>
        </pc:picChg>
      </pc:sldChg>
      <pc:sldChg chg="addSp new mod modShow">
        <pc:chgData name="Mette Thomassen" userId="7694b98c-ed6c-402b-934e-e6aacb9998e5" providerId="ADAL" clId="{7E9C30F7-90CD-4966-80F0-D061DBD819C0}" dt="2025-05-09T06:20:55.770" v="3362" actId="729"/>
        <pc:sldMkLst>
          <pc:docMk/>
          <pc:sldMk cId="204723956" sldId="2147481483"/>
        </pc:sldMkLst>
        <pc:picChg chg="add">
          <ac:chgData name="Mette Thomassen" userId="7694b98c-ed6c-402b-934e-e6aacb9998e5" providerId="ADAL" clId="{7E9C30F7-90CD-4966-80F0-D061DBD819C0}" dt="2025-05-09T05:18:06.124" v="2976" actId="22"/>
          <ac:picMkLst>
            <pc:docMk/>
            <pc:sldMk cId="204723956" sldId="2147481483"/>
            <ac:picMk id="8" creationId="{DC8F977F-0FB8-8E65-8CB4-8123D3BFA771}"/>
          </ac:picMkLst>
        </pc:picChg>
      </pc:sldChg>
      <pc:sldChg chg="addSp new del">
        <pc:chgData name="Mette Thomassen" userId="7694b98c-ed6c-402b-934e-e6aacb9998e5" providerId="ADAL" clId="{7E9C30F7-90CD-4966-80F0-D061DBD819C0}" dt="2025-05-09T06:14:25.103" v="3347" actId="47"/>
        <pc:sldMkLst>
          <pc:docMk/>
          <pc:sldMk cId="605762581" sldId="2147481484"/>
        </pc:sldMkLst>
        <pc:picChg chg="add">
          <ac:chgData name="Mette Thomassen" userId="7694b98c-ed6c-402b-934e-e6aacb9998e5" providerId="ADAL" clId="{7E9C30F7-90CD-4966-80F0-D061DBD819C0}" dt="2025-05-09T05:36:47.581" v="3345"/>
          <ac:picMkLst>
            <pc:docMk/>
            <pc:sldMk cId="605762581" sldId="2147481484"/>
            <ac:picMk id="15362" creationId="{54B4A44C-D0A3-43B4-0B26-610663DA1F1C}"/>
          </ac:picMkLst>
        </pc:picChg>
      </pc:sldChg>
      <pc:sldChg chg="new del">
        <pc:chgData name="Mette Thomassen" userId="7694b98c-ed6c-402b-934e-e6aacb9998e5" providerId="ADAL" clId="{7E9C30F7-90CD-4966-80F0-D061DBD819C0}" dt="2025-05-09T05:33:02.147" v="3119" actId="680"/>
        <pc:sldMkLst>
          <pc:docMk/>
          <pc:sldMk cId="618560940" sldId="2147481485"/>
        </pc:sldMkLst>
      </pc:sldChg>
      <pc:sldChg chg="addSp delSp modSp new mod">
        <pc:chgData name="Mette Thomassen" userId="7694b98c-ed6c-402b-934e-e6aacb9998e5" providerId="ADAL" clId="{7E9C30F7-90CD-4966-80F0-D061DBD819C0}" dt="2025-05-09T06:39:44.980" v="4117" actId="1036"/>
        <pc:sldMkLst>
          <pc:docMk/>
          <pc:sldMk cId="4046867191" sldId="2147481485"/>
        </pc:sldMkLst>
        <pc:spChg chg="mod">
          <ac:chgData name="Mette Thomassen" userId="7694b98c-ed6c-402b-934e-e6aacb9998e5" providerId="ADAL" clId="{7E9C30F7-90CD-4966-80F0-D061DBD819C0}" dt="2025-05-09T06:39:44.980" v="4117" actId="1036"/>
          <ac:spMkLst>
            <pc:docMk/>
            <pc:sldMk cId="4046867191" sldId="2147481485"/>
            <ac:spMk id="2" creationId="{26295EF1-C764-F8DC-BFF8-AF8B1E5BE353}"/>
          </ac:spMkLst>
        </pc:spChg>
        <pc:spChg chg="mod">
          <ac:chgData name="Mette Thomassen" userId="7694b98c-ed6c-402b-934e-e6aacb9998e5" providerId="ADAL" clId="{7E9C30F7-90CD-4966-80F0-D061DBD819C0}" dt="2025-05-09T05:36:16.648" v="3344" actId="20577"/>
          <ac:spMkLst>
            <pc:docMk/>
            <pc:sldMk cId="4046867191" sldId="2147481485"/>
            <ac:spMk id="3" creationId="{698B0385-8322-1F17-03CD-D928E612CE4D}"/>
          </ac:spMkLst>
        </pc:spChg>
        <pc:spChg chg="del">
          <ac:chgData name="Mette Thomassen" userId="7694b98c-ed6c-402b-934e-e6aacb9998e5" providerId="ADAL" clId="{7E9C30F7-90CD-4966-80F0-D061DBD819C0}" dt="2025-05-09T06:38:53.571" v="4048" actId="478"/>
          <ac:spMkLst>
            <pc:docMk/>
            <pc:sldMk cId="4046867191" sldId="2147481485"/>
            <ac:spMk id="4" creationId="{86A4236E-83C6-C88E-7465-A34B84233AF3}"/>
          </ac:spMkLst>
        </pc:spChg>
        <pc:picChg chg="add mod">
          <ac:chgData name="Mette Thomassen" userId="7694b98c-ed6c-402b-934e-e6aacb9998e5" providerId="ADAL" clId="{7E9C30F7-90CD-4966-80F0-D061DBD819C0}" dt="2025-05-09T06:39:01.461" v="4049" actId="1076"/>
          <ac:picMkLst>
            <pc:docMk/>
            <pc:sldMk cId="4046867191" sldId="2147481485"/>
            <ac:picMk id="7" creationId="{EDD9434A-2036-BA4B-181C-D05C6DD9F4D0}"/>
          </ac:picMkLst>
        </pc:picChg>
        <pc:picChg chg="add mod">
          <ac:chgData name="Mette Thomassen" userId="7694b98c-ed6c-402b-934e-e6aacb9998e5" providerId="ADAL" clId="{7E9C30F7-90CD-4966-80F0-D061DBD819C0}" dt="2025-05-09T06:39:11.773" v="4050" actId="1076"/>
          <ac:picMkLst>
            <pc:docMk/>
            <pc:sldMk cId="4046867191" sldId="2147481485"/>
            <ac:picMk id="8" creationId="{6158DF67-F645-C4D7-BE65-3E0BEC3EE9D6}"/>
          </ac:picMkLst>
        </pc:picChg>
      </pc:sldChg>
      <pc:sldChg chg="new del">
        <pc:chgData name="Mette Thomassen" userId="7694b98c-ed6c-402b-934e-e6aacb9998e5" providerId="ADAL" clId="{7E9C30F7-90CD-4966-80F0-D061DBD819C0}" dt="2025-05-09T06:26:48.999" v="3404" actId="47"/>
        <pc:sldMkLst>
          <pc:docMk/>
          <pc:sldMk cId="1865677031" sldId="2147481486"/>
        </pc:sldMkLst>
      </pc:sldChg>
      <pc:sldChg chg="addSp modSp new mod">
        <pc:chgData name="Mette Thomassen" userId="7694b98c-ed6c-402b-934e-e6aacb9998e5" providerId="ADAL" clId="{7E9C30F7-90CD-4966-80F0-D061DBD819C0}" dt="2025-05-09T06:26:42.110" v="3403" actId="20577"/>
        <pc:sldMkLst>
          <pc:docMk/>
          <pc:sldMk cId="3658281371" sldId="2147481487"/>
        </pc:sldMkLst>
        <pc:spChg chg="mod">
          <ac:chgData name="Mette Thomassen" userId="7694b98c-ed6c-402b-934e-e6aacb9998e5" providerId="ADAL" clId="{7E9C30F7-90CD-4966-80F0-D061DBD819C0}" dt="2025-05-09T06:26:42.110" v="3403" actId="20577"/>
          <ac:spMkLst>
            <pc:docMk/>
            <pc:sldMk cId="3658281371" sldId="2147481487"/>
            <ac:spMk id="3" creationId="{04FD5DB8-5183-1D6A-5011-71F0EFC9D177}"/>
          </ac:spMkLst>
        </pc:spChg>
        <pc:picChg chg="add mod">
          <ac:chgData name="Mette Thomassen" userId="7694b98c-ed6c-402b-934e-e6aacb9998e5" providerId="ADAL" clId="{7E9C30F7-90CD-4966-80F0-D061DBD819C0}" dt="2025-05-09T06:25:54.608" v="3374" actId="1076"/>
          <ac:picMkLst>
            <pc:docMk/>
            <pc:sldMk cId="3658281371" sldId="2147481487"/>
            <ac:picMk id="7" creationId="{69C7CAC8-8614-7062-C4E3-3E0CB9494FC6}"/>
          </ac:picMkLst>
        </pc:picChg>
      </pc:sldChg>
      <pc:sldChg chg="addSp delSp modSp add mod">
        <pc:chgData name="Mette Thomassen" userId="7694b98c-ed6c-402b-934e-e6aacb9998e5" providerId="ADAL" clId="{7E9C30F7-90CD-4966-80F0-D061DBD819C0}" dt="2025-05-09T06:45:12.547" v="4372" actId="1038"/>
        <pc:sldMkLst>
          <pc:docMk/>
          <pc:sldMk cId="1022740247" sldId="2147481488"/>
        </pc:sldMkLst>
        <pc:spChg chg="mod">
          <ac:chgData name="Mette Thomassen" userId="7694b98c-ed6c-402b-934e-e6aacb9998e5" providerId="ADAL" clId="{7E9C30F7-90CD-4966-80F0-D061DBD819C0}" dt="2025-05-09T06:31:14.091" v="3618" actId="20577"/>
          <ac:spMkLst>
            <pc:docMk/>
            <pc:sldMk cId="1022740247" sldId="2147481488"/>
            <ac:spMk id="2" creationId="{782A7FE3-0FE6-60A5-3A23-7BCD7D776567}"/>
          </ac:spMkLst>
        </pc:spChg>
        <pc:graphicFrameChg chg="del">
          <ac:chgData name="Mette Thomassen" userId="7694b98c-ed6c-402b-934e-e6aacb9998e5" providerId="ADAL" clId="{7E9C30F7-90CD-4966-80F0-D061DBD819C0}" dt="2025-05-09T06:28:28.783" v="3470" actId="21"/>
          <ac:graphicFrameMkLst>
            <pc:docMk/>
            <pc:sldMk cId="1022740247" sldId="2147481488"/>
            <ac:graphicFrameMk id="9" creationId="{6B668F54-B6DB-803C-71D4-46378B910795}"/>
          </ac:graphicFrameMkLst>
        </pc:graphicFrameChg>
        <pc:picChg chg="add mod">
          <ac:chgData name="Mette Thomassen" userId="7694b98c-ed6c-402b-934e-e6aacb9998e5" providerId="ADAL" clId="{7E9C30F7-90CD-4966-80F0-D061DBD819C0}" dt="2025-05-09T06:44:47.079" v="4326" actId="1076"/>
          <ac:picMkLst>
            <pc:docMk/>
            <pc:sldMk cId="1022740247" sldId="2147481488"/>
            <ac:picMk id="3" creationId="{0F398361-2759-A14B-7643-4DEC10266B81}"/>
          </ac:picMkLst>
        </pc:picChg>
        <pc:picChg chg="del">
          <ac:chgData name="Mette Thomassen" userId="7694b98c-ed6c-402b-934e-e6aacb9998e5" providerId="ADAL" clId="{7E9C30F7-90CD-4966-80F0-D061DBD819C0}" dt="2025-05-09T06:27:57.558" v="3406" actId="478"/>
          <ac:picMkLst>
            <pc:docMk/>
            <pc:sldMk cId="1022740247" sldId="2147481488"/>
            <ac:picMk id="6" creationId="{5E833017-5A86-CF33-90A1-19A3E194D3ED}"/>
          </ac:picMkLst>
        </pc:picChg>
        <pc:picChg chg="add mod">
          <ac:chgData name="Mette Thomassen" userId="7694b98c-ed6c-402b-934e-e6aacb9998e5" providerId="ADAL" clId="{7E9C30F7-90CD-4966-80F0-D061DBD819C0}" dt="2025-05-09T06:45:04.841" v="4329" actId="1076"/>
          <ac:picMkLst>
            <pc:docMk/>
            <pc:sldMk cId="1022740247" sldId="2147481488"/>
            <ac:picMk id="7" creationId="{17793F27-A3DD-8213-0429-F13BF7816358}"/>
          </ac:picMkLst>
        </pc:picChg>
        <pc:picChg chg="add mod">
          <ac:chgData name="Mette Thomassen" userId="7694b98c-ed6c-402b-934e-e6aacb9998e5" providerId="ADAL" clId="{7E9C30F7-90CD-4966-80F0-D061DBD819C0}" dt="2025-05-09T06:45:12.547" v="4372" actId="1038"/>
          <ac:picMkLst>
            <pc:docMk/>
            <pc:sldMk cId="1022740247" sldId="2147481488"/>
            <ac:picMk id="8" creationId="{E9A7975D-EA3D-F7FD-4082-13C1396EA418}"/>
          </ac:picMkLst>
        </pc:picChg>
      </pc:sldChg>
      <pc:sldChg chg="addSp modSp new mod">
        <pc:chgData name="Mette Thomassen" userId="7694b98c-ed6c-402b-934e-e6aacb9998e5" providerId="ADAL" clId="{7E9C30F7-90CD-4966-80F0-D061DBD819C0}" dt="2025-05-09T06:34:27.404" v="3937" actId="20577"/>
        <pc:sldMkLst>
          <pc:docMk/>
          <pc:sldMk cId="2249073922" sldId="2147481489"/>
        </pc:sldMkLst>
        <pc:spChg chg="mod">
          <ac:chgData name="Mette Thomassen" userId="7694b98c-ed6c-402b-934e-e6aacb9998e5" providerId="ADAL" clId="{7E9C30F7-90CD-4966-80F0-D061DBD819C0}" dt="2025-05-09T06:32:58.779" v="3640" actId="20577"/>
          <ac:spMkLst>
            <pc:docMk/>
            <pc:sldMk cId="2249073922" sldId="2147481489"/>
            <ac:spMk id="2" creationId="{58AA0DAF-340E-5A2C-38D8-4D5507CD7DC1}"/>
          </ac:spMkLst>
        </pc:spChg>
        <pc:spChg chg="mod">
          <ac:chgData name="Mette Thomassen" userId="7694b98c-ed6c-402b-934e-e6aacb9998e5" providerId="ADAL" clId="{7E9C30F7-90CD-4966-80F0-D061DBD819C0}" dt="2025-05-09T06:34:27.404" v="3937" actId="20577"/>
          <ac:spMkLst>
            <pc:docMk/>
            <pc:sldMk cId="2249073922" sldId="2147481489"/>
            <ac:spMk id="3" creationId="{BB5F2D20-CE60-2BF5-E040-33F4F8626DC7}"/>
          </ac:spMkLst>
        </pc:spChg>
        <pc:picChg chg="add mod">
          <ac:chgData name="Mette Thomassen" userId="7694b98c-ed6c-402b-934e-e6aacb9998e5" providerId="ADAL" clId="{7E9C30F7-90CD-4966-80F0-D061DBD819C0}" dt="2025-05-09T06:32:48.424" v="3626" actId="1076"/>
          <ac:picMkLst>
            <pc:docMk/>
            <pc:sldMk cId="2249073922" sldId="2147481489"/>
            <ac:picMk id="7" creationId="{AC9BB839-BF09-5161-BA82-12B11F84E548}"/>
          </ac:picMkLst>
        </pc:picChg>
        <pc:picChg chg="add mod">
          <ac:chgData name="Mette Thomassen" userId="7694b98c-ed6c-402b-934e-e6aacb9998e5" providerId="ADAL" clId="{7E9C30F7-90CD-4966-80F0-D061DBD819C0}" dt="2025-05-09T06:32:45.232" v="3625" actId="1076"/>
          <ac:picMkLst>
            <pc:docMk/>
            <pc:sldMk cId="2249073922" sldId="2147481489"/>
            <ac:picMk id="8" creationId="{4E8A3A7F-9B37-612A-B983-2A3513E92F79}"/>
          </ac:picMkLst>
        </pc:picChg>
      </pc:sldChg>
      <pc:sldChg chg="modSp add mod">
        <pc:chgData name="Mette Thomassen" userId="7694b98c-ed6c-402b-934e-e6aacb9998e5" providerId="ADAL" clId="{7E9C30F7-90CD-4966-80F0-D061DBD819C0}" dt="2025-05-09T06:46:09.566" v="4408" actId="27636"/>
        <pc:sldMkLst>
          <pc:docMk/>
          <pc:sldMk cId="249138746" sldId="2147481490"/>
        </pc:sldMkLst>
        <pc:spChg chg="mod">
          <ac:chgData name="Mette Thomassen" userId="7694b98c-ed6c-402b-934e-e6aacb9998e5" providerId="ADAL" clId="{7E9C30F7-90CD-4966-80F0-D061DBD819C0}" dt="2025-05-09T06:46:09.566" v="4408" actId="27636"/>
          <ac:spMkLst>
            <pc:docMk/>
            <pc:sldMk cId="249138746" sldId="2147481490"/>
            <ac:spMk id="3" creationId="{EED5611B-9047-6243-B87C-FF9130EDD54D}"/>
          </ac:spMkLst>
        </pc:spChg>
      </pc:sldChg>
      <pc:sldMasterChg chg="delSldLayout">
        <pc:chgData name="Mette Thomassen" userId="7694b98c-ed6c-402b-934e-e6aacb9998e5" providerId="ADAL" clId="{7E9C30F7-90CD-4966-80F0-D061DBD819C0}" dt="2025-05-08T22:19:22.634" v="1964" actId="47"/>
        <pc:sldMasterMkLst>
          <pc:docMk/>
          <pc:sldMasterMk cId="518253758" sldId="2147483683"/>
        </pc:sldMasterMkLst>
        <pc:sldLayoutChg chg="del">
          <pc:chgData name="Mette Thomassen" userId="7694b98c-ed6c-402b-934e-e6aacb9998e5" providerId="ADAL" clId="{7E9C30F7-90CD-4966-80F0-D061DBD819C0}" dt="2025-05-08T22:19:22.634" v="1964" actId="47"/>
          <pc:sldLayoutMkLst>
            <pc:docMk/>
            <pc:sldMasterMk cId="518253758" sldId="2147483683"/>
            <pc:sldLayoutMk cId="516094543" sldId="2147483722"/>
          </pc:sldLayoutMkLst>
        </pc:sldLayoutChg>
      </pc:sldMasterChg>
      <pc:sldMasterChg chg="delSldLayout">
        <pc:chgData name="Mette Thomassen" userId="7694b98c-ed6c-402b-934e-e6aacb9998e5" providerId="ADAL" clId="{7E9C30F7-90CD-4966-80F0-D061DBD819C0}" dt="2025-05-09T05:31:59.952" v="3099" actId="47"/>
        <pc:sldMasterMkLst>
          <pc:docMk/>
          <pc:sldMasterMk cId="1200059003" sldId="2147483700"/>
        </pc:sldMasterMkLst>
        <pc:sldLayoutChg chg="del">
          <pc:chgData name="Mette Thomassen" userId="7694b98c-ed6c-402b-934e-e6aacb9998e5" providerId="ADAL" clId="{7E9C30F7-90CD-4966-80F0-D061DBD819C0}" dt="2025-05-08T22:22:55.412" v="2115" actId="47"/>
          <pc:sldLayoutMkLst>
            <pc:docMk/>
            <pc:sldMasterMk cId="1200059003" sldId="2147483700"/>
            <pc:sldLayoutMk cId="687157908" sldId="2147483724"/>
          </pc:sldLayoutMkLst>
        </pc:sldLayoutChg>
        <pc:sldLayoutChg chg="del">
          <pc:chgData name="Mette Thomassen" userId="7694b98c-ed6c-402b-934e-e6aacb9998e5" providerId="ADAL" clId="{7E9C30F7-90CD-4966-80F0-D061DBD819C0}" dt="2025-05-08T22:23:44.194" v="2116" actId="2696"/>
          <pc:sldLayoutMkLst>
            <pc:docMk/>
            <pc:sldMasterMk cId="1200059003" sldId="2147483700"/>
            <pc:sldLayoutMk cId="3070597343" sldId="2147483725"/>
          </pc:sldLayoutMkLst>
        </pc:sldLayoutChg>
        <pc:sldLayoutChg chg="del">
          <pc:chgData name="Mette Thomassen" userId="7694b98c-ed6c-402b-934e-e6aacb9998e5" providerId="ADAL" clId="{7E9C30F7-90CD-4966-80F0-D061DBD819C0}" dt="2025-05-09T05:31:59.952" v="3099" actId="47"/>
          <pc:sldLayoutMkLst>
            <pc:docMk/>
            <pc:sldMasterMk cId="1200059003" sldId="2147483700"/>
            <pc:sldLayoutMk cId="693351770" sldId="2147483825"/>
          </pc:sldLayoutMkLst>
        </pc:sldLayoutChg>
      </pc:sldMasterChg>
      <pc:sldMasterChg chg="del delSldLayout">
        <pc:chgData name="Mette Thomassen" userId="7694b98c-ed6c-402b-934e-e6aacb9998e5" providerId="ADAL" clId="{7E9C30F7-90CD-4966-80F0-D061DBD819C0}" dt="2025-05-08T22:01:51.182" v="1884" actId="47"/>
        <pc:sldMasterMkLst>
          <pc:docMk/>
          <pc:sldMasterMk cId="1134798891" sldId="2147483726"/>
        </pc:sldMasterMkLst>
        <pc:sldLayoutChg chg="del">
          <pc:chgData name="Mette Thomassen" userId="7694b98c-ed6c-402b-934e-e6aacb9998e5" providerId="ADAL" clId="{7E9C30F7-90CD-4966-80F0-D061DBD819C0}" dt="2025-05-08T22:01:51.182" v="1884" actId="47"/>
          <pc:sldLayoutMkLst>
            <pc:docMk/>
            <pc:sldMasterMk cId="1134798891" sldId="2147483726"/>
            <pc:sldLayoutMk cId="2723137246" sldId="2147483727"/>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3086892987" sldId="2147483728"/>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1107315409" sldId="2147483729"/>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2168962271" sldId="2147483730"/>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579695604" sldId="2147483731"/>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1628208796" sldId="2147483732"/>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1154448215" sldId="2147483733"/>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914510390" sldId="2147483734"/>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1395569517" sldId="2147483735"/>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1022774627" sldId="2147483736"/>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1010792007" sldId="2147483737"/>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2749542463" sldId="2147483738"/>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1380974988" sldId="2147483739"/>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2993486844" sldId="2147483740"/>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69867546" sldId="2147483741"/>
          </pc:sldLayoutMkLst>
        </pc:sldLayoutChg>
        <pc:sldLayoutChg chg="del">
          <pc:chgData name="Mette Thomassen" userId="7694b98c-ed6c-402b-934e-e6aacb9998e5" providerId="ADAL" clId="{7E9C30F7-90CD-4966-80F0-D061DBD819C0}" dt="2025-05-08T22:01:51.182" v="1884" actId="47"/>
          <pc:sldLayoutMkLst>
            <pc:docMk/>
            <pc:sldMasterMk cId="1134798891" sldId="2147483726"/>
            <pc:sldLayoutMk cId="1814800080" sldId="2147483742"/>
          </pc:sldLayoutMkLst>
        </pc:sldLayoutChg>
      </pc:sldMasterChg>
      <pc:sldMasterChg chg="modSp mod modSldLayout sldLayoutOrd">
        <pc:chgData name="Mette Thomassen" userId="7694b98c-ed6c-402b-934e-e6aacb9998e5" providerId="ADAL" clId="{7E9C30F7-90CD-4966-80F0-D061DBD819C0}" dt="2025-05-08T14:14:06.565" v="1003" actId="20578"/>
        <pc:sldMasterMkLst>
          <pc:docMk/>
          <pc:sldMasterMk cId="3098370997" sldId="2147483743"/>
        </pc:sldMasterMkLst>
        <pc:spChg chg="mod">
          <ac:chgData name="Mette Thomassen" userId="7694b98c-ed6c-402b-934e-e6aacb9998e5" providerId="ADAL" clId="{7E9C30F7-90CD-4966-80F0-D061DBD819C0}" dt="2025-05-08T14:13:13.497" v="979" actId="20577"/>
          <ac:spMkLst>
            <pc:docMk/>
            <pc:sldMasterMk cId="3098370997" sldId="2147483743"/>
            <ac:spMk id="13" creationId="{125E96D5-3BB9-422E-861E-C7C7A150AD68}"/>
          </ac:spMkLst>
        </pc:spChg>
        <pc:spChg chg="mod">
          <ac:chgData name="Mette Thomassen" userId="7694b98c-ed6c-402b-934e-e6aacb9998e5" providerId="ADAL" clId="{7E9C30F7-90CD-4966-80F0-D061DBD819C0}" dt="2025-05-08T14:11:59.904" v="961" actId="20577"/>
          <ac:spMkLst>
            <pc:docMk/>
            <pc:sldMasterMk cId="3098370997" sldId="2147483743"/>
            <ac:spMk id="28" creationId="{8A346F21-C2D9-45A4-B26D-7DDC2CEB9FB7}"/>
          </ac:spMkLst>
        </pc:spChg>
        <pc:sldLayoutChg chg="modSp mod">
          <pc:chgData name="Mette Thomassen" userId="7694b98c-ed6c-402b-934e-e6aacb9998e5" providerId="ADAL" clId="{7E9C30F7-90CD-4966-80F0-D061DBD819C0}" dt="2025-05-08T14:12:09.496" v="963" actId="20577"/>
          <pc:sldLayoutMkLst>
            <pc:docMk/>
            <pc:sldMasterMk cId="3098370997" sldId="2147483743"/>
            <pc:sldLayoutMk cId="2542401854" sldId="2147483744"/>
          </pc:sldLayoutMkLst>
          <pc:spChg chg="mod">
            <ac:chgData name="Mette Thomassen" userId="7694b98c-ed6c-402b-934e-e6aacb9998e5" providerId="ADAL" clId="{7E9C30F7-90CD-4966-80F0-D061DBD819C0}" dt="2025-05-08T14:12:09.496" v="963" actId="20577"/>
            <ac:spMkLst>
              <pc:docMk/>
              <pc:sldMasterMk cId="3098370997" sldId="2147483743"/>
              <pc:sldLayoutMk cId="2542401854" sldId="2147483744"/>
              <ac:spMk id="13" creationId="{10301B40-E355-4D99-B296-A15FB5BC3A4C}"/>
            </ac:spMkLst>
          </pc:spChg>
        </pc:sldLayoutChg>
        <pc:sldLayoutChg chg="modSp mod">
          <pc:chgData name="Mette Thomassen" userId="7694b98c-ed6c-402b-934e-e6aacb9998e5" providerId="ADAL" clId="{7E9C30F7-90CD-4966-80F0-D061DBD819C0}" dt="2025-05-08T14:13:28.606" v="989" actId="20577"/>
          <pc:sldLayoutMkLst>
            <pc:docMk/>
            <pc:sldMasterMk cId="3098370997" sldId="2147483743"/>
            <pc:sldLayoutMk cId="2133752584" sldId="2147483746"/>
          </pc:sldLayoutMkLst>
          <pc:spChg chg="mod">
            <ac:chgData name="Mette Thomassen" userId="7694b98c-ed6c-402b-934e-e6aacb9998e5" providerId="ADAL" clId="{7E9C30F7-90CD-4966-80F0-D061DBD819C0}" dt="2025-05-08T14:13:28.606" v="989" actId="20577"/>
            <ac:spMkLst>
              <pc:docMk/>
              <pc:sldMasterMk cId="3098370997" sldId="2147483743"/>
              <pc:sldLayoutMk cId="2133752584" sldId="2147483746"/>
              <ac:spMk id="4" creationId="{610DD8E7-635C-4517-8E21-65C3CB025FFE}"/>
            </ac:spMkLst>
          </pc:spChg>
          <pc:spChg chg="mod">
            <ac:chgData name="Mette Thomassen" userId="7694b98c-ed6c-402b-934e-e6aacb9998e5" providerId="ADAL" clId="{7E9C30F7-90CD-4966-80F0-D061DBD819C0}" dt="2025-05-08T14:12:19.508" v="965" actId="20577"/>
            <ac:spMkLst>
              <pc:docMk/>
              <pc:sldMasterMk cId="3098370997" sldId="2147483743"/>
              <pc:sldLayoutMk cId="2133752584" sldId="2147483746"/>
              <ac:spMk id="12" creationId="{508E925B-663E-4A1A-8916-BC4FCFEA746C}"/>
            </ac:spMkLst>
          </pc:spChg>
        </pc:sldLayoutChg>
        <pc:sldLayoutChg chg="delSp modSp mod">
          <pc:chgData name="Mette Thomassen" userId="7694b98c-ed6c-402b-934e-e6aacb9998e5" providerId="ADAL" clId="{7E9C30F7-90CD-4966-80F0-D061DBD819C0}" dt="2025-05-08T14:13:46.422" v="991" actId="478"/>
          <pc:sldLayoutMkLst>
            <pc:docMk/>
            <pc:sldMasterMk cId="3098370997" sldId="2147483743"/>
            <pc:sldLayoutMk cId="2266735684" sldId="2147483749"/>
          </pc:sldLayoutMkLst>
          <pc:spChg chg="del mod">
            <ac:chgData name="Mette Thomassen" userId="7694b98c-ed6c-402b-934e-e6aacb9998e5" providerId="ADAL" clId="{7E9C30F7-90CD-4966-80F0-D061DBD819C0}" dt="2025-05-08T14:13:46.422" v="991" actId="478"/>
            <ac:spMkLst>
              <pc:docMk/>
              <pc:sldMasterMk cId="3098370997" sldId="2147483743"/>
              <pc:sldLayoutMk cId="2266735684" sldId="2147483749"/>
              <ac:spMk id="15" creationId="{964E632B-B9F2-4547-AC03-2C579124053E}"/>
            </ac:spMkLst>
          </pc:spChg>
        </pc:sldLayoutChg>
        <pc:sldLayoutChg chg="modSp mod">
          <pc:chgData name="Mette Thomassen" userId="7694b98c-ed6c-402b-934e-e6aacb9998e5" providerId="ADAL" clId="{7E9C30F7-90CD-4966-80F0-D061DBD819C0}" dt="2025-05-08T14:13:59.743" v="1001" actId="20577"/>
          <pc:sldLayoutMkLst>
            <pc:docMk/>
            <pc:sldMasterMk cId="3098370997" sldId="2147483743"/>
            <pc:sldLayoutMk cId="1428077221" sldId="2147483751"/>
          </pc:sldLayoutMkLst>
          <pc:spChg chg="mod">
            <ac:chgData name="Mette Thomassen" userId="7694b98c-ed6c-402b-934e-e6aacb9998e5" providerId="ADAL" clId="{7E9C30F7-90CD-4966-80F0-D061DBD819C0}" dt="2025-05-08T14:12:35.687" v="967" actId="20577"/>
            <ac:spMkLst>
              <pc:docMk/>
              <pc:sldMasterMk cId="3098370997" sldId="2147483743"/>
              <pc:sldLayoutMk cId="1428077221" sldId="2147483751"/>
              <ac:spMk id="15" creationId="{6189AE65-D68D-4102-AA1D-2A3BCB6F21BF}"/>
            </ac:spMkLst>
          </pc:spChg>
          <pc:spChg chg="mod">
            <ac:chgData name="Mette Thomassen" userId="7694b98c-ed6c-402b-934e-e6aacb9998e5" providerId="ADAL" clId="{7E9C30F7-90CD-4966-80F0-D061DBD819C0}" dt="2025-05-08T14:13:59.743" v="1001" actId="20577"/>
            <ac:spMkLst>
              <pc:docMk/>
              <pc:sldMasterMk cId="3098370997" sldId="2147483743"/>
              <pc:sldLayoutMk cId="1428077221" sldId="2147483751"/>
              <ac:spMk id="19" creationId="{610DD8E7-635C-4517-8E21-65C3CB025FFE}"/>
            </ac:spMkLst>
          </pc:spChg>
        </pc:sldLayoutChg>
        <pc:sldLayoutChg chg="modSp mod">
          <pc:chgData name="Mette Thomassen" userId="7694b98c-ed6c-402b-934e-e6aacb9998e5" providerId="ADAL" clId="{7E9C30F7-90CD-4966-80F0-D061DBD819C0}" dt="2025-05-08T14:12:46.893" v="969" actId="20577"/>
          <pc:sldLayoutMkLst>
            <pc:docMk/>
            <pc:sldMasterMk cId="3098370997" sldId="2147483743"/>
            <pc:sldLayoutMk cId="2274133823" sldId="2147483753"/>
          </pc:sldLayoutMkLst>
          <pc:spChg chg="mod">
            <ac:chgData name="Mette Thomassen" userId="7694b98c-ed6c-402b-934e-e6aacb9998e5" providerId="ADAL" clId="{7E9C30F7-90CD-4966-80F0-D061DBD819C0}" dt="2025-05-08T14:12:46.893" v="969" actId="20577"/>
            <ac:spMkLst>
              <pc:docMk/>
              <pc:sldMasterMk cId="3098370997" sldId="2147483743"/>
              <pc:sldLayoutMk cId="2274133823" sldId="2147483753"/>
              <ac:spMk id="19" creationId="{38150A77-BE4E-404D-B314-A1C41C791C1B}"/>
            </ac:spMkLst>
          </pc:spChg>
        </pc:sldLayoutChg>
        <pc:sldLayoutChg chg="ord">
          <pc:chgData name="Mette Thomassen" userId="7694b98c-ed6c-402b-934e-e6aacb9998e5" providerId="ADAL" clId="{7E9C30F7-90CD-4966-80F0-D061DBD819C0}" dt="2025-05-08T14:14:06.565" v="1003" actId="20578"/>
          <pc:sldLayoutMkLst>
            <pc:docMk/>
            <pc:sldMasterMk cId="3098370997" sldId="2147483743"/>
            <pc:sldLayoutMk cId="2170199266" sldId="2147483756"/>
          </pc:sldLayoutMkLst>
        </pc:sldLayoutChg>
      </pc:sldMasterChg>
      <pc:sldMasterChg chg="modSp mod delSldLayout modSldLayout">
        <pc:chgData name="Mette Thomassen" userId="7694b98c-ed6c-402b-934e-e6aacb9998e5" providerId="ADAL" clId="{7E9C30F7-90CD-4966-80F0-D061DBD819C0}" dt="2025-05-09T05:07:32.286" v="2636" actId="20577"/>
        <pc:sldMasterMkLst>
          <pc:docMk/>
          <pc:sldMasterMk cId="294303181" sldId="2147483763"/>
        </pc:sldMasterMkLst>
        <pc:spChg chg="mod">
          <ac:chgData name="Mette Thomassen" userId="7694b98c-ed6c-402b-934e-e6aacb9998e5" providerId="ADAL" clId="{7E9C30F7-90CD-4966-80F0-D061DBD819C0}" dt="2025-05-09T05:07:22.791" v="2634" actId="20577"/>
          <ac:spMkLst>
            <pc:docMk/>
            <pc:sldMasterMk cId="294303181" sldId="2147483763"/>
            <ac:spMk id="13" creationId="{125E96D5-3BB9-422E-861E-C7C7A150AD68}"/>
          </ac:spMkLst>
        </pc:spChg>
        <pc:spChg chg="mod">
          <ac:chgData name="Mette Thomassen" userId="7694b98c-ed6c-402b-934e-e6aacb9998e5" providerId="ADAL" clId="{7E9C30F7-90CD-4966-80F0-D061DBD819C0}" dt="2025-05-09T05:07:32.286" v="2636" actId="20577"/>
          <ac:spMkLst>
            <pc:docMk/>
            <pc:sldMasterMk cId="294303181" sldId="2147483763"/>
            <ac:spMk id="28" creationId="{8A346F21-C2D9-45A4-B26D-7DDC2CEB9FB7}"/>
          </ac:spMkLst>
        </pc:spChg>
        <pc:sldLayoutChg chg="modSp mod">
          <pc:chgData name="Mette Thomassen" userId="7694b98c-ed6c-402b-934e-e6aacb9998e5" providerId="ADAL" clId="{7E9C30F7-90CD-4966-80F0-D061DBD819C0}" dt="2025-05-08T14:17:34.574" v="1018" actId="20577"/>
          <pc:sldLayoutMkLst>
            <pc:docMk/>
            <pc:sldMasterMk cId="294303181" sldId="2147483763"/>
            <pc:sldLayoutMk cId="1322304405" sldId="2147483766"/>
          </pc:sldLayoutMkLst>
          <pc:spChg chg="mod">
            <ac:chgData name="Mette Thomassen" userId="7694b98c-ed6c-402b-934e-e6aacb9998e5" providerId="ADAL" clId="{7E9C30F7-90CD-4966-80F0-D061DBD819C0}" dt="2025-05-08T14:17:34.574" v="1018" actId="20577"/>
            <ac:spMkLst>
              <pc:docMk/>
              <pc:sldMasterMk cId="294303181" sldId="2147483763"/>
              <pc:sldLayoutMk cId="1322304405" sldId="2147483766"/>
              <ac:spMk id="12" creationId="{508E925B-663E-4A1A-8916-BC4FCFEA746C}"/>
            </ac:spMkLst>
          </pc:spChg>
          <pc:spChg chg="mod">
            <ac:chgData name="Mette Thomassen" userId="7694b98c-ed6c-402b-934e-e6aacb9998e5" providerId="ADAL" clId="{7E9C30F7-90CD-4966-80F0-D061DBD819C0}" dt="2025-05-08T14:17:26.725" v="1016" actId="20577"/>
            <ac:spMkLst>
              <pc:docMk/>
              <pc:sldMasterMk cId="294303181" sldId="2147483763"/>
              <pc:sldLayoutMk cId="1322304405" sldId="2147483766"/>
              <ac:spMk id="19" creationId="{610DD8E7-635C-4517-8E21-65C3CB025FFE}"/>
            </ac:spMkLst>
          </pc:spChg>
        </pc:sldLayoutChg>
        <pc:sldLayoutChg chg="delSp modSp mod">
          <pc:chgData name="Mette Thomassen" userId="7694b98c-ed6c-402b-934e-e6aacb9998e5" providerId="ADAL" clId="{7E9C30F7-90CD-4966-80F0-D061DBD819C0}" dt="2025-05-09T05:06:54.818" v="2611" actId="478"/>
          <pc:sldLayoutMkLst>
            <pc:docMk/>
            <pc:sldMasterMk cId="294303181" sldId="2147483763"/>
            <pc:sldLayoutMk cId="1386099745" sldId="2147483769"/>
          </pc:sldLayoutMkLst>
          <pc:spChg chg="del mod">
            <ac:chgData name="Mette Thomassen" userId="7694b98c-ed6c-402b-934e-e6aacb9998e5" providerId="ADAL" clId="{7E9C30F7-90CD-4966-80F0-D061DBD819C0}" dt="2025-05-09T05:06:54.818" v="2611" actId="478"/>
            <ac:spMkLst>
              <pc:docMk/>
              <pc:sldMasterMk cId="294303181" sldId="2147483763"/>
              <pc:sldLayoutMk cId="1386099745" sldId="2147483769"/>
              <ac:spMk id="15" creationId="{964E632B-B9F2-4547-AC03-2C579124053E}"/>
            </ac:spMkLst>
          </pc:spChg>
        </pc:sldLayoutChg>
        <pc:sldLayoutChg chg="del">
          <pc:chgData name="Mette Thomassen" userId="7694b98c-ed6c-402b-934e-e6aacb9998e5" providerId="ADAL" clId="{7E9C30F7-90CD-4966-80F0-D061DBD819C0}" dt="2025-05-08T21:25:07.491" v="1430" actId="47"/>
          <pc:sldLayoutMkLst>
            <pc:docMk/>
            <pc:sldMasterMk cId="294303181" sldId="2147483763"/>
            <pc:sldLayoutMk cId="4030374565" sldId="2147483778"/>
          </pc:sldLayoutMkLst>
        </pc:sldLayoutChg>
        <pc:sldLayoutChg chg="del">
          <pc:chgData name="Mette Thomassen" userId="7694b98c-ed6c-402b-934e-e6aacb9998e5" providerId="ADAL" clId="{7E9C30F7-90CD-4966-80F0-D061DBD819C0}" dt="2025-05-08T14:14:49.523" v="1004" actId="47"/>
          <pc:sldLayoutMkLst>
            <pc:docMk/>
            <pc:sldMasterMk cId="294303181" sldId="2147483763"/>
            <pc:sldLayoutMk cId="3375817869" sldId="2147483779"/>
          </pc:sldLayoutMkLst>
        </pc:sldLayoutChg>
        <pc:sldLayoutChg chg="del">
          <pc:chgData name="Mette Thomassen" userId="7694b98c-ed6c-402b-934e-e6aacb9998e5" providerId="ADAL" clId="{7E9C30F7-90CD-4966-80F0-D061DBD819C0}" dt="2025-05-08T22:23:44.194" v="2116" actId="2696"/>
          <pc:sldLayoutMkLst>
            <pc:docMk/>
            <pc:sldMasterMk cId="294303181" sldId="2147483763"/>
            <pc:sldLayoutMk cId="2927202776" sldId="2147483780"/>
          </pc:sldLayoutMkLst>
        </pc:sldLayoutChg>
        <pc:sldLayoutChg chg="del">
          <pc:chgData name="Mette Thomassen" userId="7694b98c-ed6c-402b-934e-e6aacb9998e5" providerId="ADAL" clId="{7E9C30F7-90CD-4966-80F0-D061DBD819C0}" dt="2025-05-08T14:15:36.006" v="1009" actId="2696"/>
          <pc:sldLayoutMkLst>
            <pc:docMk/>
            <pc:sldMasterMk cId="294303181" sldId="2147483763"/>
            <pc:sldLayoutMk cId="3849664745" sldId="2147483784"/>
          </pc:sldLayoutMkLst>
        </pc:sldLayoutChg>
        <pc:sldLayoutChg chg="del">
          <pc:chgData name="Mette Thomassen" userId="7694b98c-ed6c-402b-934e-e6aacb9998e5" providerId="ADAL" clId="{7E9C30F7-90CD-4966-80F0-D061DBD819C0}" dt="2025-05-09T04:53:20.842" v="2600" actId="47"/>
          <pc:sldLayoutMkLst>
            <pc:docMk/>
            <pc:sldMasterMk cId="294303181" sldId="2147483763"/>
            <pc:sldLayoutMk cId="993379633" sldId="2147483826"/>
          </pc:sldLayoutMkLst>
        </pc:sldLayoutChg>
      </pc:sldMasterChg>
      <pc:sldMasterChg chg="modSp mod delSldLayout modSldLayout">
        <pc:chgData name="Mette Thomassen" userId="7694b98c-ed6c-402b-934e-e6aacb9998e5" providerId="ADAL" clId="{7E9C30F7-90CD-4966-80F0-D061DBD819C0}" dt="2025-05-08T22:36:39.739" v="2499" actId="20577"/>
        <pc:sldMasterMkLst>
          <pc:docMk/>
          <pc:sldMasterMk cId="2284973112" sldId="2147483784"/>
        </pc:sldMasterMkLst>
        <pc:spChg chg="mod">
          <ac:chgData name="Mette Thomassen" userId="7694b98c-ed6c-402b-934e-e6aacb9998e5" providerId="ADAL" clId="{7E9C30F7-90CD-4966-80F0-D061DBD819C0}" dt="2025-05-08T22:35:34.434" v="2486" actId="20577"/>
          <ac:spMkLst>
            <pc:docMk/>
            <pc:sldMasterMk cId="2284973112" sldId="2147483784"/>
            <ac:spMk id="13" creationId="{125E96D5-3BB9-422E-861E-C7C7A150AD68}"/>
          </ac:spMkLst>
        </pc:spChg>
        <pc:spChg chg="mod">
          <ac:chgData name="Mette Thomassen" userId="7694b98c-ed6c-402b-934e-e6aacb9998e5" providerId="ADAL" clId="{7E9C30F7-90CD-4966-80F0-D061DBD819C0}" dt="2025-05-08T22:35:40.172" v="2488" actId="20577"/>
          <ac:spMkLst>
            <pc:docMk/>
            <pc:sldMasterMk cId="2284973112" sldId="2147483784"/>
            <ac:spMk id="28" creationId="{8A346F21-C2D9-45A4-B26D-7DDC2CEB9FB7}"/>
          </ac:spMkLst>
        </pc:spChg>
        <pc:sldLayoutChg chg="modSp mod">
          <pc:chgData name="Mette Thomassen" userId="7694b98c-ed6c-402b-934e-e6aacb9998e5" providerId="ADAL" clId="{7E9C30F7-90CD-4966-80F0-D061DBD819C0}" dt="2025-05-08T22:35:48.860" v="2491" actId="20577"/>
          <pc:sldLayoutMkLst>
            <pc:docMk/>
            <pc:sldMasterMk cId="2284973112" sldId="2147483784"/>
            <pc:sldLayoutMk cId="3662372759" sldId="2147483785"/>
          </pc:sldLayoutMkLst>
          <pc:spChg chg="mod">
            <ac:chgData name="Mette Thomassen" userId="7694b98c-ed6c-402b-934e-e6aacb9998e5" providerId="ADAL" clId="{7E9C30F7-90CD-4966-80F0-D061DBD819C0}" dt="2025-05-08T22:35:48.860" v="2491" actId="20577"/>
            <ac:spMkLst>
              <pc:docMk/>
              <pc:sldMasterMk cId="2284973112" sldId="2147483784"/>
              <pc:sldLayoutMk cId="3662372759" sldId="2147483785"/>
              <ac:spMk id="19" creationId="{610DD8E7-635C-4517-8E21-65C3CB025FFE}"/>
            </ac:spMkLst>
          </pc:spChg>
        </pc:sldLayoutChg>
        <pc:sldLayoutChg chg="modSp mod">
          <pc:chgData name="Mette Thomassen" userId="7694b98c-ed6c-402b-934e-e6aacb9998e5" providerId="ADAL" clId="{7E9C30F7-90CD-4966-80F0-D061DBD819C0}" dt="2025-05-08T22:36:03.948" v="2496" actId="20577"/>
          <pc:sldLayoutMkLst>
            <pc:docMk/>
            <pc:sldMasterMk cId="2284973112" sldId="2147483784"/>
            <pc:sldLayoutMk cId="4043211900" sldId="2147483787"/>
          </pc:sldLayoutMkLst>
          <pc:spChg chg="mod">
            <ac:chgData name="Mette Thomassen" userId="7694b98c-ed6c-402b-934e-e6aacb9998e5" providerId="ADAL" clId="{7E9C30F7-90CD-4966-80F0-D061DBD819C0}" dt="2025-05-08T22:36:03.948" v="2496" actId="20577"/>
            <ac:spMkLst>
              <pc:docMk/>
              <pc:sldMasterMk cId="2284973112" sldId="2147483784"/>
              <pc:sldLayoutMk cId="4043211900" sldId="2147483787"/>
              <ac:spMk id="12" creationId="{508E925B-663E-4A1A-8916-BC4FCFEA746C}"/>
            </ac:spMkLst>
          </pc:spChg>
          <pc:spChg chg="mod">
            <ac:chgData name="Mette Thomassen" userId="7694b98c-ed6c-402b-934e-e6aacb9998e5" providerId="ADAL" clId="{7E9C30F7-90CD-4966-80F0-D061DBD819C0}" dt="2025-05-08T22:35:59.429" v="2494" actId="20577"/>
            <ac:spMkLst>
              <pc:docMk/>
              <pc:sldMasterMk cId="2284973112" sldId="2147483784"/>
              <pc:sldLayoutMk cId="4043211900" sldId="2147483787"/>
              <ac:spMk id="19" creationId="{610DD8E7-635C-4517-8E21-65C3CB025FFE}"/>
            </ac:spMkLst>
          </pc:spChg>
        </pc:sldLayoutChg>
        <pc:sldLayoutChg chg="delSp modSp mod">
          <pc:chgData name="Mette Thomassen" userId="7694b98c-ed6c-402b-934e-e6aacb9998e5" providerId="ADAL" clId="{7E9C30F7-90CD-4966-80F0-D061DBD819C0}" dt="2025-05-08T22:35:12.705" v="2483" actId="478"/>
          <pc:sldLayoutMkLst>
            <pc:docMk/>
            <pc:sldMasterMk cId="2284973112" sldId="2147483784"/>
            <pc:sldLayoutMk cId="3549134493" sldId="2147483790"/>
          </pc:sldLayoutMkLst>
          <pc:spChg chg="del mod">
            <ac:chgData name="Mette Thomassen" userId="7694b98c-ed6c-402b-934e-e6aacb9998e5" providerId="ADAL" clId="{7E9C30F7-90CD-4966-80F0-D061DBD819C0}" dt="2025-05-08T22:35:12.705" v="2483" actId="478"/>
            <ac:spMkLst>
              <pc:docMk/>
              <pc:sldMasterMk cId="2284973112" sldId="2147483784"/>
              <pc:sldLayoutMk cId="3549134493" sldId="2147483790"/>
              <ac:spMk id="15" creationId="{964E632B-B9F2-4547-AC03-2C579124053E}"/>
            </ac:spMkLst>
          </pc:spChg>
        </pc:sldLayoutChg>
        <pc:sldLayoutChg chg="modSp mod">
          <pc:chgData name="Mette Thomassen" userId="7694b98c-ed6c-402b-934e-e6aacb9998e5" providerId="ADAL" clId="{7E9C30F7-90CD-4966-80F0-D061DBD819C0}" dt="2025-05-08T22:36:39.739" v="2499" actId="20577"/>
          <pc:sldLayoutMkLst>
            <pc:docMk/>
            <pc:sldMasterMk cId="2284973112" sldId="2147483784"/>
            <pc:sldLayoutMk cId="1752424042" sldId="2147483795"/>
          </pc:sldLayoutMkLst>
          <pc:spChg chg="mod">
            <ac:chgData name="Mette Thomassen" userId="7694b98c-ed6c-402b-934e-e6aacb9998e5" providerId="ADAL" clId="{7E9C30F7-90CD-4966-80F0-D061DBD819C0}" dt="2025-05-08T22:36:39.739" v="2499" actId="20577"/>
            <ac:spMkLst>
              <pc:docMk/>
              <pc:sldMasterMk cId="2284973112" sldId="2147483784"/>
              <pc:sldLayoutMk cId="1752424042" sldId="2147483795"/>
              <ac:spMk id="14" creationId="{DF6D8BC8-E65A-425F-8A88-41B507F8A632}"/>
            </ac:spMkLst>
          </pc:spChg>
        </pc:sldLayoutChg>
        <pc:sldLayoutChg chg="del">
          <pc:chgData name="Mette Thomassen" userId="7694b98c-ed6c-402b-934e-e6aacb9998e5" providerId="ADAL" clId="{7E9C30F7-90CD-4966-80F0-D061DBD819C0}" dt="2025-05-08T22:34:08.511" v="2476" actId="47"/>
          <pc:sldLayoutMkLst>
            <pc:docMk/>
            <pc:sldMasterMk cId="2284973112" sldId="2147483784"/>
            <pc:sldLayoutMk cId="1209008293" sldId="2147483800"/>
          </pc:sldLayoutMkLst>
        </pc:sldLayoutChg>
        <pc:sldLayoutChg chg="del">
          <pc:chgData name="Mette Thomassen" userId="7694b98c-ed6c-402b-934e-e6aacb9998e5" providerId="ADAL" clId="{7E9C30F7-90CD-4966-80F0-D061DBD819C0}" dt="2025-05-08T20:47:03.943" v="1235" actId="2696"/>
          <pc:sldLayoutMkLst>
            <pc:docMk/>
            <pc:sldMasterMk cId="2284973112" sldId="2147483784"/>
            <pc:sldLayoutMk cId="2117422199" sldId="2147483804"/>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syddanskuni.sharepoint.com/sites/NytSISprogrammet/Delte%20dokumenter/SDU%20program/Business%20case/Aktuel%20BC%20-%20m&#229;%20opdateres/SDU%20samlet%20beregning/Samlet%20data.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da-DK"/>
        </a:p>
      </c:txPr>
    </c:title>
    <c:autoTitleDeleted val="0"/>
    <c:plotArea>
      <c:layout/>
      <c:barChart>
        <c:barDir val="col"/>
        <c:grouping val="stacked"/>
        <c:varyColors val="0"/>
        <c:ser>
          <c:idx val="0"/>
          <c:order val="0"/>
          <c:tx>
            <c:strRef>
              <c:f>'Teknisk overblik'!$A$34</c:f>
              <c:strCache>
                <c:ptCount val="1"/>
                <c:pt idx="0">
                  <c:v>SDU Digital - Compliance</c:v>
                </c:pt>
              </c:strCache>
            </c:strRef>
          </c:tx>
          <c:spPr>
            <a:solidFill>
              <a:schemeClr val="accent1"/>
            </a:solidFill>
            <a:ln>
              <a:noFill/>
            </a:ln>
            <a:effectLst/>
          </c:spPr>
          <c:invertIfNegative val="0"/>
          <c:cat>
            <c:multiLvlStrRef>
              <c:f>'Teknisk overblik'!$B$32:$S$33</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24</c:v>
                  </c:pt>
                  <c:pt idx="4">
                    <c:v>2025</c:v>
                  </c:pt>
                  <c:pt idx="8">
                    <c:v>2026</c:v>
                  </c:pt>
                  <c:pt idx="12">
                    <c:v>2027</c:v>
                  </c:pt>
                  <c:pt idx="16">
                    <c:v>2028</c:v>
                  </c:pt>
                </c:lvl>
              </c:multiLvlStrCache>
            </c:multiLvlStrRef>
          </c:cat>
          <c:val>
            <c:numRef>
              <c:f>'Teknisk overblik'!$B$34:$S$34</c:f>
              <c:numCache>
                <c:formatCode>General</c:formatCode>
                <c:ptCount val="18"/>
                <c:pt idx="2" formatCode="#,##0.0">
                  <c:v>0.02</c:v>
                </c:pt>
                <c:pt idx="3" formatCode="#,##0.0">
                  <c:v>0.02</c:v>
                </c:pt>
                <c:pt idx="4" formatCode="#,##0.0">
                  <c:v>0.01</c:v>
                </c:pt>
                <c:pt idx="5" formatCode="#,##0.0">
                  <c:v>0.01</c:v>
                </c:pt>
                <c:pt idx="6" formatCode="#,##0.0">
                  <c:v>0.01</c:v>
                </c:pt>
                <c:pt idx="7" formatCode="#,##0.0">
                  <c:v>0.03</c:v>
                </c:pt>
                <c:pt idx="8" formatCode="#,##0.0">
                  <c:v>0.22</c:v>
                </c:pt>
                <c:pt idx="9" formatCode="#,##0.0">
                  <c:v>0.22</c:v>
                </c:pt>
                <c:pt idx="10" formatCode="#,##0.0">
                  <c:v>0.22</c:v>
                </c:pt>
                <c:pt idx="11" formatCode="#,##0.0">
                  <c:v>0.22</c:v>
                </c:pt>
                <c:pt idx="12" formatCode="#,##0.0">
                  <c:v>0.35</c:v>
                </c:pt>
                <c:pt idx="13" formatCode="#,##0.0">
                  <c:v>0.35</c:v>
                </c:pt>
                <c:pt idx="14" formatCode="#,##0.0">
                  <c:v>0.27</c:v>
                </c:pt>
                <c:pt idx="15" formatCode="#,##0.0">
                  <c:v>0.26</c:v>
                </c:pt>
                <c:pt idx="16" formatCode="#,##0.0">
                  <c:v>0.26</c:v>
                </c:pt>
                <c:pt idx="17" formatCode="#,##0.0">
                  <c:v>0</c:v>
                </c:pt>
              </c:numCache>
            </c:numRef>
          </c:val>
          <c:extLst>
            <c:ext xmlns:c16="http://schemas.microsoft.com/office/drawing/2014/chart" uri="{C3380CC4-5D6E-409C-BE32-E72D297353CC}">
              <c16:uniqueId val="{00000000-F357-4229-96D2-126F2E54717B}"/>
            </c:ext>
          </c:extLst>
        </c:ser>
        <c:ser>
          <c:idx val="1"/>
          <c:order val="1"/>
          <c:tx>
            <c:strRef>
              <c:f>'Teknisk overblik'!$A$35</c:f>
              <c:strCache>
                <c:ptCount val="1"/>
                <c:pt idx="0">
                  <c:v>SDU Digital - Design</c:v>
                </c:pt>
              </c:strCache>
            </c:strRef>
          </c:tx>
          <c:spPr>
            <a:solidFill>
              <a:schemeClr val="accent2"/>
            </a:solidFill>
            <a:ln>
              <a:noFill/>
            </a:ln>
            <a:effectLst/>
          </c:spPr>
          <c:invertIfNegative val="0"/>
          <c:cat>
            <c:multiLvlStrRef>
              <c:f>'Teknisk overblik'!$B$32:$S$33</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24</c:v>
                  </c:pt>
                  <c:pt idx="4">
                    <c:v>2025</c:v>
                  </c:pt>
                  <c:pt idx="8">
                    <c:v>2026</c:v>
                  </c:pt>
                  <c:pt idx="12">
                    <c:v>2027</c:v>
                  </c:pt>
                  <c:pt idx="16">
                    <c:v>2028</c:v>
                  </c:pt>
                </c:lvl>
              </c:multiLvlStrCache>
            </c:multiLvlStrRef>
          </c:cat>
          <c:val>
            <c:numRef>
              <c:f>'Teknisk overblik'!$B$35:$S$35</c:f>
              <c:numCache>
                <c:formatCode>#,##0.0</c:formatCode>
                <c:ptCount val="18"/>
                <c:pt idx="0">
                  <c:v>1.2500000000000002</c:v>
                </c:pt>
                <c:pt idx="1">
                  <c:v>1.85</c:v>
                </c:pt>
                <c:pt idx="2">
                  <c:v>4.1500000000000004</c:v>
                </c:pt>
                <c:pt idx="3">
                  <c:v>6.3500000000000005</c:v>
                </c:pt>
                <c:pt idx="4">
                  <c:v>10.7</c:v>
                </c:pt>
                <c:pt idx="5">
                  <c:v>10.7</c:v>
                </c:pt>
                <c:pt idx="6">
                  <c:v>11.1</c:v>
                </c:pt>
                <c:pt idx="7">
                  <c:v>11.3</c:v>
                </c:pt>
                <c:pt idx="8">
                  <c:v>18.7</c:v>
                </c:pt>
                <c:pt idx="9">
                  <c:v>18.600000000000001</c:v>
                </c:pt>
                <c:pt idx="10">
                  <c:v>18.55</c:v>
                </c:pt>
                <c:pt idx="11">
                  <c:v>18.3</c:v>
                </c:pt>
                <c:pt idx="12">
                  <c:v>7.5</c:v>
                </c:pt>
                <c:pt idx="13">
                  <c:v>7.5</c:v>
                </c:pt>
                <c:pt idx="14">
                  <c:v>7.5</c:v>
                </c:pt>
                <c:pt idx="15">
                  <c:v>7.5</c:v>
                </c:pt>
                <c:pt idx="16">
                  <c:v>7.65</c:v>
                </c:pt>
                <c:pt idx="17">
                  <c:v>1.7000000000000002</c:v>
                </c:pt>
              </c:numCache>
            </c:numRef>
          </c:val>
          <c:extLst>
            <c:ext xmlns:c16="http://schemas.microsoft.com/office/drawing/2014/chart" uri="{C3380CC4-5D6E-409C-BE32-E72D297353CC}">
              <c16:uniqueId val="{00000001-F357-4229-96D2-126F2E54717B}"/>
            </c:ext>
          </c:extLst>
        </c:ser>
        <c:ser>
          <c:idx val="2"/>
          <c:order val="2"/>
          <c:tx>
            <c:strRef>
              <c:f>'Teknisk overblik'!$A$36</c:f>
              <c:strCache>
                <c:ptCount val="1"/>
                <c:pt idx="0">
                  <c:v>SDU Digital - Transformation</c:v>
                </c:pt>
              </c:strCache>
            </c:strRef>
          </c:tx>
          <c:spPr>
            <a:solidFill>
              <a:schemeClr val="accent3"/>
            </a:solidFill>
            <a:ln>
              <a:noFill/>
            </a:ln>
            <a:effectLst/>
          </c:spPr>
          <c:invertIfNegative val="0"/>
          <c:cat>
            <c:multiLvlStrRef>
              <c:f>'Teknisk overblik'!$B$32:$S$33</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24</c:v>
                  </c:pt>
                  <c:pt idx="4">
                    <c:v>2025</c:v>
                  </c:pt>
                  <c:pt idx="8">
                    <c:v>2026</c:v>
                  </c:pt>
                  <c:pt idx="12">
                    <c:v>2027</c:v>
                  </c:pt>
                  <c:pt idx="16">
                    <c:v>2028</c:v>
                  </c:pt>
                </c:lvl>
              </c:multiLvlStrCache>
            </c:multiLvlStrRef>
          </c:cat>
          <c:val>
            <c:numRef>
              <c:f>'Teknisk overblik'!$B$36:$S$36</c:f>
              <c:numCache>
                <c:formatCode>#,##0.0</c:formatCode>
                <c:ptCount val="18"/>
                <c:pt idx="0">
                  <c:v>1.7000000000000002</c:v>
                </c:pt>
                <c:pt idx="1">
                  <c:v>1.7000000000000002</c:v>
                </c:pt>
                <c:pt idx="2">
                  <c:v>1.7000000000000002</c:v>
                </c:pt>
                <c:pt idx="3">
                  <c:v>1.7000000000000002</c:v>
                </c:pt>
                <c:pt idx="4">
                  <c:v>2.7</c:v>
                </c:pt>
                <c:pt idx="5">
                  <c:v>3.1000000000000005</c:v>
                </c:pt>
                <c:pt idx="6">
                  <c:v>3.1000000000000005</c:v>
                </c:pt>
                <c:pt idx="7">
                  <c:v>3.1000000000000005</c:v>
                </c:pt>
                <c:pt idx="8">
                  <c:v>4.0999999999999996</c:v>
                </c:pt>
                <c:pt idx="9">
                  <c:v>4.0999999999999996</c:v>
                </c:pt>
                <c:pt idx="10">
                  <c:v>4.3999999999999995</c:v>
                </c:pt>
                <c:pt idx="11">
                  <c:v>4.3999999999999995</c:v>
                </c:pt>
                <c:pt idx="12">
                  <c:v>4.3</c:v>
                </c:pt>
                <c:pt idx="13">
                  <c:v>4.3</c:v>
                </c:pt>
                <c:pt idx="14">
                  <c:v>4.3</c:v>
                </c:pt>
                <c:pt idx="15">
                  <c:v>4.3</c:v>
                </c:pt>
                <c:pt idx="16">
                  <c:v>4.5999999999999996</c:v>
                </c:pt>
                <c:pt idx="17">
                  <c:v>3.5999999999999996</c:v>
                </c:pt>
              </c:numCache>
            </c:numRef>
          </c:val>
          <c:extLst>
            <c:ext xmlns:c16="http://schemas.microsoft.com/office/drawing/2014/chart" uri="{C3380CC4-5D6E-409C-BE32-E72D297353CC}">
              <c16:uniqueId val="{00000002-F357-4229-96D2-126F2E54717B}"/>
            </c:ext>
          </c:extLst>
        </c:ser>
        <c:ser>
          <c:idx val="3"/>
          <c:order val="3"/>
          <c:tx>
            <c:strRef>
              <c:f>'Teknisk overblik'!$A$37</c:f>
              <c:strCache>
                <c:ptCount val="1"/>
                <c:pt idx="0">
                  <c:v>SDU IT</c:v>
                </c:pt>
              </c:strCache>
            </c:strRef>
          </c:tx>
          <c:spPr>
            <a:solidFill>
              <a:schemeClr val="accent4"/>
            </a:solidFill>
            <a:ln>
              <a:noFill/>
            </a:ln>
            <a:effectLst/>
          </c:spPr>
          <c:invertIfNegative val="0"/>
          <c:cat>
            <c:multiLvlStrRef>
              <c:f>'Teknisk overblik'!$B$32:$S$33</c:f>
              <c:multiLvlStrCache>
                <c:ptCount val="18"/>
                <c:lvl>
                  <c:pt idx="0">
                    <c:v>Q1</c:v>
                  </c:pt>
                  <c:pt idx="1">
                    <c:v>Q2</c:v>
                  </c:pt>
                  <c:pt idx="2">
                    <c:v>Q3</c:v>
                  </c:pt>
                  <c:pt idx="3">
                    <c:v>Q4</c:v>
                  </c:pt>
                  <c:pt idx="4">
                    <c:v>Q1</c:v>
                  </c:pt>
                  <c:pt idx="5">
                    <c:v>Q2</c:v>
                  </c:pt>
                  <c:pt idx="6">
                    <c:v>Q3</c:v>
                  </c:pt>
                  <c:pt idx="7">
                    <c:v>Q4</c:v>
                  </c:pt>
                  <c:pt idx="8">
                    <c:v>Q1</c:v>
                  </c:pt>
                  <c:pt idx="9">
                    <c:v>Q2</c:v>
                  </c:pt>
                  <c:pt idx="10">
                    <c:v>Q3</c:v>
                  </c:pt>
                  <c:pt idx="11">
                    <c:v>Q4</c:v>
                  </c:pt>
                  <c:pt idx="12">
                    <c:v>Q1</c:v>
                  </c:pt>
                  <c:pt idx="13">
                    <c:v>Q2</c:v>
                  </c:pt>
                  <c:pt idx="14">
                    <c:v>Q3</c:v>
                  </c:pt>
                  <c:pt idx="15">
                    <c:v>Q4</c:v>
                  </c:pt>
                  <c:pt idx="16">
                    <c:v>Q1</c:v>
                  </c:pt>
                  <c:pt idx="17">
                    <c:v>Q2</c:v>
                  </c:pt>
                </c:lvl>
                <c:lvl>
                  <c:pt idx="0">
                    <c:v>2024</c:v>
                  </c:pt>
                  <c:pt idx="4">
                    <c:v>2025</c:v>
                  </c:pt>
                  <c:pt idx="8">
                    <c:v>2026</c:v>
                  </c:pt>
                  <c:pt idx="12">
                    <c:v>2027</c:v>
                  </c:pt>
                  <c:pt idx="16">
                    <c:v>2028</c:v>
                  </c:pt>
                </c:lvl>
              </c:multiLvlStrCache>
            </c:multiLvlStrRef>
          </c:cat>
          <c:val>
            <c:numRef>
              <c:f>'Teknisk overblik'!$B$37:$S$37</c:f>
              <c:numCache>
                <c:formatCode>#,##0.0</c:formatCode>
                <c:ptCount val="18"/>
                <c:pt idx="0">
                  <c:v>2.4500000000000002</c:v>
                </c:pt>
                <c:pt idx="1">
                  <c:v>0.99</c:v>
                </c:pt>
                <c:pt idx="2">
                  <c:v>0.99</c:v>
                </c:pt>
                <c:pt idx="3">
                  <c:v>0.94</c:v>
                </c:pt>
                <c:pt idx="4">
                  <c:v>2.29</c:v>
                </c:pt>
                <c:pt idx="5">
                  <c:v>2.29</c:v>
                </c:pt>
                <c:pt idx="6">
                  <c:v>2.4900000000000002</c:v>
                </c:pt>
                <c:pt idx="7">
                  <c:v>4.1900000000000004</c:v>
                </c:pt>
                <c:pt idx="8">
                  <c:v>2.8999999999999995</c:v>
                </c:pt>
                <c:pt idx="9">
                  <c:v>2.7499999999999996</c:v>
                </c:pt>
                <c:pt idx="10">
                  <c:v>2.7499999999999996</c:v>
                </c:pt>
                <c:pt idx="11">
                  <c:v>2.8499999999999992</c:v>
                </c:pt>
                <c:pt idx="12">
                  <c:v>4.05</c:v>
                </c:pt>
                <c:pt idx="13">
                  <c:v>3.95</c:v>
                </c:pt>
                <c:pt idx="14">
                  <c:v>3.95</c:v>
                </c:pt>
                <c:pt idx="15">
                  <c:v>4.6500000000000004</c:v>
                </c:pt>
                <c:pt idx="16">
                  <c:v>5.7</c:v>
                </c:pt>
                <c:pt idx="17">
                  <c:v>1.6</c:v>
                </c:pt>
              </c:numCache>
            </c:numRef>
          </c:val>
          <c:extLst>
            <c:ext xmlns:c16="http://schemas.microsoft.com/office/drawing/2014/chart" uri="{C3380CC4-5D6E-409C-BE32-E72D297353CC}">
              <c16:uniqueId val="{00000003-F357-4229-96D2-126F2E54717B}"/>
            </c:ext>
          </c:extLst>
        </c:ser>
        <c:dLbls>
          <c:showLegendKey val="0"/>
          <c:showVal val="0"/>
          <c:showCatName val="0"/>
          <c:showSerName val="0"/>
          <c:showPercent val="0"/>
          <c:showBubbleSize val="0"/>
        </c:dLbls>
        <c:gapWidth val="150"/>
        <c:overlap val="100"/>
        <c:axId val="119557735"/>
        <c:axId val="119558815"/>
      </c:barChart>
      <c:catAx>
        <c:axId val="1195577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crossAx val="119558815"/>
        <c:crosses val="autoZero"/>
        <c:auto val="1"/>
        <c:lblAlgn val="ctr"/>
        <c:lblOffset val="100"/>
        <c:noMultiLvlLbl val="0"/>
      </c:catAx>
      <c:valAx>
        <c:axId val="119558815"/>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crossAx val="11955773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da-DK"/>
        </a:p>
      </c:txPr>
    </c:legend>
    <c:plotVisOnly val="1"/>
    <c:dispBlanksAs val="gap"/>
    <c:showDLblsOverMax val="0"/>
  </c:chart>
  <c:spPr>
    <a:noFill/>
    <a:ln>
      <a:noFill/>
    </a:ln>
    <a:effectLst/>
  </c:spPr>
  <c:txPr>
    <a:bodyPr/>
    <a:lstStyle/>
    <a:p>
      <a:pPr>
        <a:defRPr/>
      </a:pPr>
      <a:endParaRPr lang="da-DK"/>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image" Target="../media/image13.png"/></Relationships>
</file>

<file path=ppt/diagrams/_rels/drawing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image" Target="../media/image13.pn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F79968C-6635-490B-9BFF-201D8621115F}" type="doc">
      <dgm:prSet loTypeId="urn:microsoft.com/office/officeart/2005/8/layout/pList2" loCatId="list" qsTypeId="urn:microsoft.com/office/officeart/2005/8/quickstyle/simple1" qsCatId="simple" csTypeId="urn:microsoft.com/office/officeart/2005/8/colors/accent2_2" csCatId="accent2" phldr="1"/>
      <dgm:spPr/>
    </dgm:pt>
    <dgm:pt modelId="{28115BEE-19EA-4A75-8A5C-A078C81CA376}">
      <dgm:prSet phldrT="[Text]" custT="1"/>
      <dgm:spPr/>
      <dgm:t>
        <a:bodyPr/>
        <a:lstStyle/>
        <a:p>
          <a:pPr algn="l"/>
          <a:r>
            <a:rPr lang="da-DK" sz="2400" b="1" dirty="0"/>
            <a:t>Fælles program</a:t>
          </a:r>
        </a:p>
        <a:p>
          <a:pPr algn="l"/>
          <a:r>
            <a:rPr lang="da-DK" sz="2000" dirty="0"/>
            <a:t>- Udbud</a:t>
          </a:r>
        </a:p>
        <a:p>
          <a:pPr algn="l"/>
          <a:r>
            <a:rPr lang="da-DK" sz="2000" dirty="0"/>
            <a:t>- Leverandørstyring</a:t>
          </a:r>
        </a:p>
        <a:p>
          <a:pPr algn="l"/>
          <a:r>
            <a:rPr lang="da-DK" sz="2000" dirty="0"/>
            <a:t>- Fælles løsning / processer</a:t>
          </a:r>
        </a:p>
        <a:p>
          <a:pPr algn="l"/>
          <a:r>
            <a:rPr lang="da-DK" sz="2000" dirty="0"/>
            <a:t>- Fælles integrationer</a:t>
          </a:r>
        </a:p>
        <a:p>
          <a:pPr algn="l"/>
          <a:r>
            <a:rPr lang="da-DK" sz="2000" dirty="0"/>
            <a:t>- Fælles implementeringsmodel</a:t>
          </a:r>
        </a:p>
        <a:p>
          <a:pPr algn="l"/>
          <a:r>
            <a:rPr lang="da-DK" sz="2000" dirty="0"/>
            <a:t>- Fælles begreber og informationsmodel</a:t>
          </a:r>
        </a:p>
        <a:p>
          <a:pPr algn="l" rtl="0"/>
          <a:endParaRPr lang="da-DK" sz="2000" dirty="0"/>
        </a:p>
      </dgm:t>
    </dgm:pt>
    <dgm:pt modelId="{220E3CA0-C7A6-495D-AE04-AEF1E853D009}" type="parTrans" cxnId="{58D7517F-ECE7-49FF-9FDD-41E09FE82FBF}">
      <dgm:prSet/>
      <dgm:spPr/>
      <dgm:t>
        <a:bodyPr/>
        <a:lstStyle/>
        <a:p>
          <a:endParaRPr lang="da-DK"/>
        </a:p>
      </dgm:t>
    </dgm:pt>
    <dgm:pt modelId="{BE64CBC1-8C56-401B-8405-5612FACD173C}" type="sibTrans" cxnId="{58D7517F-ECE7-49FF-9FDD-41E09FE82FBF}">
      <dgm:prSet/>
      <dgm:spPr/>
      <dgm:t>
        <a:bodyPr/>
        <a:lstStyle/>
        <a:p>
          <a:endParaRPr lang="da-DK"/>
        </a:p>
      </dgm:t>
    </dgm:pt>
    <dgm:pt modelId="{4204C583-B2C6-4CA9-A930-F22B6BB84A58}">
      <dgm:prSet phldrT="[Text]" custT="1"/>
      <dgm:spPr/>
      <dgm:t>
        <a:bodyPr/>
        <a:lstStyle/>
        <a:p>
          <a:pPr algn="l"/>
          <a:r>
            <a:rPr lang="da-DK" sz="2400" b="1" dirty="0"/>
            <a:t>SDU program</a:t>
          </a:r>
        </a:p>
        <a:p>
          <a:pPr algn="l"/>
          <a:r>
            <a:rPr lang="da-DK" sz="2000" dirty="0"/>
            <a:t>- SDU tilpasninger</a:t>
          </a:r>
        </a:p>
        <a:p>
          <a:pPr algn="l"/>
          <a:r>
            <a:rPr lang="da-DK" sz="2000" dirty="0"/>
            <a:t>- SDU processer og arbejdsgange</a:t>
          </a:r>
        </a:p>
        <a:p>
          <a:pPr algn="l"/>
          <a:r>
            <a:rPr lang="da-DK" sz="2000" dirty="0"/>
            <a:t>- SDU integrationer / systemer </a:t>
          </a:r>
        </a:p>
        <a:p>
          <a:pPr algn="l"/>
          <a:r>
            <a:rPr lang="da-DK" sz="2000" dirty="0"/>
            <a:t>- Implementering af begreber</a:t>
          </a:r>
        </a:p>
        <a:p>
          <a:pPr algn="l"/>
          <a:r>
            <a:rPr lang="da-DK" sz="2000" dirty="0"/>
            <a:t>- Implementering af nye processer</a:t>
          </a:r>
        </a:p>
        <a:p>
          <a:pPr algn="l" rtl="0"/>
          <a:r>
            <a:rPr lang="da-DK" sz="2000" dirty="0"/>
            <a:t>- Kapabilitetsopbygning</a:t>
          </a:r>
          <a:r>
            <a:rPr lang="da-DK" sz="2000" dirty="0">
              <a:latin typeface="Arial"/>
            </a:rPr>
            <a:t> </a:t>
          </a:r>
          <a:endParaRPr lang="da-DK" sz="2000" dirty="0"/>
        </a:p>
      </dgm:t>
    </dgm:pt>
    <dgm:pt modelId="{FF778B65-CCA3-41E1-AB40-85483A4DB056}" type="parTrans" cxnId="{D0CA0173-4D1B-4EA6-8CA5-DCC4493F5F72}">
      <dgm:prSet/>
      <dgm:spPr/>
      <dgm:t>
        <a:bodyPr/>
        <a:lstStyle/>
        <a:p>
          <a:endParaRPr lang="da-DK"/>
        </a:p>
      </dgm:t>
    </dgm:pt>
    <dgm:pt modelId="{7B721AF7-FBA0-41A4-B9F5-5BF59FB62334}" type="sibTrans" cxnId="{D0CA0173-4D1B-4EA6-8CA5-DCC4493F5F72}">
      <dgm:prSet/>
      <dgm:spPr/>
      <dgm:t>
        <a:bodyPr/>
        <a:lstStyle/>
        <a:p>
          <a:endParaRPr lang="da-DK"/>
        </a:p>
      </dgm:t>
    </dgm:pt>
    <dgm:pt modelId="{0E0D90A7-55DF-47B1-8B31-B331C19AF9F7}" type="pres">
      <dgm:prSet presAssocID="{CF79968C-6635-490B-9BFF-201D8621115F}" presName="Name0" presStyleCnt="0">
        <dgm:presLayoutVars>
          <dgm:dir/>
          <dgm:resizeHandles val="exact"/>
        </dgm:presLayoutVars>
      </dgm:prSet>
      <dgm:spPr/>
    </dgm:pt>
    <dgm:pt modelId="{F5C583F0-48A6-4016-B67A-0339249062E8}" type="pres">
      <dgm:prSet presAssocID="{CF79968C-6635-490B-9BFF-201D8621115F}" presName="bkgdShp" presStyleLbl="alignAccFollowNode1" presStyleIdx="0" presStyleCnt="1"/>
      <dgm:spPr/>
    </dgm:pt>
    <dgm:pt modelId="{8FC44054-5034-4C58-B0C7-8F503F766639}" type="pres">
      <dgm:prSet presAssocID="{CF79968C-6635-490B-9BFF-201D8621115F}" presName="linComp" presStyleCnt="0"/>
      <dgm:spPr/>
    </dgm:pt>
    <dgm:pt modelId="{FEA23E6E-F4A9-4588-BB66-E13972E57EAB}" type="pres">
      <dgm:prSet presAssocID="{28115BEE-19EA-4A75-8A5C-A078C81CA376}" presName="compNode" presStyleCnt="0"/>
      <dgm:spPr/>
    </dgm:pt>
    <dgm:pt modelId="{93F85365-6864-4F76-9DE1-D3599FE03CE5}" type="pres">
      <dgm:prSet presAssocID="{28115BEE-19EA-4A75-8A5C-A078C81CA376}" presName="node" presStyleLbl="node1" presStyleIdx="0" presStyleCnt="2">
        <dgm:presLayoutVars>
          <dgm:bulletEnabled val="1"/>
        </dgm:presLayoutVars>
      </dgm:prSet>
      <dgm:spPr/>
    </dgm:pt>
    <dgm:pt modelId="{69FA19D6-DF7D-4CCD-A7B2-004876EFC474}" type="pres">
      <dgm:prSet presAssocID="{28115BEE-19EA-4A75-8A5C-A078C81CA376}" presName="invisiNode" presStyleLbl="node1" presStyleIdx="0" presStyleCnt="2"/>
      <dgm:spPr/>
    </dgm:pt>
    <dgm:pt modelId="{22D5EC77-32FF-4202-8084-7EC594AFCC45}" type="pres">
      <dgm:prSet presAssocID="{28115BEE-19EA-4A75-8A5C-A078C81CA376}" presName="imagNode" presStyleLbl="fgImgPlace1" presStyleIdx="0" presStyleCnt="2"/>
      <dgm:spPr>
        <a:blipFill rotWithShape="1">
          <a:blip xmlns:r="http://schemas.openxmlformats.org/officeDocument/2006/relationships" r:embed="rId1"/>
          <a:srcRect/>
          <a:stretch>
            <a:fillRect t="-9000" b="-9000"/>
          </a:stretch>
        </a:blipFill>
      </dgm:spPr>
    </dgm:pt>
    <dgm:pt modelId="{2DDD704F-18BE-4463-B239-ADD5A1D8B4A4}" type="pres">
      <dgm:prSet presAssocID="{BE64CBC1-8C56-401B-8405-5612FACD173C}" presName="sibTrans" presStyleLbl="sibTrans2D1" presStyleIdx="0" presStyleCnt="0"/>
      <dgm:spPr/>
    </dgm:pt>
    <dgm:pt modelId="{D1CA0B23-D1A4-4CA3-89B0-E16B08812BD6}" type="pres">
      <dgm:prSet presAssocID="{4204C583-B2C6-4CA9-A930-F22B6BB84A58}" presName="compNode" presStyleCnt="0"/>
      <dgm:spPr/>
    </dgm:pt>
    <dgm:pt modelId="{60F54409-F4DD-4347-84F8-524E1DF48D93}" type="pres">
      <dgm:prSet presAssocID="{4204C583-B2C6-4CA9-A930-F22B6BB84A58}" presName="node" presStyleLbl="node1" presStyleIdx="1" presStyleCnt="2">
        <dgm:presLayoutVars>
          <dgm:bulletEnabled val="1"/>
        </dgm:presLayoutVars>
      </dgm:prSet>
      <dgm:spPr/>
    </dgm:pt>
    <dgm:pt modelId="{9B18CE09-1B7E-4232-9077-74604D4B3092}" type="pres">
      <dgm:prSet presAssocID="{4204C583-B2C6-4CA9-A930-F22B6BB84A58}" presName="invisiNode" presStyleLbl="node1" presStyleIdx="1" presStyleCnt="2"/>
      <dgm:spPr/>
    </dgm:pt>
    <dgm:pt modelId="{72602E7D-2D74-4B58-A85D-7692BA47A013}" type="pres">
      <dgm:prSet presAssocID="{4204C583-B2C6-4CA9-A930-F22B6BB84A58}" presName="imagNode" presStyleLbl="fgImgPlace1" presStyleIdx="1" presStyleCnt="2"/>
      <dgm:spPr>
        <a:blipFill rotWithShape="1">
          <a:blip xmlns:r="http://schemas.openxmlformats.org/officeDocument/2006/relationships" r:embed="rId2"/>
          <a:srcRect/>
          <a:stretch>
            <a:fillRect/>
          </a:stretch>
        </a:blipFill>
      </dgm:spPr>
    </dgm:pt>
  </dgm:ptLst>
  <dgm:cxnLst>
    <dgm:cxn modelId="{99F34934-1BF0-4431-A30D-D63FE0B0404B}" type="presOf" srcId="{28115BEE-19EA-4A75-8A5C-A078C81CA376}" destId="{93F85365-6864-4F76-9DE1-D3599FE03CE5}" srcOrd="0" destOrd="0" presId="urn:microsoft.com/office/officeart/2005/8/layout/pList2"/>
    <dgm:cxn modelId="{D0CA0173-4D1B-4EA6-8CA5-DCC4493F5F72}" srcId="{CF79968C-6635-490B-9BFF-201D8621115F}" destId="{4204C583-B2C6-4CA9-A930-F22B6BB84A58}" srcOrd="1" destOrd="0" parTransId="{FF778B65-CCA3-41E1-AB40-85483A4DB056}" sibTransId="{7B721AF7-FBA0-41A4-B9F5-5BF59FB62334}"/>
    <dgm:cxn modelId="{906F1D57-78EE-4D9F-BA1B-1DF641EC5B56}" type="presOf" srcId="{4204C583-B2C6-4CA9-A930-F22B6BB84A58}" destId="{60F54409-F4DD-4347-84F8-524E1DF48D93}" srcOrd="0" destOrd="0" presId="urn:microsoft.com/office/officeart/2005/8/layout/pList2"/>
    <dgm:cxn modelId="{00416A5A-33EE-45B6-94F2-07ED42098601}" type="presOf" srcId="{BE64CBC1-8C56-401B-8405-5612FACD173C}" destId="{2DDD704F-18BE-4463-B239-ADD5A1D8B4A4}" srcOrd="0" destOrd="0" presId="urn:microsoft.com/office/officeart/2005/8/layout/pList2"/>
    <dgm:cxn modelId="{58D7517F-ECE7-49FF-9FDD-41E09FE82FBF}" srcId="{CF79968C-6635-490B-9BFF-201D8621115F}" destId="{28115BEE-19EA-4A75-8A5C-A078C81CA376}" srcOrd="0" destOrd="0" parTransId="{220E3CA0-C7A6-495D-AE04-AEF1E853D009}" sibTransId="{BE64CBC1-8C56-401B-8405-5612FACD173C}"/>
    <dgm:cxn modelId="{E68C47FC-F5A9-44D2-9DB0-34AEB33F1C2C}" type="presOf" srcId="{CF79968C-6635-490B-9BFF-201D8621115F}" destId="{0E0D90A7-55DF-47B1-8B31-B331C19AF9F7}" srcOrd="0" destOrd="0" presId="urn:microsoft.com/office/officeart/2005/8/layout/pList2"/>
    <dgm:cxn modelId="{75A93830-BF28-4CDC-A407-4FCA41B8314A}" type="presParOf" srcId="{0E0D90A7-55DF-47B1-8B31-B331C19AF9F7}" destId="{F5C583F0-48A6-4016-B67A-0339249062E8}" srcOrd="0" destOrd="0" presId="urn:microsoft.com/office/officeart/2005/8/layout/pList2"/>
    <dgm:cxn modelId="{197EFCDF-BADE-4593-9DB0-96885134FB87}" type="presParOf" srcId="{0E0D90A7-55DF-47B1-8B31-B331C19AF9F7}" destId="{8FC44054-5034-4C58-B0C7-8F503F766639}" srcOrd="1" destOrd="0" presId="urn:microsoft.com/office/officeart/2005/8/layout/pList2"/>
    <dgm:cxn modelId="{A36B29A1-2F7A-4AAC-AFCD-208590242ED8}" type="presParOf" srcId="{8FC44054-5034-4C58-B0C7-8F503F766639}" destId="{FEA23E6E-F4A9-4588-BB66-E13972E57EAB}" srcOrd="0" destOrd="0" presId="urn:microsoft.com/office/officeart/2005/8/layout/pList2"/>
    <dgm:cxn modelId="{5D4DC489-D81D-459E-829E-7C476E557E47}" type="presParOf" srcId="{FEA23E6E-F4A9-4588-BB66-E13972E57EAB}" destId="{93F85365-6864-4F76-9DE1-D3599FE03CE5}" srcOrd="0" destOrd="0" presId="urn:microsoft.com/office/officeart/2005/8/layout/pList2"/>
    <dgm:cxn modelId="{192147AD-92D3-4592-90B4-93B37AE4F75D}" type="presParOf" srcId="{FEA23E6E-F4A9-4588-BB66-E13972E57EAB}" destId="{69FA19D6-DF7D-4CCD-A7B2-004876EFC474}" srcOrd="1" destOrd="0" presId="urn:microsoft.com/office/officeart/2005/8/layout/pList2"/>
    <dgm:cxn modelId="{5E8E57CE-1659-40E1-836B-D6D026BCE52E}" type="presParOf" srcId="{FEA23E6E-F4A9-4588-BB66-E13972E57EAB}" destId="{22D5EC77-32FF-4202-8084-7EC594AFCC45}" srcOrd="2" destOrd="0" presId="urn:microsoft.com/office/officeart/2005/8/layout/pList2"/>
    <dgm:cxn modelId="{A53A805C-C71C-4510-8723-773F4A0D8D6E}" type="presParOf" srcId="{8FC44054-5034-4C58-B0C7-8F503F766639}" destId="{2DDD704F-18BE-4463-B239-ADD5A1D8B4A4}" srcOrd="1" destOrd="0" presId="urn:microsoft.com/office/officeart/2005/8/layout/pList2"/>
    <dgm:cxn modelId="{0B72CB63-6F46-46CF-B473-B133F7972B11}" type="presParOf" srcId="{8FC44054-5034-4C58-B0C7-8F503F766639}" destId="{D1CA0B23-D1A4-4CA3-89B0-E16B08812BD6}" srcOrd="2" destOrd="0" presId="urn:microsoft.com/office/officeart/2005/8/layout/pList2"/>
    <dgm:cxn modelId="{B24D9B26-BEBF-4B48-999B-8F7815BDD54C}" type="presParOf" srcId="{D1CA0B23-D1A4-4CA3-89B0-E16B08812BD6}" destId="{60F54409-F4DD-4347-84F8-524E1DF48D93}" srcOrd="0" destOrd="0" presId="urn:microsoft.com/office/officeart/2005/8/layout/pList2"/>
    <dgm:cxn modelId="{C892285E-40D7-4E2D-8606-FA8F6F547A47}" type="presParOf" srcId="{D1CA0B23-D1A4-4CA3-89B0-E16B08812BD6}" destId="{9B18CE09-1B7E-4232-9077-74604D4B3092}" srcOrd="1" destOrd="0" presId="urn:microsoft.com/office/officeart/2005/8/layout/pList2"/>
    <dgm:cxn modelId="{20D917E1-F2B6-4E4F-B364-0FB0EC3C8634}" type="presParOf" srcId="{D1CA0B23-D1A4-4CA3-89B0-E16B08812BD6}" destId="{72602E7D-2D74-4B58-A85D-7692BA47A013}" srcOrd="2" destOrd="0" presId="urn:microsoft.com/office/officeart/2005/8/layout/p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F750736-6871-4531-ABAC-C3FFDC798170}"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da-DK"/>
        </a:p>
      </dgm:t>
    </dgm:pt>
    <dgm:pt modelId="{87550EE6-132D-4008-AE41-0F41E12F3979}">
      <dgm:prSet phldrT="[Tekst]" custT="1"/>
      <dgm:spPr>
        <a:solidFill>
          <a:srgbClr val="7DE8F3"/>
        </a:solidFill>
      </dgm:spPr>
      <dgm:t>
        <a:bodyPr/>
        <a:lstStyle/>
        <a:p>
          <a:r>
            <a:rPr lang="da-DK" sz="1400">
              <a:solidFill>
                <a:schemeClr val="tx1"/>
              </a:solidFill>
            </a:rPr>
            <a:t>Designfase &amp; Pilot</a:t>
          </a:r>
        </a:p>
      </dgm:t>
    </dgm:pt>
    <dgm:pt modelId="{5FCF961F-86B6-4B86-A5EF-C6562BD4BB32}" type="parTrans" cxnId="{C5F4DD13-8BD9-40BF-988D-849A1EBE2491}">
      <dgm:prSet/>
      <dgm:spPr/>
      <dgm:t>
        <a:bodyPr/>
        <a:lstStyle/>
        <a:p>
          <a:endParaRPr lang="da-DK"/>
        </a:p>
      </dgm:t>
    </dgm:pt>
    <dgm:pt modelId="{76358167-ADED-4773-A666-D41101479656}" type="sibTrans" cxnId="{C5F4DD13-8BD9-40BF-988D-849A1EBE2491}">
      <dgm:prSet custT="1"/>
      <dgm:spPr>
        <a:solidFill>
          <a:schemeClr val="accent2">
            <a:lumMod val="40000"/>
            <a:lumOff val="60000"/>
          </a:schemeClr>
        </a:solidFill>
      </dgm:spPr>
      <dgm:t>
        <a:bodyPr/>
        <a:lstStyle/>
        <a:p>
          <a:r>
            <a:rPr lang="da-DK" sz="900" b="0">
              <a:solidFill>
                <a:schemeClr val="tx1"/>
              </a:solidFill>
            </a:rPr>
            <a:t>1. </a:t>
          </a:r>
          <a:r>
            <a:rPr lang="da-DK" sz="900" b="0" err="1">
              <a:solidFill>
                <a:schemeClr val="tx1"/>
              </a:solidFill>
            </a:rPr>
            <a:t>dec</a:t>
          </a:r>
          <a:r>
            <a:rPr lang="da-DK" sz="900" b="0">
              <a:solidFill>
                <a:schemeClr val="tx1"/>
              </a:solidFill>
            </a:rPr>
            <a:t> 2025</a:t>
          </a:r>
        </a:p>
      </dgm:t>
    </dgm:pt>
    <dgm:pt modelId="{A91A9510-D4D8-4F6A-AD5C-7E8A890149B0}">
      <dgm:prSet phldrT="[Tekst]" custT="1"/>
      <dgm:spPr>
        <a:solidFill>
          <a:schemeClr val="accent2">
            <a:lumMod val="40000"/>
            <a:lumOff val="60000"/>
          </a:schemeClr>
        </a:solidFill>
      </dgm:spPr>
      <dgm:t>
        <a:bodyPr/>
        <a:lstStyle/>
        <a:p>
          <a:r>
            <a:rPr lang="da-DK" sz="1400">
              <a:solidFill>
                <a:schemeClr val="tx1"/>
              </a:solidFill>
            </a:rPr>
            <a:t>Mellemfase</a:t>
          </a:r>
        </a:p>
      </dgm:t>
    </dgm:pt>
    <dgm:pt modelId="{6E6072CD-0444-4AEB-8B98-8B78FB14DF2E}" type="parTrans" cxnId="{04AC51C0-07A6-4A99-ABD5-1C798ED644BA}">
      <dgm:prSet/>
      <dgm:spPr/>
      <dgm:t>
        <a:bodyPr/>
        <a:lstStyle/>
        <a:p>
          <a:endParaRPr lang="da-DK"/>
        </a:p>
      </dgm:t>
    </dgm:pt>
    <dgm:pt modelId="{F1BBCD0A-595A-4691-8F5C-4270743477A9}" type="sibTrans" cxnId="{04AC51C0-07A6-4A99-ABD5-1C798ED644BA}">
      <dgm:prSet custT="1"/>
      <dgm:spPr>
        <a:solidFill>
          <a:schemeClr val="accent2">
            <a:lumMod val="60000"/>
            <a:lumOff val="40000"/>
          </a:schemeClr>
        </a:solidFill>
      </dgm:spPr>
      <dgm:t>
        <a:bodyPr/>
        <a:lstStyle/>
        <a:p>
          <a:r>
            <a:rPr lang="da-DK" sz="900">
              <a:solidFill>
                <a:schemeClr val="tx1"/>
              </a:solidFill>
            </a:rPr>
            <a:t>14. </a:t>
          </a:r>
          <a:r>
            <a:rPr lang="da-DK" sz="900" err="1">
              <a:solidFill>
                <a:schemeClr val="tx1"/>
              </a:solidFill>
            </a:rPr>
            <a:t>dec</a:t>
          </a:r>
          <a:r>
            <a:rPr lang="da-DK" sz="900">
              <a:solidFill>
                <a:schemeClr val="tx1"/>
              </a:solidFill>
            </a:rPr>
            <a:t> 2026</a:t>
          </a:r>
        </a:p>
      </dgm:t>
    </dgm:pt>
    <dgm:pt modelId="{59E11AE7-5AC3-48DA-86C2-D9731DBCEF0B}">
      <dgm:prSet phldrT="[Tekst]" custT="1"/>
      <dgm:spPr>
        <a:solidFill>
          <a:srgbClr val="75A353"/>
        </a:solidFill>
      </dgm:spPr>
      <dgm:t>
        <a:bodyPr/>
        <a:lstStyle/>
        <a:p>
          <a:r>
            <a:rPr lang="da-DK" sz="1400">
              <a:solidFill>
                <a:schemeClr val="tx1"/>
              </a:solidFill>
            </a:rPr>
            <a:t>Implementering</a:t>
          </a:r>
        </a:p>
      </dgm:t>
    </dgm:pt>
    <dgm:pt modelId="{04C5C75E-B85B-45D6-8C2F-4EDB1E8E8251}" type="parTrans" cxnId="{D9B68F7C-2600-4C3A-BF29-610FBCAF6513}">
      <dgm:prSet/>
      <dgm:spPr/>
      <dgm:t>
        <a:bodyPr/>
        <a:lstStyle/>
        <a:p>
          <a:endParaRPr lang="da-DK"/>
        </a:p>
      </dgm:t>
    </dgm:pt>
    <dgm:pt modelId="{1E2038A9-F61D-46A2-8A41-FD851D863D80}" type="sibTrans" cxnId="{D9B68F7C-2600-4C3A-BF29-610FBCAF6513}">
      <dgm:prSet custT="1"/>
      <dgm:spPr>
        <a:solidFill>
          <a:srgbClr val="CA6520"/>
        </a:solidFill>
      </dgm:spPr>
      <dgm:t>
        <a:bodyPr/>
        <a:lstStyle/>
        <a:p>
          <a:r>
            <a:rPr lang="da-DK" sz="900">
              <a:solidFill>
                <a:schemeClr val="tx1"/>
              </a:solidFill>
            </a:rPr>
            <a:t>31. Mar 2028</a:t>
          </a:r>
        </a:p>
      </dgm:t>
    </dgm:pt>
    <dgm:pt modelId="{74A177A3-45D7-4EFD-A03A-1C2DC808AA82}">
      <dgm:prSet custT="1"/>
      <dgm:spPr>
        <a:solidFill>
          <a:srgbClr val="CA6520"/>
        </a:solidFill>
      </dgm:spPr>
      <dgm:t>
        <a:bodyPr/>
        <a:lstStyle/>
        <a:p>
          <a:r>
            <a:rPr lang="da-DK" sz="1200">
              <a:solidFill>
                <a:schemeClr val="tx1"/>
              </a:solidFill>
            </a:rPr>
            <a:t>Konsolidering af fuld overdragelse til drift</a:t>
          </a:r>
        </a:p>
      </dgm:t>
    </dgm:pt>
    <dgm:pt modelId="{42AAD373-08D2-427C-803B-B7BEDD6CA0D6}" type="parTrans" cxnId="{26B2419D-A4C2-4498-8D32-547263AF257D}">
      <dgm:prSet/>
      <dgm:spPr/>
      <dgm:t>
        <a:bodyPr/>
        <a:lstStyle/>
        <a:p>
          <a:endParaRPr lang="da-DK"/>
        </a:p>
      </dgm:t>
    </dgm:pt>
    <dgm:pt modelId="{2797F426-BF80-4E8A-BE91-65A42D177D7E}" type="sibTrans" cxnId="{26B2419D-A4C2-4498-8D32-547263AF257D}">
      <dgm:prSet/>
      <dgm:spPr/>
      <dgm:t>
        <a:bodyPr/>
        <a:lstStyle/>
        <a:p>
          <a:endParaRPr lang="da-DK"/>
        </a:p>
      </dgm:t>
    </dgm:pt>
    <dgm:pt modelId="{DF38AD24-677E-4E2A-826E-61D6929AD1F1}">
      <dgm:prSet/>
      <dgm:spPr>
        <a:solidFill>
          <a:schemeClr val="accent2">
            <a:lumMod val="60000"/>
            <a:lumOff val="40000"/>
          </a:schemeClr>
        </a:solidFill>
      </dgm:spPr>
      <dgm:t>
        <a:bodyPr/>
        <a:lstStyle/>
        <a:p>
          <a:r>
            <a:rPr lang="da-DK">
              <a:solidFill>
                <a:schemeClr val="tx1"/>
              </a:solidFill>
            </a:rPr>
            <a:t>Forberedelsesfase</a:t>
          </a:r>
          <a:endParaRPr lang="da-DK"/>
        </a:p>
      </dgm:t>
    </dgm:pt>
    <dgm:pt modelId="{B0C49220-DEC3-489B-AD97-9F86222D6BAE}" type="parTrans" cxnId="{BF3CF93E-B637-4AA7-96D7-485A2D653A08}">
      <dgm:prSet/>
      <dgm:spPr/>
      <dgm:t>
        <a:bodyPr/>
        <a:lstStyle/>
        <a:p>
          <a:endParaRPr lang="da-DK"/>
        </a:p>
      </dgm:t>
    </dgm:pt>
    <dgm:pt modelId="{2FB4974A-6F44-4B4A-822B-7F715FC8985C}" type="sibTrans" cxnId="{BF3CF93E-B637-4AA7-96D7-485A2D653A08}">
      <dgm:prSet/>
      <dgm:spPr>
        <a:solidFill>
          <a:srgbClr val="75A353"/>
        </a:solidFill>
      </dgm:spPr>
      <dgm:t>
        <a:bodyPr/>
        <a:lstStyle/>
        <a:p>
          <a:r>
            <a:rPr lang="da-DK">
              <a:solidFill>
                <a:schemeClr val="tx1"/>
              </a:solidFill>
            </a:rPr>
            <a:t>1. april</a:t>
          </a:r>
          <a:br>
            <a:rPr lang="da-DK">
              <a:solidFill>
                <a:schemeClr val="tx1"/>
              </a:solidFill>
            </a:rPr>
          </a:br>
          <a:r>
            <a:rPr lang="da-DK">
              <a:solidFill>
                <a:schemeClr val="tx1"/>
              </a:solidFill>
            </a:rPr>
            <a:t>2027</a:t>
          </a:r>
        </a:p>
      </dgm:t>
    </dgm:pt>
    <dgm:pt modelId="{8935CD82-A567-4AC4-971A-1E84CA5F2E4E}" type="pres">
      <dgm:prSet presAssocID="{6F750736-6871-4531-ABAC-C3FFDC798170}" presName="Name0" presStyleCnt="0">
        <dgm:presLayoutVars>
          <dgm:dir/>
          <dgm:resizeHandles val="exact"/>
        </dgm:presLayoutVars>
      </dgm:prSet>
      <dgm:spPr/>
    </dgm:pt>
    <dgm:pt modelId="{CA0009CB-989B-4CBD-BF6B-CAFDD5091B6B}" type="pres">
      <dgm:prSet presAssocID="{87550EE6-132D-4008-AE41-0F41E12F3979}" presName="node" presStyleLbl="node1" presStyleIdx="0" presStyleCnt="5">
        <dgm:presLayoutVars>
          <dgm:bulletEnabled val="1"/>
        </dgm:presLayoutVars>
      </dgm:prSet>
      <dgm:spPr/>
    </dgm:pt>
    <dgm:pt modelId="{536F5129-7152-4321-934F-324E63FAA831}" type="pres">
      <dgm:prSet presAssocID="{76358167-ADED-4773-A666-D41101479656}" presName="sibTrans" presStyleLbl="sibTrans2D1" presStyleIdx="0" presStyleCnt="4" custScaleX="169184" custScaleY="115637"/>
      <dgm:spPr/>
    </dgm:pt>
    <dgm:pt modelId="{54567428-6248-4A76-AED7-4E3446F57363}" type="pres">
      <dgm:prSet presAssocID="{76358167-ADED-4773-A666-D41101479656}" presName="connectorText" presStyleLbl="sibTrans2D1" presStyleIdx="0" presStyleCnt="4"/>
      <dgm:spPr/>
    </dgm:pt>
    <dgm:pt modelId="{D10CDD97-59F6-4946-A966-89092288ABCB}" type="pres">
      <dgm:prSet presAssocID="{A91A9510-D4D8-4F6A-AD5C-7E8A890149B0}" presName="node" presStyleLbl="node1" presStyleIdx="1" presStyleCnt="5">
        <dgm:presLayoutVars>
          <dgm:bulletEnabled val="1"/>
        </dgm:presLayoutVars>
      </dgm:prSet>
      <dgm:spPr/>
    </dgm:pt>
    <dgm:pt modelId="{9678534A-E93A-4D76-8CFA-D718FDC9C484}" type="pres">
      <dgm:prSet presAssocID="{F1BBCD0A-595A-4691-8F5C-4270743477A9}" presName="sibTrans" presStyleLbl="sibTrans2D1" presStyleIdx="1" presStyleCnt="4" custScaleX="177095" custScaleY="115618"/>
      <dgm:spPr/>
    </dgm:pt>
    <dgm:pt modelId="{BF8FBB34-6257-4BCD-A542-8F0A76A288F8}" type="pres">
      <dgm:prSet presAssocID="{F1BBCD0A-595A-4691-8F5C-4270743477A9}" presName="connectorText" presStyleLbl="sibTrans2D1" presStyleIdx="1" presStyleCnt="4"/>
      <dgm:spPr/>
    </dgm:pt>
    <dgm:pt modelId="{B4C99192-5B32-425D-9A01-CAF76CA0FF88}" type="pres">
      <dgm:prSet presAssocID="{DF38AD24-677E-4E2A-826E-61D6929AD1F1}" presName="node" presStyleLbl="node1" presStyleIdx="2" presStyleCnt="5">
        <dgm:presLayoutVars>
          <dgm:bulletEnabled val="1"/>
        </dgm:presLayoutVars>
      </dgm:prSet>
      <dgm:spPr/>
    </dgm:pt>
    <dgm:pt modelId="{464A31D3-8B96-4BFF-92F2-73778D16E67B}" type="pres">
      <dgm:prSet presAssocID="{2FB4974A-6F44-4B4A-822B-7F715FC8985C}" presName="sibTrans" presStyleLbl="sibTrans2D1" presStyleIdx="2" presStyleCnt="4" custScaleX="169362" custScaleY="116020"/>
      <dgm:spPr/>
    </dgm:pt>
    <dgm:pt modelId="{E1374CB8-8AD4-43D6-81A8-E4CDB1D59CA8}" type="pres">
      <dgm:prSet presAssocID="{2FB4974A-6F44-4B4A-822B-7F715FC8985C}" presName="connectorText" presStyleLbl="sibTrans2D1" presStyleIdx="2" presStyleCnt="4"/>
      <dgm:spPr/>
    </dgm:pt>
    <dgm:pt modelId="{7FD8F07D-0E56-47D1-B513-B93D0619C3DE}" type="pres">
      <dgm:prSet presAssocID="{59E11AE7-5AC3-48DA-86C2-D9731DBCEF0B}" presName="node" presStyleLbl="node1" presStyleIdx="3" presStyleCnt="5">
        <dgm:presLayoutVars>
          <dgm:bulletEnabled val="1"/>
        </dgm:presLayoutVars>
      </dgm:prSet>
      <dgm:spPr/>
    </dgm:pt>
    <dgm:pt modelId="{8D42C585-3CB7-4069-972A-F53FF19AE2B8}" type="pres">
      <dgm:prSet presAssocID="{1E2038A9-F61D-46A2-8A41-FD851D863D80}" presName="sibTrans" presStyleLbl="sibTrans2D1" presStyleIdx="3" presStyleCnt="4" custScaleX="174048" custScaleY="116391"/>
      <dgm:spPr/>
    </dgm:pt>
    <dgm:pt modelId="{68BBFB1F-A1F3-4043-9EB0-50215F9A4781}" type="pres">
      <dgm:prSet presAssocID="{1E2038A9-F61D-46A2-8A41-FD851D863D80}" presName="connectorText" presStyleLbl="sibTrans2D1" presStyleIdx="3" presStyleCnt="4"/>
      <dgm:spPr/>
    </dgm:pt>
    <dgm:pt modelId="{2A3B0FCC-2973-4171-A9C9-817D500E0ADB}" type="pres">
      <dgm:prSet presAssocID="{74A177A3-45D7-4EFD-A03A-1C2DC808AA82}" presName="node" presStyleLbl="node1" presStyleIdx="4" presStyleCnt="5">
        <dgm:presLayoutVars>
          <dgm:bulletEnabled val="1"/>
        </dgm:presLayoutVars>
      </dgm:prSet>
      <dgm:spPr/>
    </dgm:pt>
  </dgm:ptLst>
  <dgm:cxnLst>
    <dgm:cxn modelId="{7855B204-4483-47B7-8B37-1B8DDA989968}" type="presOf" srcId="{59E11AE7-5AC3-48DA-86C2-D9731DBCEF0B}" destId="{7FD8F07D-0E56-47D1-B513-B93D0619C3DE}" srcOrd="0" destOrd="0" presId="urn:microsoft.com/office/officeart/2005/8/layout/process1"/>
    <dgm:cxn modelId="{85B4330D-62E3-4135-9014-E73065C85933}" type="presOf" srcId="{1E2038A9-F61D-46A2-8A41-FD851D863D80}" destId="{8D42C585-3CB7-4069-972A-F53FF19AE2B8}" srcOrd="0" destOrd="0" presId="urn:microsoft.com/office/officeart/2005/8/layout/process1"/>
    <dgm:cxn modelId="{C5F4DD13-8BD9-40BF-988D-849A1EBE2491}" srcId="{6F750736-6871-4531-ABAC-C3FFDC798170}" destId="{87550EE6-132D-4008-AE41-0F41E12F3979}" srcOrd="0" destOrd="0" parTransId="{5FCF961F-86B6-4B86-A5EF-C6562BD4BB32}" sibTransId="{76358167-ADED-4773-A666-D41101479656}"/>
    <dgm:cxn modelId="{8415AC3C-2C23-4F2F-99F4-562104EFFA7F}" type="presOf" srcId="{F1BBCD0A-595A-4691-8F5C-4270743477A9}" destId="{9678534A-E93A-4D76-8CFA-D718FDC9C484}" srcOrd="0" destOrd="0" presId="urn:microsoft.com/office/officeart/2005/8/layout/process1"/>
    <dgm:cxn modelId="{BF3CF93E-B637-4AA7-96D7-485A2D653A08}" srcId="{6F750736-6871-4531-ABAC-C3FFDC798170}" destId="{DF38AD24-677E-4E2A-826E-61D6929AD1F1}" srcOrd="2" destOrd="0" parTransId="{B0C49220-DEC3-489B-AD97-9F86222D6BAE}" sibTransId="{2FB4974A-6F44-4B4A-822B-7F715FC8985C}"/>
    <dgm:cxn modelId="{ED6CC242-26B8-4F20-8258-4B54CC9B4FBC}" type="presOf" srcId="{76358167-ADED-4773-A666-D41101479656}" destId="{54567428-6248-4A76-AED7-4E3446F57363}" srcOrd="1" destOrd="0" presId="urn:microsoft.com/office/officeart/2005/8/layout/process1"/>
    <dgm:cxn modelId="{470E4446-F934-4A1A-B996-7516C6B3AC33}" type="presOf" srcId="{76358167-ADED-4773-A666-D41101479656}" destId="{536F5129-7152-4321-934F-324E63FAA831}" srcOrd="0" destOrd="0" presId="urn:microsoft.com/office/officeart/2005/8/layout/process1"/>
    <dgm:cxn modelId="{7C918972-77E2-48FE-8554-70A99A3CC7D6}" type="presOf" srcId="{F1BBCD0A-595A-4691-8F5C-4270743477A9}" destId="{BF8FBB34-6257-4BCD-A542-8F0A76A288F8}" srcOrd="1" destOrd="0" presId="urn:microsoft.com/office/officeart/2005/8/layout/process1"/>
    <dgm:cxn modelId="{3B01F974-AF0F-410E-89C8-FBB87D1B4EF8}" type="presOf" srcId="{6F750736-6871-4531-ABAC-C3FFDC798170}" destId="{8935CD82-A567-4AC4-971A-1E84CA5F2E4E}" srcOrd="0" destOrd="0" presId="urn:microsoft.com/office/officeart/2005/8/layout/process1"/>
    <dgm:cxn modelId="{4780727A-B8B1-4E8E-9688-46BC924E4A33}" type="presOf" srcId="{DF38AD24-677E-4E2A-826E-61D6929AD1F1}" destId="{B4C99192-5B32-425D-9A01-CAF76CA0FF88}" srcOrd="0" destOrd="0" presId="urn:microsoft.com/office/officeart/2005/8/layout/process1"/>
    <dgm:cxn modelId="{D9B68F7C-2600-4C3A-BF29-610FBCAF6513}" srcId="{6F750736-6871-4531-ABAC-C3FFDC798170}" destId="{59E11AE7-5AC3-48DA-86C2-D9731DBCEF0B}" srcOrd="3" destOrd="0" parTransId="{04C5C75E-B85B-45D6-8C2F-4EDB1E8E8251}" sibTransId="{1E2038A9-F61D-46A2-8A41-FD851D863D80}"/>
    <dgm:cxn modelId="{13DF6E84-A21B-4B39-9963-DF9DEAB94F0A}" type="presOf" srcId="{74A177A3-45D7-4EFD-A03A-1C2DC808AA82}" destId="{2A3B0FCC-2973-4171-A9C9-817D500E0ADB}" srcOrd="0" destOrd="0" presId="urn:microsoft.com/office/officeart/2005/8/layout/process1"/>
    <dgm:cxn modelId="{26B2419D-A4C2-4498-8D32-547263AF257D}" srcId="{6F750736-6871-4531-ABAC-C3FFDC798170}" destId="{74A177A3-45D7-4EFD-A03A-1C2DC808AA82}" srcOrd="4" destOrd="0" parTransId="{42AAD373-08D2-427C-803B-B7BEDD6CA0D6}" sibTransId="{2797F426-BF80-4E8A-BE91-65A42D177D7E}"/>
    <dgm:cxn modelId="{C1CA67AF-0591-4BFD-AB9B-5C0D2A7AFCFE}" type="presOf" srcId="{2FB4974A-6F44-4B4A-822B-7F715FC8985C}" destId="{E1374CB8-8AD4-43D6-81A8-E4CDB1D59CA8}" srcOrd="1" destOrd="0" presId="urn:microsoft.com/office/officeart/2005/8/layout/process1"/>
    <dgm:cxn modelId="{04AC51C0-07A6-4A99-ABD5-1C798ED644BA}" srcId="{6F750736-6871-4531-ABAC-C3FFDC798170}" destId="{A91A9510-D4D8-4F6A-AD5C-7E8A890149B0}" srcOrd="1" destOrd="0" parTransId="{6E6072CD-0444-4AEB-8B98-8B78FB14DF2E}" sibTransId="{F1BBCD0A-595A-4691-8F5C-4270743477A9}"/>
    <dgm:cxn modelId="{3B7E36C2-9720-4B81-9E27-87B9273E3D4E}" type="presOf" srcId="{2FB4974A-6F44-4B4A-822B-7F715FC8985C}" destId="{464A31D3-8B96-4BFF-92F2-73778D16E67B}" srcOrd="0" destOrd="0" presId="urn:microsoft.com/office/officeart/2005/8/layout/process1"/>
    <dgm:cxn modelId="{62CC6CC3-1009-4E6D-B5E4-1B2539D167C6}" type="presOf" srcId="{87550EE6-132D-4008-AE41-0F41E12F3979}" destId="{CA0009CB-989B-4CBD-BF6B-CAFDD5091B6B}" srcOrd="0" destOrd="0" presId="urn:microsoft.com/office/officeart/2005/8/layout/process1"/>
    <dgm:cxn modelId="{FE940FD6-CA34-4BB5-8A58-6D57B47C4F6C}" type="presOf" srcId="{1E2038A9-F61D-46A2-8A41-FD851D863D80}" destId="{68BBFB1F-A1F3-4043-9EB0-50215F9A4781}" srcOrd="1" destOrd="0" presId="urn:microsoft.com/office/officeart/2005/8/layout/process1"/>
    <dgm:cxn modelId="{BCA785EB-4D09-4156-A185-EEA1B8A6DEC9}" type="presOf" srcId="{A91A9510-D4D8-4F6A-AD5C-7E8A890149B0}" destId="{D10CDD97-59F6-4946-A966-89092288ABCB}" srcOrd="0" destOrd="0" presId="urn:microsoft.com/office/officeart/2005/8/layout/process1"/>
    <dgm:cxn modelId="{9F34F73B-1DA2-4986-8F95-17B2A11E74B2}" type="presParOf" srcId="{8935CD82-A567-4AC4-971A-1E84CA5F2E4E}" destId="{CA0009CB-989B-4CBD-BF6B-CAFDD5091B6B}" srcOrd="0" destOrd="0" presId="urn:microsoft.com/office/officeart/2005/8/layout/process1"/>
    <dgm:cxn modelId="{4A84A4FB-A6C4-4334-A5F2-A59E683500C4}" type="presParOf" srcId="{8935CD82-A567-4AC4-971A-1E84CA5F2E4E}" destId="{536F5129-7152-4321-934F-324E63FAA831}" srcOrd="1" destOrd="0" presId="urn:microsoft.com/office/officeart/2005/8/layout/process1"/>
    <dgm:cxn modelId="{0129D4E2-BF5B-4408-A552-64451C623EB6}" type="presParOf" srcId="{536F5129-7152-4321-934F-324E63FAA831}" destId="{54567428-6248-4A76-AED7-4E3446F57363}" srcOrd="0" destOrd="0" presId="urn:microsoft.com/office/officeart/2005/8/layout/process1"/>
    <dgm:cxn modelId="{DD6B13D2-1F84-4E51-AF40-D8B37107B806}" type="presParOf" srcId="{8935CD82-A567-4AC4-971A-1E84CA5F2E4E}" destId="{D10CDD97-59F6-4946-A966-89092288ABCB}" srcOrd="2" destOrd="0" presId="urn:microsoft.com/office/officeart/2005/8/layout/process1"/>
    <dgm:cxn modelId="{3AC20A68-674F-470B-97A6-42BBC2E958DD}" type="presParOf" srcId="{8935CD82-A567-4AC4-971A-1E84CA5F2E4E}" destId="{9678534A-E93A-4D76-8CFA-D718FDC9C484}" srcOrd="3" destOrd="0" presId="urn:microsoft.com/office/officeart/2005/8/layout/process1"/>
    <dgm:cxn modelId="{5FC9AB9B-5FEF-4519-AA36-3733289FDCB5}" type="presParOf" srcId="{9678534A-E93A-4D76-8CFA-D718FDC9C484}" destId="{BF8FBB34-6257-4BCD-A542-8F0A76A288F8}" srcOrd="0" destOrd="0" presId="urn:microsoft.com/office/officeart/2005/8/layout/process1"/>
    <dgm:cxn modelId="{E076AAB0-F2B2-4487-8A25-29ED4E628EF9}" type="presParOf" srcId="{8935CD82-A567-4AC4-971A-1E84CA5F2E4E}" destId="{B4C99192-5B32-425D-9A01-CAF76CA0FF88}" srcOrd="4" destOrd="0" presId="urn:microsoft.com/office/officeart/2005/8/layout/process1"/>
    <dgm:cxn modelId="{68A88569-2108-4F10-8B0A-6C56E3815C32}" type="presParOf" srcId="{8935CD82-A567-4AC4-971A-1E84CA5F2E4E}" destId="{464A31D3-8B96-4BFF-92F2-73778D16E67B}" srcOrd="5" destOrd="0" presId="urn:microsoft.com/office/officeart/2005/8/layout/process1"/>
    <dgm:cxn modelId="{DCC0B4B9-8243-4320-94EF-C013BB8D208C}" type="presParOf" srcId="{464A31D3-8B96-4BFF-92F2-73778D16E67B}" destId="{E1374CB8-8AD4-43D6-81A8-E4CDB1D59CA8}" srcOrd="0" destOrd="0" presId="urn:microsoft.com/office/officeart/2005/8/layout/process1"/>
    <dgm:cxn modelId="{F99F5831-113B-4A3E-B3F1-9DB558E3AD5F}" type="presParOf" srcId="{8935CD82-A567-4AC4-971A-1E84CA5F2E4E}" destId="{7FD8F07D-0E56-47D1-B513-B93D0619C3DE}" srcOrd="6" destOrd="0" presId="urn:microsoft.com/office/officeart/2005/8/layout/process1"/>
    <dgm:cxn modelId="{9720E2C7-3287-4486-A430-47177EBC010D}" type="presParOf" srcId="{8935CD82-A567-4AC4-971A-1E84CA5F2E4E}" destId="{8D42C585-3CB7-4069-972A-F53FF19AE2B8}" srcOrd="7" destOrd="0" presId="urn:microsoft.com/office/officeart/2005/8/layout/process1"/>
    <dgm:cxn modelId="{789593A3-B5AA-48EA-B8EF-3DC197832FE8}" type="presParOf" srcId="{8D42C585-3CB7-4069-972A-F53FF19AE2B8}" destId="{68BBFB1F-A1F3-4043-9EB0-50215F9A4781}" srcOrd="0" destOrd="0" presId="urn:microsoft.com/office/officeart/2005/8/layout/process1"/>
    <dgm:cxn modelId="{AC40A09D-77AF-4A34-A3E7-7E8AB2D56028}" type="presParOf" srcId="{8935CD82-A567-4AC4-971A-1E84CA5F2E4E}" destId="{2A3B0FCC-2973-4171-A9C9-817D500E0ADB}" srcOrd="8" destOrd="0" presId="urn:microsoft.com/office/officeart/2005/8/layout/process1"/>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890EA16-6D1E-4D9B-A58C-FF31BBCBFAE3}" type="doc">
      <dgm:prSet loTypeId="urn:microsoft.com/office/officeart/2005/8/layout/venn2" loCatId="relationship" qsTypeId="urn:microsoft.com/office/officeart/2005/8/quickstyle/simple1" qsCatId="simple" csTypeId="urn:microsoft.com/office/officeart/2005/8/colors/accent2_3" csCatId="accent2" phldr="1"/>
      <dgm:spPr/>
      <dgm:t>
        <a:bodyPr/>
        <a:lstStyle/>
        <a:p>
          <a:endParaRPr lang="da-DK"/>
        </a:p>
      </dgm:t>
    </dgm:pt>
    <dgm:pt modelId="{97821CB6-AB54-4A8B-81F1-DED973C9E271}">
      <dgm:prSet phldrT="[Text]" custT="1"/>
      <dgm:spPr/>
      <dgm:t>
        <a:bodyPr/>
        <a:lstStyle/>
        <a:p>
          <a:r>
            <a:rPr lang="da-DK" sz="1400" dirty="0"/>
            <a:t>Referencegruppe / procesgruppe</a:t>
          </a:r>
        </a:p>
      </dgm:t>
    </dgm:pt>
    <dgm:pt modelId="{38DCDBC0-132C-4962-BAE7-C33BD3834F24}" type="parTrans" cxnId="{7816A2C2-0323-4A9A-9AFC-143724ACD53D}">
      <dgm:prSet/>
      <dgm:spPr/>
      <dgm:t>
        <a:bodyPr/>
        <a:lstStyle/>
        <a:p>
          <a:endParaRPr lang="da-DK"/>
        </a:p>
      </dgm:t>
    </dgm:pt>
    <dgm:pt modelId="{3CD6A53D-D458-4BF9-A4AE-AFEDD742FC26}" type="sibTrans" cxnId="{7816A2C2-0323-4A9A-9AFC-143724ACD53D}">
      <dgm:prSet/>
      <dgm:spPr/>
      <dgm:t>
        <a:bodyPr/>
        <a:lstStyle/>
        <a:p>
          <a:endParaRPr lang="da-DK"/>
        </a:p>
      </dgm:t>
    </dgm:pt>
    <dgm:pt modelId="{CF2605F5-D9A6-420D-B08B-D69ED90E0379}">
      <dgm:prSet phldrT="[Text]" custT="1"/>
      <dgm:spPr/>
      <dgm:t>
        <a:bodyPr/>
        <a:lstStyle/>
        <a:p>
          <a:r>
            <a:rPr lang="da-DK" sz="1400" dirty="0"/>
            <a:t>Kernegruppe / PGR</a:t>
          </a:r>
        </a:p>
      </dgm:t>
    </dgm:pt>
    <dgm:pt modelId="{A322098F-DAC5-4FD7-BA9B-44D00F794569}" type="parTrans" cxnId="{408B8FAE-3E6D-4209-ADDF-268D26121F56}">
      <dgm:prSet/>
      <dgm:spPr/>
      <dgm:t>
        <a:bodyPr/>
        <a:lstStyle/>
        <a:p>
          <a:endParaRPr lang="da-DK"/>
        </a:p>
      </dgm:t>
    </dgm:pt>
    <dgm:pt modelId="{ED734D16-CBE2-48FF-AC86-5CEB4065FE0F}" type="sibTrans" cxnId="{408B8FAE-3E6D-4209-ADDF-268D26121F56}">
      <dgm:prSet/>
      <dgm:spPr/>
      <dgm:t>
        <a:bodyPr/>
        <a:lstStyle/>
        <a:p>
          <a:endParaRPr lang="da-DK"/>
        </a:p>
      </dgm:t>
    </dgm:pt>
    <dgm:pt modelId="{F65A4F87-03C7-47A2-8160-E3987F278F21}">
      <dgm:prSet phldrT="[Text]" custT="1"/>
      <dgm:spPr/>
      <dgm:t>
        <a:bodyPr/>
        <a:lstStyle/>
        <a:p>
          <a:r>
            <a:rPr lang="da-DK" sz="1400" dirty="0" err="1"/>
            <a:t>Sporleads</a:t>
          </a:r>
          <a:endParaRPr lang="da-DK" sz="1400" dirty="0"/>
        </a:p>
      </dgm:t>
    </dgm:pt>
    <dgm:pt modelId="{5FA9C4E3-784E-4C0F-8CDA-00092DBFAD2E}" type="parTrans" cxnId="{4D941BDA-FD79-4791-88D4-8BB6DF7351E5}">
      <dgm:prSet/>
      <dgm:spPr/>
      <dgm:t>
        <a:bodyPr/>
        <a:lstStyle/>
        <a:p>
          <a:endParaRPr lang="da-DK"/>
        </a:p>
      </dgm:t>
    </dgm:pt>
    <dgm:pt modelId="{179D936E-A627-4732-BE2C-54DD73ABA6D6}" type="sibTrans" cxnId="{4D941BDA-FD79-4791-88D4-8BB6DF7351E5}">
      <dgm:prSet/>
      <dgm:spPr/>
      <dgm:t>
        <a:bodyPr/>
        <a:lstStyle/>
        <a:p>
          <a:endParaRPr lang="da-DK"/>
        </a:p>
      </dgm:t>
    </dgm:pt>
    <dgm:pt modelId="{07BBBF5F-7DDC-4153-AFE4-E134B10BF5E0}">
      <dgm:prSet phldrT="[Text]" custT="1"/>
      <dgm:spPr/>
      <dgm:t>
        <a:bodyPr/>
        <a:lstStyle/>
        <a:p>
          <a:r>
            <a:rPr lang="da-DK" sz="1400" dirty="0"/>
            <a:t>Lokale backinggrupper</a:t>
          </a:r>
        </a:p>
      </dgm:t>
    </dgm:pt>
    <dgm:pt modelId="{16E710BE-304A-4212-9848-22C722F4B4A8}" type="parTrans" cxnId="{89C78D30-6945-4E35-8326-149593C097DB}">
      <dgm:prSet/>
      <dgm:spPr/>
      <dgm:t>
        <a:bodyPr/>
        <a:lstStyle/>
        <a:p>
          <a:endParaRPr lang="da-DK"/>
        </a:p>
      </dgm:t>
    </dgm:pt>
    <dgm:pt modelId="{E006E936-79AB-4DD0-812F-7C85EE304B72}" type="sibTrans" cxnId="{89C78D30-6945-4E35-8326-149593C097DB}">
      <dgm:prSet/>
      <dgm:spPr/>
      <dgm:t>
        <a:bodyPr/>
        <a:lstStyle/>
        <a:p>
          <a:endParaRPr lang="da-DK"/>
        </a:p>
      </dgm:t>
    </dgm:pt>
    <dgm:pt modelId="{C7BC6480-47C8-4BBE-99A3-3E7B2FDFFC5D}">
      <dgm:prSet phldrT="[Text]" custT="1"/>
      <dgm:spPr/>
      <dgm:t>
        <a:bodyPr/>
        <a:lstStyle/>
        <a:p>
          <a:r>
            <a:rPr lang="da-DK" sz="1400" dirty="0"/>
            <a:t>Alle brugere</a:t>
          </a:r>
        </a:p>
      </dgm:t>
    </dgm:pt>
    <dgm:pt modelId="{A59336A3-774F-4028-A258-4C5954550480}" type="parTrans" cxnId="{00ACDC18-AC84-463C-948A-AD35505C63E8}">
      <dgm:prSet/>
      <dgm:spPr/>
      <dgm:t>
        <a:bodyPr/>
        <a:lstStyle/>
        <a:p>
          <a:endParaRPr lang="da-DK"/>
        </a:p>
      </dgm:t>
    </dgm:pt>
    <dgm:pt modelId="{D3919220-35C2-445F-8587-41B735B32F7E}" type="sibTrans" cxnId="{00ACDC18-AC84-463C-948A-AD35505C63E8}">
      <dgm:prSet/>
      <dgm:spPr/>
      <dgm:t>
        <a:bodyPr/>
        <a:lstStyle/>
        <a:p>
          <a:endParaRPr lang="da-DK"/>
        </a:p>
      </dgm:t>
    </dgm:pt>
    <dgm:pt modelId="{63E6A700-094F-4F53-8680-E78FCFA6E0A3}" type="pres">
      <dgm:prSet presAssocID="{3890EA16-6D1E-4D9B-A58C-FF31BBCBFAE3}" presName="Name0" presStyleCnt="0">
        <dgm:presLayoutVars>
          <dgm:chMax val="7"/>
          <dgm:resizeHandles val="exact"/>
        </dgm:presLayoutVars>
      </dgm:prSet>
      <dgm:spPr/>
    </dgm:pt>
    <dgm:pt modelId="{84BB3F05-81A9-4EEA-B786-BDDAD85FA797}" type="pres">
      <dgm:prSet presAssocID="{3890EA16-6D1E-4D9B-A58C-FF31BBCBFAE3}" presName="comp1" presStyleCnt="0"/>
      <dgm:spPr/>
    </dgm:pt>
    <dgm:pt modelId="{1EC890FC-3094-4CE9-AFE9-05F41D3EE528}" type="pres">
      <dgm:prSet presAssocID="{3890EA16-6D1E-4D9B-A58C-FF31BBCBFAE3}" presName="circle1" presStyleLbl="node1" presStyleIdx="0" presStyleCnt="5" custLinFactNeighborX="-112" custLinFactNeighborY="1027"/>
      <dgm:spPr/>
    </dgm:pt>
    <dgm:pt modelId="{5C6E11FC-1233-4B63-B4B8-DF7B9F73E6F3}" type="pres">
      <dgm:prSet presAssocID="{3890EA16-6D1E-4D9B-A58C-FF31BBCBFAE3}" presName="c1text" presStyleLbl="node1" presStyleIdx="0" presStyleCnt="5">
        <dgm:presLayoutVars>
          <dgm:bulletEnabled val="1"/>
        </dgm:presLayoutVars>
      </dgm:prSet>
      <dgm:spPr/>
    </dgm:pt>
    <dgm:pt modelId="{8844B376-17D8-4796-97EF-9C28C221383C}" type="pres">
      <dgm:prSet presAssocID="{3890EA16-6D1E-4D9B-A58C-FF31BBCBFAE3}" presName="comp2" presStyleCnt="0"/>
      <dgm:spPr/>
    </dgm:pt>
    <dgm:pt modelId="{70B522C3-D924-43DA-8AB9-8A390A3A7BB7}" type="pres">
      <dgm:prSet presAssocID="{3890EA16-6D1E-4D9B-A58C-FF31BBCBFAE3}" presName="circle2" presStyleLbl="node1" presStyleIdx="1" presStyleCnt="5"/>
      <dgm:spPr/>
    </dgm:pt>
    <dgm:pt modelId="{3CDAFE81-1C53-43D1-A743-477355941912}" type="pres">
      <dgm:prSet presAssocID="{3890EA16-6D1E-4D9B-A58C-FF31BBCBFAE3}" presName="c2text" presStyleLbl="node1" presStyleIdx="1" presStyleCnt="5">
        <dgm:presLayoutVars>
          <dgm:bulletEnabled val="1"/>
        </dgm:presLayoutVars>
      </dgm:prSet>
      <dgm:spPr/>
    </dgm:pt>
    <dgm:pt modelId="{22A66C02-BE51-40B7-80B1-E3174C1D85B2}" type="pres">
      <dgm:prSet presAssocID="{3890EA16-6D1E-4D9B-A58C-FF31BBCBFAE3}" presName="comp3" presStyleCnt="0"/>
      <dgm:spPr/>
    </dgm:pt>
    <dgm:pt modelId="{CE366FE1-253B-4E35-BD2E-7E7482A56C7E}" type="pres">
      <dgm:prSet presAssocID="{3890EA16-6D1E-4D9B-A58C-FF31BBCBFAE3}" presName="circle3" presStyleLbl="node1" presStyleIdx="2" presStyleCnt="5"/>
      <dgm:spPr/>
    </dgm:pt>
    <dgm:pt modelId="{C50627B7-CF0D-4661-9D4B-7B4719752E44}" type="pres">
      <dgm:prSet presAssocID="{3890EA16-6D1E-4D9B-A58C-FF31BBCBFAE3}" presName="c3text" presStyleLbl="node1" presStyleIdx="2" presStyleCnt="5">
        <dgm:presLayoutVars>
          <dgm:bulletEnabled val="1"/>
        </dgm:presLayoutVars>
      </dgm:prSet>
      <dgm:spPr/>
    </dgm:pt>
    <dgm:pt modelId="{2509DC72-4EB1-4EF0-A9F4-DEAC1F7FFA52}" type="pres">
      <dgm:prSet presAssocID="{3890EA16-6D1E-4D9B-A58C-FF31BBCBFAE3}" presName="comp4" presStyleCnt="0"/>
      <dgm:spPr/>
    </dgm:pt>
    <dgm:pt modelId="{CDDBCDA1-4AB4-443A-BC3A-46D6AA3803A7}" type="pres">
      <dgm:prSet presAssocID="{3890EA16-6D1E-4D9B-A58C-FF31BBCBFAE3}" presName="circle4" presStyleLbl="node1" presStyleIdx="3" presStyleCnt="5"/>
      <dgm:spPr/>
    </dgm:pt>
    <dgm:pt modelId="{E39347C0-AD16-4A8E-8DD1-BF539EA74954}" type="pres">
      <dgm:prSet presAssocID="{3890EA16-6D1E-4D9B-A58C-FF31BBCBFAE3}" presName="c4text" presStyleLbl="node1" presStyleIdx="3" presStyleCnt="5">
        <dgm:presLayoutVars>
          <dgm:bulletEnabled val="1"/>
        </dgm:presLayoutVars>
      </dgm:prSet>
      <dgm:spPr/>
    </dgm:pt>
    <dgm:pt modelId="{1F646D91-E9B2-4F35-9203-110E51762E94}" type="pres">
      <dgm:prSet presAssocID="{3890EA16-6D1E-4D9B-A58C-FF31BBCBFAE3}" presName="comp5" presStyleCnt="0"/>
      <dgm:spPr/>
    </dgm:pt>
    <dgm:pt modelId="{C4DDD809-A693-46EF-8153-872B3E9BAA35}" type="pres">
      <dgm:prSet presAssocID="{3890EA16-6D1E-4D9B-A58C-FF31BBCBFAE3}" presName="circle5" presStyleLbl="node1" presStyleIdx="4" presStyleCnt="5"/>
      <dgm:spPr/>
    </dgm:pt>
    <dgm:pt modelId="{98AAF87A-E6B6-4276-883C-FB6AB0DF1B50}" type="pres">
      <dgm:prSet presAssocID="{3890EA16-6D1E-4D9B-A58C-FF31BBCBFAE3}" presName="c5text" presStyleLbl="node1" presStyleIdx="4" presStyleCnt="5">
        <dgm:presLayoutVars>
          <dgm:bulletEnabled val="1"/>
        </dgm:presLayoutVars>
      </dgm:prSet>
      <dgm:spPr/>
    </dgm:pt>
  </dgm:ptLst>
  <dgm:cxnLst>
    <dgm:cxn modelId="{34FCCB0C-AC8D-491F-8139-272F542A313F}" type="presOf" srcId="{F65A4F87-03C7-47A2-8160-E3987F278F21}" destId="{98AAF87A-E6B6-4276-883C-FB6AB0DF1B50}" srcOrd="1" destOrd="0" presId="urn:microsoft.com/office/officeart/2005/8/layout/venn2"/>
    <dgm:cxn modelId="{00ACDC18-AC84-463C-948A-AD35505C63E8}" srcId="{3890EA16-6D1E-4D9B-A58C-FF31BBCBFAE3}" destId="{C7BC6480-47C8-4BBE-99A3-3E7B2FDFFC5D}" srcOrd="0" destOrd="0" parTransId="{A59336A3-774F-4028-A258-4C5954550480}" sibTransId="{D3919220-35C2-445F-8587-41B735B32F7E}"/>
    <dgm:cxn modelId="{6428DB27-DAAB-44AF-B275-C11B4AE276FD}" type="presOf" srcId="{3890EA16-6D1E-4D9B-A58C-FF31BBCBFAE3}" destId="{63E6A700-094F-4F53-8680-E78FCFA6E0A3}" srcOrd="0" destOrd="0" presId="urn:microsoft.com/office/officeart/2005/8/layout/venn2"/>
    <dgm:cxn modelId="{89C78D30-6945-4E35-8326-149593C097DB}" srcId="{3890EA16-6D1E-4D9B-A58C-FF31BBCBFAE3}" destId="{07BBBF5F-7DDC-4153-AFE4-E134B10BF5E0}" srcOrd="1" destOrd="0" parTransId="{16E710BE-304A-4212-9848-22C722F4B4A8}" sibTransId="{E006E936-79AB-4DD0-812F-7C85EE304B72}"/>
    <dgm:cxn modelId="{AAC6FA32-9B7C-44CC-891C-F44B2BB88EDE}" type="presOf" srcId="{CF2605F5-D9A6-420D-B08B-D69ED90E0379}" destId="{E39347C0-AD16-4A8E-8DD1-BF539EA74954}" srcOrd="1" destOrd="0" presId="urn:microsoft.com/office/officeart/2005/8/layout/venn2"/>
    <dgm:cxn modelId="{BE4B4B3B-28EF-41EE-B18E-52F7F950FE89}" type="presOf" srcId="{07BBBF5F-7DDC-4153-AFE4-E134B10BF5E0}" destId="{70B522C3-D924-43DA-8AB9-8A390A3A7BB7}" srcOrd="0" destOrd="0" presId="urn:microsoft.com/office/officeart/2005/8/layout/venn2"/>
    <dgm:cxn modelId="{A9F5573B-18F5-42E0-A9D7-13255EF2B868}" type="presOf" srcId="{C7BC6480-47C8-4BBE-99A3-3E7B2FDFFC5D}" destId="{1EC890FC-3094-4CE9-AFE9-05F41D3EE528}" srcOrd="0" destOrd="0" presId="urn:microsoft.com/office/officeart/2005/8/layout/venn2"/>
    <dgm:cxn modelId="{FD30A750-CD67-4751-9DFC-31898095FE15}" type="presOf" srcId="{97821CB6-AB54-4A8B-81F1-DED973C9E271}" destId="{C50627B7-CF0D-4661-9D4B-7B4719752E44}" srcOrd="1" destOrd="0" presId="urn:microsoft.com/office/officeart/2005/8/layout/venn2"/>
    <dgm:cxn modelId="{50BED491-9BDF-45D5-AD4E-C4EA50A72049}" type="presOf" srcId="{07BBBF5F-7DDC-4153-AFE4-E134B10BF5E0}" destId="{3CDAFE81-1C53-43D1-A743-477355941912}" srcOrd="1" destOrd="0" presId="urn:microsoft.com/office/officeart/2005/8/layout/venn2"/>
    <dgm:cxn modelId="{21AF7A93-FAA5-4F9E-84D2-D4AEE58175BC}" type="presOf" srcId="{CF2605F5-D9A6-420D-B08B-D69ED90E0379}" destId="{CDDBCDA1-4AB4-443A-BC3A-46D6AA3803A7}" srcOrd="0" destOrd="0" presId="urn:microsoft.com/office/officeart/2005/8/layout/venn2"/>
    <dgm:cxn modelId="{47A2ECA0-B3C9-4A27-8DF6-F50F4A7A304A}" type="presOf" srcId="{97821CB6-AB54-4A8B-81F1-DED973C9E271}" destId="{CE366FE1-253B-4E35-BD2E-7E7482A56C7E}" srcOrd="0" destOrd="0" presId="urn:microsoft.com/office/officeart/2005/8/layout/venn2"/>
    <dgm:cxn modelId="{408B8FAE-3E6D-4209-ADDF-268D26121F56}" srcId="{3890EA16-6D1E-4D9B-A58C-FF31BBCBFAE3}" destId="{CF2605F5-D9A6-420D-B08B-D69ED90E0379}" srcOrd="3" destOrd="0" parTransId="{A322098F-DAC5-4FD7-BA9B-44D00F794569}" sibTransId="{ED734D16-CBE2-48FF-AC86-5CEB4065FE0F}"/>
    <dgm:cxn modelId="{7816A2C2-0323-4A9A-9AFC-143724ACD53D}" srcId="{3890EA16-6D1E-4D9B-A58C-FF31BBCBFAE3}" destId="{97821CB6-AB54-4A8B-81F1-DED973C9E271}" srcOrd="2" destOrd="0" parTransId="{38DCDBC0-132C-4962-BAE7-C33BD3834F24}" sibTransId="{3CD6A53D-D458-4BF9-A4AE-AFEDD742FC26}"/>
    <dgm:cxn modelId="{7CA607CD-9B35-4853-B570-0BFC5E92A6F4}" type="presOf" srcId="{F65A4F87-03C7-47A2-8160-E3987F278F21}" destId="{C4DDD809-A693-46EF-8153-872B3E9BAA35}" srcOrd="0" destOrd="0" presId="urn:microsoft.com/office/officeart/2005/8/layout/venn2"/>
    <dgm:cxn modelId="{BBF8A6D0-67FC-402E-8F35-C948D802BFE1}" type="presOf" srcId="{C7BC6480-47C8-4BBE-99A3-3E7B2FDFFC5D}" destId="{5C6E11FC-1233-4B63-B4B8-DF7B9F73E6F3}" srcOrd="1" destOrd="0" presId="urn:microsoft.com/office/officeart/2005/8/layout/venn2"/>
    <dgm:cxn modelId="{4D941BDA-FD79-4791-88D4-8BB6DF7351E5}" srcId="{3890EA16-6D1E-4D9B-A58C-FF31BBCBFAE3}" destId="{F65A4F87-03C7-47A2-8160-E3987F278F21}" srcOrd="4" destOrd="0" parTransId="{5FA9C4E3-784E-4C0F-8CDA-00092DBFAD2E}" sibTransId="{179D936E-A627-4732-BE2C-54DD73ABA6D6}"/>
    <dgm:cxn modelId="{4A76DEA4-1248-400E-BAED-4E94604C89C0}" type="presParOf" srcId="{63E6A700-094F-4F53-8680-E78FCFA6E0A3}" destId="{84BB3F05-81A9-4EEA-B786-BDDAD85FA797}" srcOrd="0" destOrd="0" presId="urn:microsoft.com/office/officeart/2005/8/layout/venn2"/>
    <dgm:cxn modelId="{A1E60963-1315-416D-80FE-676624DF85D7}" type="presParOf" srcId="{84BB3F05-81A9-4EEA-B786-BDDAD85FA797}" destId="{1EC890FC-3094-4CE9-AFE9-05F41D3EE528}" srcOrd="0" destOrd="0" presId="urn:microsoft.com/office/officeart/2005/8/layout/venn2"/>
    <dgm:cxn modelId="{DECF1DDE-91B7-43ED-9FDC-31F7DDA1024B}" type="presParOf" srcId="{84BB3F05-81A9-4EEA-B786-BDDAD85FA797}" destId="{5C6E11FC-1233-4B63-B4B8-DF7B9F73E6F3}" srcOrd="1" destOrd="0" presId="urn:microsoft.com/office/officeart/2005/8/layout/venn2"/>
    <dgm:cxn modelId="{F3413EAB-F431-496F-AF9E-D8FA912249EC}" type="presParOf" srcId="{63E6A700-094F-4F53-8680-E78FCFA6E0A3}" destId="{8844B376-17D8-4796-97EF-9C28C221383C}" srcOrd="1" destOrd="0" presId="urn:microsoft.com/office/officeart/2005/8/layout/venn2"/>
    <dgm:cxn modelId="{F512D7F9-9555-47FF-8557-0152B5170140}" type="presParOf" srcId="{8844B376-17D8-4796-97EF-9C28C221383C}" destId="{70B522C3-D924-43DA-8AB9-8A390A3A7BB7}" srcOrd="0" destOrd="0" presId="urn:microsoft.com/office/officeart/2005/8/layout/venn2"/>
    <dgm:cxn modelId="{26BAA1C6-48C1-4165-AA06-85AAC36BA290}" type="presParOf" srcId="{8844B376-17D8-4796-97EF-9C28C221383C}" destId="{3CDAFE81-1C53-43D1-A743-477355941912}" srcOrd="1" destOrd="0" presId="urn:microsoft.com/office/officeart/2005/8/layout/venn2"/>
    <dgm:cxn modelId="{C951E43C-1E04-4EB8-8496-1C5AA00102AA}" type="presParOf" srcId="{63E6A700-094F-4F53-8680-E78FCFA6E0A3}" destId="{22A66C02-BE51-40B7-80B1-E3174C1D85B2}" srcOrd="2" destOrd="0" presId="urn:microsoft.com/office/officeart/2005/8/layout/venn2"/>
    <dgm:cxn modelId="{F5514262-04E3-4671-A48B-CC725C8B3801}" type="presParOf" srcId="{22A66C02-BE51-40B7-80B1-E3174C1D85B2}" destId="{CE366FE1-253B-4E35-BD2E-7E7482A56C7E}" srcOrd="0" destOrd="0" presId="urn:microsoft.com/office/officeart/2005/8/layout/venn2"/>
    <dgm:cxn modelId="{78B7DCB3-F424-4AE5-B9E0-70B32F02A296}" type="presParOf" srcId="{22A66C02-BE51-40B7-80B1-E3174C1D85B2}" destId="{C50627B7-CF0D-4661-9D4B-7B4719752E44}" srcOrd="1" destOrd="0" presId="urn:microsoft.com/office/officeart/2005/8/layout/venn2"/>
    <dgm:cxn modelId="{13717898-F799-4706-991C-7B8BC36AFD11}" type="presParOf" srcId="{63E6A700-094F-4F53-8680-E78FCFA6E0A3}" destId="{2509DC72-4EB1-4EF0-A9F4-DEAC1F7FFA52}" srcOrd="3" destOrd="0" presId="urn:microsoft.com/office/officeart/2005/8/layout/venn2"/>
    <dgm:cxn modelId="{4FEB663B-B2FF-4A5B-9DE5-AF2DD8367795}" type="presParOf" srcId="{2509DC72-4EB1-4EF0-A9F4-DEAC1F7FFA52}" destId="{CDDBCDA1-4AB4-443A-BC3A-46D6AA3803A7}" srcOrd="0" destOrd="0" presId="urn:microsoft.com/office/officeart/2005/8/layout/venn2"/>
    <dgm:cxn modelId="{7ED51D90-E914-4717-AC6B-3C322AE748DE}" type="presParOf" srcId="{2509DC72-4EB1-4EF0-A9F4-DEAC1F7FFA52}" destId="{E39347C0-AD16-4A8E-8DD1-BF539EA74954}" srcOrd="1" destOrd="0" presId="urn:microsoft.com/office/officeart/2005/8/layout/venn2"/>
    <dgm:cxn modelId="{5CCC76D9-1ABB-4150-8D78-2A2C5B2D29B0}" type="presParOf" srcId="{63E6A700-094F-4F53-8680-E78FCFA6E0A3}" destId="{1F646D91-E9B2-4F35-9203-110E51762E94}" srcOrd="4" destOrd="0" presId="urn:microsoft.com/office/officeart/2005/8/layout/venn2"/>
    <dgm:cxn modelId="{09C17EC8-4B3D-49E1-B1FE-3D801CA79ACA}" type="presParOf" srcId="{1F646D91-E9B2-4F35-9203-110E51762E94}" destId="{C4DDD809-A693-46EF-8153-872B3E9BAA35}" srcOrd="0" destOrd="0" presId="urn:microsoft.com/office/officeart/2005/8/layout/venn2"/>
    <dgm:cxn modelId="{83292645-DFEA-4708-8B48-BDA03123684D}" type="presParOf" srcId="{1F646D91-E9B2-4F35-9203-110E51762E94}" destId="{98AAF87A-E6B6-4276-883C-FB6AB0DF1B50}" srcOrd="1" destOrd="0" presId="urn:microsoft.com/office/officeart/2005/8/layout/ven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C583F0-48A6-4016-B67A-0339249062E8}">
      <dsp:nvSpPr>
        <dsp:cNvPr id="0" name=""/>
        <dsp:cNvSpPr/>
      </dsp:nvSpPr>
      <dsp:spPr>
        <a:xfrm>
          <a:off x="0" y="0"/>
          <a:ext cx="9922565" cy="2747620"/>
        </a:xfrm>
        <a:prstGeom prst="roundRect">
          <a:avLst>
            <a:gd name="adj" fmla="val 10000"/>
          </a:avLst>
        </a:prstGeom>
        <a:solidFill>
          <a:schemeClr val="accent2">
            <a:alpha val="90000"/>
            <a:tint val="40000"/>
            <a:hueOff val="0"/>
            <a:satOff val="0"/>
            <a:lumOff val="0"/>
            <a:alphaOff val="0"/>
          </a:schemeClr>
        </a:solidFill>
        <a:ln w="12700" cap="flat" cmpd="sng" algn="ctr">
          <a:solidFill>
            <a:schemeClr val="accent2">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2D5EC77-32FF-4202-8084-7EC594AFCC45}">
      <dsp:nvSpPr>
        <dsp:cNvPr id="0" name=""/>
        <dsp:cNvSpPr/>
      </dsp:nvSpPr>
      <dsp:spPr>
        <a:xfrm>
          <a:off x="298815" y="366349"/>
          <a:ext cx="4440444" cy="2014921"/>
        </a:xfrm>
        <a:prstGeom prst="roundRect">
          <a:avLst>
            <a:gd name="adj" fmla="val 10000"/>
          </a:avLst>
        </a:prstGeom>
        <a:blipFill rotWithShape="1">
          <a:blip xmlns:r="http://schemas.openxmlformats.org/officeDocument/2006/relationships" r:embed="rId1"/>
          <a:srcRect/>
          <a:stretch>
            <a:fillRect t="-9000" b="-9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3F85365-6864-4F76-9DE1-D3599FE03CE5}">
      <dsp:nvSpPr>
        <dsp:cNvPr id="0" name=""/>
        <dsp:cNvSpPr/>
      </dsp:nvSpPr>
      <dsp:spPr>
        <a:xfrm rot="10800000">
          <a:off x="298815" y="2747620"/>
          <a:ext cx="4440444" cy="3358203"/>
        </a:xfrm>
        <a:prstGeom prst="round2SameRect">
          <a:avLst>
            <a:gd name="adj1" fmla="val 10500"/>
            <a:gd name="adj2" fmla="val 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t" anchorCtr="0">
          <a:noAutofit/>
        </a:bodyPr>
        <a:lstStyle/>
        <a:p>
          <a:pPr marL="0" lvl="0" indent="0" algn="l" defTabSz="1066800">
            <a:lnSpc>
              <a:spcPct val="90000"/>
            </a:lnSpc>
            <a:spcBef>
              <a:spcPct val="0"/>
            </a:spcBef>
            <a:spcAft>
              <a:spcPct val="35000"/>
            </a:spcAft>
            <a:buNone/>
          </a:pPr>
          <a:r>
            <a:rPr lang="da-DK" sz="2400" b="1" kern="1200" dirty="0"/>
            <a:t>Fælles program</a:t>
          </a:r>
        </a:p>
        <a:p>
          <a:pPr marL="0" lvl="0" indent="0" algn="l" defTabSz="1066800">
            <a:lnSpc>
              <a:spcPct val="90000"/>
            </a:lnSpc>
            <a:spcBef>
              <a:spcPct val="0"/>
            </a:spcBef>
            <a:spcAft>
              <a:spcPct val="35000"/>
            </a:spcAft>
            <a:buNone/>
          </a:pPr>
          <a:r>
            <a:rPr lang="da-DK" sz="2000" kern="1200" dirty="0"/>
            <a:t>- Udbud</a:t>
          </a:r>
        </a:p>
        <a:p>
          <a:pPr marL="0" lvl="0" indent="0" algn="l" defTabSz="1066800">
            <a:lnSpc>
              <a:spcPct val="90000"/>
            </a:lnSpc>
            <a:spcBef>
              <a:spcPct val="0"/>
            </a:spcBef>
            <a:spcAft>
              <a:spcPct val="35000"/>
            </a:spcAft>
            <a:buNone/>
          </a:pPr>
          <a:r>
            <a:rPr lang="da-DK" sz="2000" kern="1200" dirty="0"/>
            <a:t>- Leverandørstyring</a:t>
          </a:r>
        </a:p>
        <a:p>
          <a:pPr marL="0" lvl="0" indent="0" algn="l" defTabSz="1066800">
            <a:lnSpc>
              <a:spcPct val="90000"/>
            </a:lnSpc>
            <a:spcBef>
              <a:spcPct val="0"/>
            </a:spcBef>
            <a:spcAft>
              <a:spcPct val="35000"/>
            </a:spcAft>
            <a:buNone/>
          </a:pPr>
          <a:r>
            <a:rPr lang="da-DK" sz="2000" kern="1200" dirty="0"/>
            <a:t>- Fælles løsning / processer</a:t>
          </a:r>
        </a:p>
        <a:p>
          <a:pPr marL="0" lvl="0" indent="0" algn="l" defTabSz="1066800">
            <a:lnSpc>
              <a:spcPct val="90000"/>
            </a:lnSpc>
            <a:spcBef>
              <a:spcPct val="0"/>
            </a:spcBef>
            <a:spcAft>
              <a:spcPct val="35000"/>
            </a:spcAft>
            <a:buNone/>
          </a:pPr>
          <a:r>
            <a:rPr lang="da-DK" sz="2000" kern="1200" dirty="0"/>
            <a:t>- Fælles integrationer</a:t>
          </a:r>
        </a:p>
        <a:p>
          <a:pPr marL="0" lvl="0" indent="0" algn="l" defTabSz="1066800">
            <a:lnSpc>
              <a:spcPct val="90000"/>
            </a:lnSpc>
            <a:spcBef>
              <a:spcPct val="0"/>
            </a:spcBef>
            <a:spcAft>
              <a:spcPct val="35000"/>
            </a:spcAft>
            <a:buNone/>
          </a:pPr>
          <a:r>
            <a:rPr lang="da-DK" sz="2000" kern="1200" dirty="0"/>
            <a:t>- Fælles implementeringsmodel</a:t>
          </a:r>
        </a:p>
        <a:p>
          <a:pPr marL="0" lvl="0" indent="0" algn="l" defTabSz="1066800">
            <a:lnSpc>
              <a:spcPct val="90000"/>
            </a:lnSpc>
            <a:spcBef>
              <a:spcPct val="0"/>
            </a:spcBef>
            <a:spcAft>
              <a:spcPct val="35000"/>
            </a:spcAft>
            <a:buNone/>
          </a:pPr>
          <a:r>
            <a:rPr lang="da-DK" sz="2000" kern="1200" dirty="0"/>
            <a:t>- Fælles begreber og informationsmodel</a:t>
          </a:r>
        </a:p>
        <a:p>
          <a:pPr marL="0" lvl="0" indent="0" algn="l" defTabSz="1066800" rtl="0">
            <a:lnSpc>
              <a:spcPct val="90000"/>
            </a:lnSpc>
            <a:spcBef>
              <a:spcPct val="0"/>
            </a:spcBef>
            <a:spcAft>
              <a:spcPct val="35000"/>
            </a:spcAft>
            <a:buNone/>
          </a:pPr>
          <a:endParaRPr lang="da-DK" sz="2000" kern="1200" dirty="0"/>
        </a:p>
      </dsp:txBody>
      <dsp:txXfrm rot="10800000">
        <a:off x="402091" y="2747620"/>
        <a:ext cx="4233892" cy="3254927"/>
      </dsp:txXfrm>
    </dsp:sp>
    <dsp:sp modelId="{72602E7D-2D74-4B58-A85D-7692BA47A013}">
      <dsp:nvSpPr>
        <dsp:cNvPr id="0" name=""/>
        <dsp:cNvSpPr/>
      </dsp:nvSpPr>
      <dsp:spPr>
        <a:xfrm>
          <a:off x="5183304" y="366349"/>
          <a:ext cx="4440444" cy="2014921"/>
        </a:xfrm>
        <a:prstGeom prst="roundRect">
          <a:avLst>
            <a:gd name="adj" fmla="val 10000"/>
          </a:avLst>
        </a:prstGeom>
        <a:blipFill rotWithShape="1">
          <a:blip xmlns:r="http://schemas.openxmlformats.org/officeDocument/2006/relationships" r:embed="rId2"/>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0F54409-F4DD-4347-84F8-524E1DF48D93}">
      <dsp:nvSpPr>
        <dsp:cNvPr id="0" name=""/>
        <dsp:cNvSpPr/>
      </dsp:nvSpPr>
      <dsp:spPr>
        <a:xfrm rot="10800000">
          <a:off x="5183304" y="2747620"/>
          <a:ext cx="4440444" cy="3358203"/>
        </a:xfrm>
        <a:prstGeom prst="round2SameRect">
          <a:avLst>
            <a:gd name="adj1" fmla="val 10500"/>
            <a:gd name="adj2" fmla="val 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t" anchorCtr="0">
          <a:noAutofit/>
        </a:bodyPr>
        <a:lstStyle/>
        <a:p>
          <a:pPr marL="0" lvl="0" indent="0" algn="l" defTabSz="1066800">
            <a:lnSpc>
              <a:spcPct val="90000"/>
            </a:lnSpc>
            <a:spcBef>
              <a:spcPct val="0"/>
            </a:spcBef>
            <a:spcAft>
              <a:spcPct val="35000"/>
            </a:spcAft>
            <a:buNone/>
          </a:pPr>
          <a:r>
            <a:rPr lang="da-DK" sz="2400" b="1" kern="1200" dirty="0"/>
            <a:t>SDU program</a:t>
          </a:r>
        </a:p>
        <a:p>
          <a:pPr marL="0" lvl="0" indent="0" algn="l" defTabSz="1066800">
            <a:lnSpc>
              <a:spcPct val="90000"/>
            </a:lnSpc>
            <a:spcBef>
              <a:spcPct val="0"/>
            </a:spcBef>
            <a:spcAft>
              <a:spcPct val="35000"/>
            </a:spcAft>
            <a:buNone/>
          </a:pPr>
          <a:r>
            <a:rPr lang="da-DK" sz="2000" kern="1200" dirty="0"/>
            <a:t>- SDU tilpasninger</a:t>
          </a:r>
        </a:p>
        <a:p>
          <a:pPr marL="0" lvl="0" indent="0" algn="l" defTabSz="1066800">
            <a:lnSpc>
              <a:spcPct val="90000"/>
            </a:lnSpc>
            <a:spcBef>
              <a:spcPct val="0"/>
            </a:spcBef>
            <a:spcAft>
              <a:spcPct val="35000"/>
            </a:spcAft>
            <a:buNone/>
          </a:pPr>
          <a:r>
            <a:rPr lang="da-DK" sz="2000" kern="1200" dirty="0"/>
            <a:t>- SDU processer og arbejdsgange</a:t>
          </a:r>
        </a:p>
        <a:p>
          <a:pPr marL="0" lvl="0" indent="0" algn="l" defTabSz="1066800">
            <a:lnSpc>
              <a:spcPct val="90000"/>
            </a:lnSpc>
            <a:spcBef>
              <a:spcPct val="0"/>
            </a:spcBef>
            <a:spcAft>
              <a:spcPct val="35000"/>
            </a:spcAft>
            <a:buNone/>
          </a:pPr>
          <a:r>
            <a:rPr lang="da-DK" sz="2000" kern="1200" dirty="0"/>
            <a:t>- SDU integrationer / systemer </a:t>
          </a:r>
        </a:p>
        <a:p>
          <a:pPr marL="0" lvl="0" indent="0" algn="l" defTabSz="1066800">
            <a:lnSpc>
              <a:spcPct val="90000"/>
            </a:lnSpc>
            <a:spcBef>
              <a:spcPct val="0"/>
            </a:spcBef>
            <a:spcAft>
              <a:spcPct val="35000"/>
            </a:spcAft>
            <a:buNone/>
          </a:pPr>
          <a:r>
            <a:rPr lang="da-DK" sz="2000" kern="1200" dirty="0"/>
            <a:t>- Implementering af begreber</a:t>
          </a:r>
        </a:p>
        <a:p>
          <a:pPr marL="0" lvl="0" indent="0" algn="l" defTabSz="1066800">
            <a:lnSpc>
              <a:spcPct val="90000"/>
            </a:lnSpc>
            <a:spcBef>
              <a:spcPct val="0"/>
            </a:spcBef>
            <a:spcAft>
              <a:spcPct val="35000"/>
            </a:spcAft>
            <a:buNone/>
          </a:pPr>
          <a:r>
            <a:rPr lang="da-DK" sz="2000" kern="1200" dirty="0"/>
            <a:t>- Implementering af nye processer</a:t>
          </a:r>
        </a:p>
        <a:p>
          <a:pPr marL="0" lvl="0" indent="0" algn="l" defTabSz="1066800" rtl="0">
            <a:lnSpc>
              <a:spcPct val="90000"/>
            </a:lnSpc>
            <a:spcBef>
              <a:spcPct val="0"/>
            </a:spcBef>
            <a:spcAft>
              <a:spcPct val="35000"/>
            </a:spcAft>
            <a:buNone/>
          </a:pPr>
          <a:r>
            <a:rPr lang="da-DK" sz="2000" kern="1200" dirty="0"/>
            <a:t>- Kapabilitetsopbygning</a:t>
          </a:r>
          <a:r>
            <a:rPr lang="da-DK" sz="2000" kern="1200" dirty="0">
              <a:latin typeface="Arial"/>
            </a:rPr>
            <a:t> </a:t>
          </a:r>
          <a:endParaRPr lang="da-DK" sz="2000" kern="1200" dirty="0"/>
        </a:p>
      </dsp:txBody>
      <dsp:txXfrm rot="10800000">
        <a:off x="5286580" y="2747620"/>
        <a:ext cx="4233892" cy="32549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0009CB-989B-4CBD-BF6B-CAFDD5091B6B}">
      <dsp:nvSpPr>
        <dsp:cNvPr id="0" name=""/>
        <dsp:cNvSpPr/>
      </dsp:nvSpPr>
      <dsp:spPr>
        <a:xfrm>
          <a:off x="4722" y="0"/>
          <a:ext cx="1463870" cy="863020"/>
        </a:xfrm>
        <a:prstGeom prst="roundRect">
          <a:avLst>
            <a:gd name="adj" fmla="val 10000"/>
          </a:avLst>
        </a:prstGeom>
        <a:solidFill>
          <a:srgbClr val="7DE8F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kern="1200">
              <a:solidFill>
                <a:schemeClr val="tx1"/>
              </a:solidFill>
            </a:rPr>
            <a:t>Designfase &amp; Pilot</a:t>
          </a:r>
        </a:p>
      </dsp:txBody>
      <dsp:txXfrm>
        <a:off x="29999" y="25277"/>
        <a:ext cx="1413316" cy="812466"/>
      </dsp:txXfrm>
    </dsp:sp>
    <dsp:sp modelId="{536F5129-7152-4321-934F-324E63FAA831}">
      <dsp:nvSpPr>
        <dsp:cNvPr id="0" name=""/>
        <dsp:cNvSpPr/>
      </dsp:nvSpPr>
      <dsp:spPr>
        <a:xfrm>
          <a:off x="1507626" y="221605"/>
          <a:ext cx="525046" cy="419808"/>
        </a:xfrm>
        <a:prstGeom prst="rightArrow">
          <a:avLst>
            <a:gd name="adj1" fmla="val 60000"/>
            <a:gd name="adj2" fmla="val 50000"/>
          </a:avLst>
        </a:prstGeom>
        <a:solidFill>
          <a:schemeClr val="accent2">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r>
            <a:rPr lang="da-DK" sz="900" b="0" kern="1200">
              <a:solidFill>
                <a:schemeClr val="tx1"/>
              </a:solidFill>
            </a:rPr>
            <a:t>1. </a:t>
          </a:r>
          <a:r>
            <a:rPr lang="da-DK" sz="900" b="0" kern="1200" err="1">
              <a:solidFill>
                <a:schemeClr val="tx1"/>
              </a:solidFill>
            </a:rPr>
            <a:t>dec</a:t>
          </a:r>
          <a:r>
            <a:rPr lang="da-DK" sz="900" b="0" kern="1200">
              <a:solidFill>
                <a:schemeClr val="tx1"/>
              </a:solidFill>
            </a:rPr>
            <a:t> 2025</a:t>
          </a:r>
        </a:p>
      </dsp:txBody>
      <dsp:txXfrm>
        <a:off x="1507626" y="305567"/>
        <a:ext cx="399104" cy="251884"/>
      </dsp:txXfrm>
    </dsp:sp>
    <dsp:sp modelId="{D10CDD97-59F6-4946-A966-89092288ABCB}">
      <dsp:nvSpPr>
        <dsp:cNvPr id="0" name=""/>
        <dsp:cNvSpPr/>
      </dsp:nvSpPr>
      <dsp:spPr>
        <a:xfrm>
          <a:off x="2054140" y="0"/>
          <a:ext cx="1463870" cy="863020"/>
        </a:xfrm>
        <a:prstGeom prst="roundRect">
          <a:avLst>
            <a:gd name="adj" fmla="val 10000"/>
          </a:avLst>
        </a:prstGeom>
        <a:solidFill>
          <a:schemeClr val="accent2">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kern="1200">
              <a:solidFill>
                <a:schemeClr val="tx1"/>
              </a:solidFill>
            </a:rPr>
            <a:t>Mellemfase</a:t>
          </a:r>
        </a:p>
      </dsp:txBody>
      <dsp:txXfrm>
        <a:off x="2079417" y="25277"/>
        <a:ext cx="1413316" cy="812466"/>
      </dsp:txXfrm>
    </dsp:sp>
    <dsp:sp modelId="{9678534A-E93A-4D76-8CFA-D718FDC9C484}">
      <dsp:nvSpPr>
        <dsp:cNvPr id="0" name=""/>
        <dsp:cNvSpPr/>
      </dsp:nvSpPr>
      <dsp:spPr>
        <a:xfrm>
          <a:off x="3544769" y="221640"/>
          <a:ext cx="549597" cy="419739"/>
        </a:xfrm>
        <a:prstGeom prst="rightArrow">
          <a:avLst>
            <a:gd name="adj1" fmla="val 60000"/>
            <a:gd name="adj2" fmla="val 50000"/>
          </a:avLst>
        </a:prstGeom>
        <a:solidFill>
          <a:schemeClr val="accent2">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r>
            <a:rPr lang="da-DK" sz="900" kern="1200">
              <a:solidFill>
                <a:schemeClr val="tx1"/>
              </a:solidFill>
            </a:rPr>
            <a:t>14. </a:t>
          </a:r>
          <a:r>
            <a:rPr lang="da-DK" sz="900" kern="1200" err="1">
              <a:solidFill>
                <a:schemeClr val="tx1"/>
              </a:solidFill>
            </a:rPr>
            <a:t>dec</a:t>
          </a:r>
          <a:r>
            <a:rPr lang="da-DK" sz="900" kern="1200">
              <a:solidFill>
                <a:schemeClr val="tx1"/>
              </a:solidFill>
            </a:rPr>
            <a:t> 2026</a:t>
          </a:r>
        </a:p>
      </dsp:txBody>
      <dsp:txXfrm>
        <a:off x="3544769" y="305588"/>
        <a:ext cx="423675" cy="251843"/>
      </dsp:txXfrm>
    </dsp:sp>
    <dsp:sp modelId="{B4C99192-5B32-425D-9A01-CAF76CA0FF88}">
      <dsp:nvSpPr>
        <dsp:cNvPr id="0" name=""/>
        <dsp:cNvSpPr/>
      </dsp:nvSpPr>
      <dsp:spPr>
        <a:xfrm>
          <a:off x="4103559" y="0"/>
          <a:ext cx="1463870" cy="863020"/>
        </a:xfrm>
        <a:prstGeom prst="roundRect">
          <a:avLst>
            <a:gd name="adj" fmla="val 10000"/>
          </a:avLst>
        </a:prstGeom>
        <a:solidFill>
          <a:schemeClr val="accent2">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solidFill>
                <a:schemeClr val="tx1"/>
              </a:solidFill>
            </a:rPr>
            <a:t>Forberedelsesfase</a:t>
          </a:r>
          <a:endParaRPr lang="da-DK" sz="1200" kern="1200"/>
        </a:p>
      </dsp:txBody>
      <dsp:txXfrm>
        <a:off x="4128836" y="25277"/>
        <a:ext cx="1413316" cy="812466"/>
      </dsp:txXfrm>
    </dsp:sp>
    <dsp:sp modelId="{464A31D3-8B96-4BFF-92F2-73778D16E67B}">
      <dsp:nvSpPr>
        <dsp:cNvPr id="0" name=""/>
        <dsp:cNvSpPr/>
      </dsp:nvSpPr>
      <dsp:spPr>
        <a:xfrm>
          <a:off x="5606187" y="220910"/>
          <a:ext cx="525598" cy="421198"/>
        </a:xfrm>
        <a:prstGeom prst="rightArrow">
          <a:avLst>
            <a:gd name="adj1" fmla="val 60000"/>
            <a:gd name="adj2" fmla="val 50000"/>
          </a:avLst>
        </a:prstGeom>
        <a:solidFill>
          <a:srgbClr val="75A353"/>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r>
            <a:rPr lang="da-DK" sz="900" kern="1200">
              <a:solidFill>
                <a:schemeClr val="tx1"/>
              </a:solidFill>
            </a:rPr>
            <a:t>1. april</a:t>
          </a:r>
          <a:br>
            <a:rPr lang="da-DK" sz="900" kern="1200">
              <a:solidFill>
                <a:schemeClr val="tx1"/>
              </a:solidFill>
            </a:rPr>
          </a:br>
          <a:r>
            <a:rPr lang="da-DK" sz="900" kern="1200">
              <a:solidFill>
                <a:schemeClr val="tx1"/>
              </a:solidFill>
            </a:rPr>
            <a:t>2027</a:t>
          </a:r>
        </a:p>
      </dsp:txBody>
      <dsp:txXfrm>
        <a:off x="5606187" y="305150"/>
        <a:ext cx="399239" cy="252718"/>
      </dsp:txXfrm>
    </dsp:sp>
    <dsp:sp modelId="{7FD8F07D-0E56-47D1-B513-B93D0619C3DE}">
      <dsp:nvSpPr>
        <dsp:cNvPr id="0" name=""/>
        <dsp:cNvSpPr/>
      </dsp:nvSpPr>
      <dsp:spPr>
        <a:xfrm>
          <a:off x="6152977" y="0"/>
          <a:ext cx="1463870" cy="863020"/>
        </a:xfrm>
        <a:prstGeom prst="roundRect">
          <a:avLst>
            <a:gd name="adj" fmla="val 10000"/>
          </a:avLst>
        </a:prstGeom>
        <a:solidFill>
          <a:srgbClr val="75A35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da-DK" sz="1400" kern="1200">
              <a:solidFill>
                <a:schemeClr val="tx1"/>
              </a:solidFill>
            </a:rPr>
            <a:t>Implementering</a:t>
          </a:r>
        </a:p>
      </dsp:txBody>
      <dsp:txXfrm>
        <a:off x="6178254" y="25277"/>
        <a:ext cx="1413316" cy="812466"/>
      </dsp:txXfrm>
    </dsp:sp>
    <dsp:sp modelId="{8D42C585-3CB7-4069-972A-F53FF19AE2B8}">
      <dsp:nvSpPr>
        <dsp:cNvPr id="0" name=""/>
        <dsp:cNvSpPr/>
      </dsp:nvSpPr>
      <dsp:spPr>
        <a:xfrm>
          <a:off x="7648334" y="220237"/>
          <a:ext cx="540141" cy="422545"/>
        </a:xfrm>
        <a:prstGeom prst="rightArrow">
          <a:avLst>
            <a:gd name="adj1" fmla="val 60000"/>
            <a:gd name="adj2" fmla="val 50000"/>
          </a:avLst>
        </a:prstGeom>
        <a:solidFill>
          <a:srgbClr val="CA6520"/>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r>
            <a:rPr lang="da-DK" sz="900" kern="1200">
              <a:solidFill>
                <a:schemeClr val="tx1"/>
              </a:solidFill>
            </a:rPr>
            <a:t>31. Mar 2028</a:t>
          </a:r>
        </a:p>
      </dsp:txBody>
      <dsp:txXfrm>
        <a:off x="7648334" y="304746"/>
        <a:ext cx="413378" cy="253527"/>
      </dsp:txXfrm>
    </dsp:sp>
    <dsp:sp modelId="{2A3B0FCC-2973-4171-A9C9-817D500E0ADB}">
      <dsp:nvSpPr>
        <dsp:cNvPr id="0" name=""/>
        <dsp:cNvSpPr/>
      </dsp:nvSpPr>
      <dsp:spPr>
        <a:xfrm>
          <a:off x="8202396" y="0"/>
          <a:ext cx="1463870" cy="863020"/>
        </a:xfrm>
        <a:prstGeom prst="roundRect">
          <a:avLst>
            <a:gd name="adj" fmla="val 10000"/>
          </a:avLst>
        </a:prstGeom>
        <a:solidFill>
          <a:srgbClr val="CA65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da-DK" sz="1200" kern="1200">
              <a:solidFill>
                <a:schemeClr val="tx1"/>
              </a:solidFill>
            </a:rPr>
            <a:t>Konsolidering af fuld overdragelse til drift</a:t>
          </a:r>
        </a:p>
      </dsp:txBody>
      <dsp:txXfrm>
        <a:off x="8227673" y="25277"/>
        <a:ext cx="1413316" cy="8124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C890FC-3094-4CE9-AFE9-05F41D3EE528}">
      <dsp:nvSpPr>
        <dsp:cNvPr id="0" name=""/>
        <dsp:cNvSpPr/>
      </dsp:nvSpPr>
      <dsp:spPr>
        <a:xfrm>
          <a:off x="1348597" y="0"/>
          <a:ext cx="5418667" cy="5418667"/>
        </a:xfrm>
        <a:prstGeom prst="ellipse">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a-DK" sz="1400" kern="1200" dirty="0"/>
            <a:t>Alle brugere</a:t>
          </a:r>
        </a:p>
      </dsp:txBody>
      <dsp:txXfrm>
        <a:off x="3041931" y="270933"/>
        <a:ext cx="2032000" cy="541866"/>
      </dsp:txXfrm>
    </dsp:sp>
    <dsp:sp modelId="{70B522C3-D924-43DA-8AB9-8A390A3A7BB7}">
      <dsp:nvSpPr>
        <dsp:cNvPr id="0" name=""/>
        <dsp:cNvSpPr/>
      </dsp:nvSpPr>
      <dsp:spPr>
        <a:xfrm>
          <a:off x="1761066" y="812800"/>
          <a:ext cx="4605866" cy="4605866"/>
        </a:xfrm>
        <a:prstGeom prst="ellipse">
          <a:avLst/>
        </a:prstGeom>
        <a:solidFill>
          <a:schemeClr val="accent2">
            <a:shade val="80000"/>
            <a:hueOff val="70918"/>
            <a:satOff val="-3658"/>
            <a:lumOff val="70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a-DK" sz="1400" kern="1200" dirty="0"/>
            <a:t>Lokale backinggrupper</a:t>
          </a:r>
        </a:p>
      </dsp:txBody>
      <dsp:txXfrm>
        <a:off x="3070859" y="1077637"/>
        <a:ext cx="1986280" cy="529674"/>
      </dsp:txXfrm>
    </dsp:sp>
    <dsp:sp modelId="{CE366FE1-253B-4E35-BD2E-7E7482A56C7E}">
      <dsp:nvSpPr>
        <dsp:cNvPr id="0" name=""/>
        <dsp:cNvSpPr/>
      </dsp:nvSpPr>
      <dsp:spPr>
        <a:xfrm>
          <a:off x="2167466" y="1625600"/>
          <a:ext cx="3793066" cy="3793066"/>
        </a:xfrm>
        <a:prstGeom prst="ellipse">
          <a:avLst/>
        </a:prstGeom>
        <a:solidFill>
          <a:schemeClr val="accent2">
            <a:shade val="80000"/>
            <a:hueOff val="141837"/>
            <a:satOff val="-7315"/>
            <a:lumOff val="1418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a-DK" sz="1400" kern="1200" dirty="0"/>
            <a:t>Referencegruppe / procesgruppe</a:t>
          </a:r>
        </a:p>
      </dsp:txBody>
      <dsp:txXfrm>
        <a:off x="3082543" y="1887321"/>
        <a:ext cx="1962912" cy="523443"/>
      </dsp:txXfrm>
    </dsp:sp>
    <dsp:sp modelId="{CDDBCDA1-4AB4-443A-BC3A-46D6AA3803A7}">
      <dsp:nvSpPr>
        <dsp:cNvPr id="0" name=""/>
        <dsp:cNvSpPr/>
      </dsp:nvSpPr>
      <dsp:spPr>
        <a:xfrm>
          <a:off x="2573866" y="2438400"/>
          <a:ext cx="2980266" cy="2980266"/>
        </a:xfrm>
        <a:prstGeom prst="ellipse">
          <a:avLst/>
        </a:prstGeom>
        <a:solidFill>
          <a:schemeClr val="accent2">
            <a:shade val="80000"/>
            <a:hueOff val="212755"/>
            <a:satOff val="-10973"/>
            <a:lumOff val="2128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a-DK" sz="1400" kern="1200" dirty="0"/>
            <a:t>Kernegruppe / PGR</a:t>
          </a:r>
        </a:p>
      </dsp:txBody>
      <dsp:txXfrm>
        <a:off x="3259327" y="2706624"/>
        <a:ext cx="1609344" cy="536448"/>
      </dsp:txXfrm>
    </dsp:sp>
    <dsp:sp modelId="{C4DDD809-A693-46EF-8153-872B3E9BAA35}">
      <dsp:nvSpPr>
        <dsp:cNvPr id="0" name=""/>
        <dsp:cNvSpPr/>
      </dsp:nvSpPr>
      <dsp:spPr>
        <a:xfrm>
          <a:off x="2980266" y="3251200"/>
          <a:ext cx="2167466" cy="2167466"/>
        </a:xfrm>
        <a:prstGeom prst="ellipse">
          <a:avLst/>
        </a:prstGeom>
        <a:solidFill>
          <a:schemeClr val="accent2">
            <a:shade val="80000"/>
            <a:hueOff val="283674"/>
            <a:satOff val="-14630"/>
            <a:lumOff val="2837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marL="0" lvl="0" indent="0" algn="ctr" defTabSz="622300">
            <a:lnSpc>
              <a:spcPct val="90000"/>
            </a:lnSpc>
            <a:spcBef>
              <a:spcPct val="0"/>
            </a:spcBef>
            <a:spcAft>
              <a:spcPct val="35000"/>
            </a:spcAft>
            <a:buNone/>
          </a:pPr>
          <a:r>
            <a:rPr lang="da-DK" sz="1400" kern="1200" dirty="0" err="1"/>
            <a:t>Sporleads</a:t>
          </a:r>
          <a:endParaRPr lang="da-DK" sz="1400" kern="1200" dirty="0"/>
        </a:p>
      </dsp:txBody>
      <dsp:txXfrm>
        <a:off x="3297684" y="3793066"/>
        <a:ext cx="1532630" cy="1083733"/>
      </dsp:txXfrm>
    </dsp:sp>
  </dsp:spTree>
</dsp:drawing>
</file>

<file path=ppt/diagrams/layout1.xml><?xml version="1.0" encoding="utf-8"?>
<dgm:layoutDef xmlns:dgm="http://schemas.openxmlformats.org/drawingml/2006/diagram" xmlns:a="http://schemas.openxmlformats.org/drawingml/2006/main" uniqueId="urn:microsoft.com/office/officeart/2005/8/layout/pList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a-D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B5A39E-6E2C-4E26-9075-C468A3153DEA}" type="datetimeFigureOut">
              <a:rPr lang="da-DK" smtClean="0"/>
              <a:t>02-05-2025</a:t>
            </a:fld>
            <a:endParaRPr lang="da-D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a-D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a-D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4EB149D-F904-4EF8-B8C8-E1C7872D6E7E}" type="slidenum">
              <a:rPr lang="da-DK" smtClean="0"/>
              <a:t>‹#›</a:t>
            </a:fld>
            <a:endParaRPr lang="da-DK"/>
          </a:p>
        </p:txBody>
      </p:sp>
    </p:spTree>
    <p:extLst>
      <p:ext uri="{BB962C8B-B14F-4D97-AF65-F5344CB8AC3E}">
        <p14:creationId xmlns:p14="http://schemas.microsoft.com/office/powerpoint/2010/main" val="10843735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28639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436F85-577F-4A92-A47F-D540A2BCC821}" type="slidenum">
              <a:rPr kumimoji="0" lang="en-GB"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6483300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773DA7-4053-250C-0460-EDF8BEE85C8D}"/>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A63F32F3-EBF9-84CD-D9E4-A54A7EFE3BC0}"/>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1E81C915-5FD9-93A4-3D80-17BEA1E1D264}"/>
              </a:ext>
            </a:extLst>
          </p:cNvPr>
          <p:cNvSpPr>
            <a:spLocks noGrp="1"/>
          </p:cNvSpPr>
          <p:nvPr>
            <p:ph type="body" idx="1"/>
          </p:nvPr>
        </p:nvSpPr>
        <p:spPr/>
        <p:txBody>
          <a:bodyPr/>
          <a:lstStyle/>
          <a:p>
            <a:endParaRPr lang="da-DK"/>
          </a:p>
        </p:txBody>
      </p:sp>
      <p:sp>
        <p:nvSpPr>
          <p:cNvPr id="4" name="Pladsholder til slidenummer 3">
            <a:extLst>
              <a:ext uri="{FF2B5EF4-FFF2-40B4-BE49-F238E27FC236}">
                <a16:creationId xmlns:a16="http://schemas.microsoft.com/office/drawing/2014/main" id="{A81472A6-D7E4-BDC0-51A2-4924859BEA1D}"/>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9F6A0A-BF80-46B7-ADF2-790C2A6F081E}" type="slidenum">
              <a:rPr kumimoji="0" lang="da-DK"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a-DK"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38596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DK"/>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8534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dirty="0">
                <a:cs typeface="Arial"/>
              </a:rPr>
              <a:t>Det greb der er foretaget i det nationale program er en samarbejdsstruktur hvor universiteterne arbejder konkret sammen ift. afklaring af de processer som NYT SIS skal bygges op omkring. Det bliver i regi af en række procesgrupper med ansvar for for hvert sit procesområde.</a:t>
            </a:r>
          </a:p>
          <a:p>
            <a:endParaRPr lang="da-DK" dirty="0">
              <a:cs typeface="Arial"/>
            </a:endParaRPr>
          </a:p>
          <a:p>
            <a:r>
              <a:rPr lang="da-DK" dirty="0">
                <a:cs typeface="Arial"/>
              </a:rPr>
              <a:t>Det I ser på oversigten er, at der er etableret 7 procesgrupper (Opbyg uddannelse, optag, </a:t>
            </a:r>
            <a:r>
              <a:rPr lang="da-DK" dirty="0" err="1">
                <a:cs typeface="Arial"/>
              </a:rPr>
              <a:t>kommu</a:t>
            </a:r>
            <a:r>
              <a:rPr lang="da-DK" dirty="0">
                <a:cs typeface="Arial"/>
              </a:rPr>
              <a:t>.). </a:t>
            </a:r>
          </a:p>
          <a:p>
            <a:r>
              <a:rPr lang="da-DK" dirty="0">
                <a:cs typeface="Arial"/>
              </a:rPr>
              <a:t>Hver gruppe har ansvar på tværs af universiteterne for et procesområdet relateret til </a:t>
            </a:r>
            <a:r>
              <a:rPr lang="da-DK" dirty="0" err="1">
                <a:cs typeface="Arial"/>
              </a:rPr>
              <a:t>NytSIS</a:t>
            </a:r>
            <a:r>
              <a:rPr lang="da-DK" dirty="0">
                <a:cs typeface="Arial"/>
              </a:rPr>
              <a:t>. Alle universiteter har en faglig nøgleperson siddende som repræsentant i hver gruppe.</a:t>
            </a:r>
          </a:p>
          <a:p>
            <a:endParaRPr lang="da-DK" dirty="0">
              <a:cs typeface="Arial"/>
            </a:endParaRPr>
          </a:p>
          <a:p>
            <a:r>
              <a:rPr lang="da-DK" dirty="0">
                <a:cs typeface="Arial"/>
              </a:rPr>
              <a:t>Hvert universitet varetager procesejerskabet over ét af procesområderne, med mandat til på vegne af de andre universiteter at tage beslutninger.</a:t>
            </a:r>
          </a:p>
          <a:p>
            <a:r>
              <a:rPr lang="da-DK" dirty="0">
                <a:cs typeface="Arial"/>
              </a:rPr>
              <a:t>Procesejerne er enten studiechefer eller </a:t>
            </a:r>
            <a:r>
              <a:rPr lang="da-DK" dirty="0" err="1">
                <a:cs typeface="Arial"/>
              </a:rPr>
              <a:t>udd</a:t>
            </a:r>
            <a:r>
              <a:rPr lang="da-DK" dirty="0">
                <a:cs typeface="Arial"/>
              </a:rPr>
              <a:t>. Direktører. SDU er procesejer på opbyg uddannelser og her sad Annette Lund som studiechef og er nu erstattet af konstitueret studiechef SHH.</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09F6A0A-BF80-46B7-ADF2-790C2A6F081E}" type="slidenum">
              <a:rPr kumimoji="0" lang="da-DK"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da-DK"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526666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aria og M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ette fortæller om Nationale procesgruppe og </a:t>
            </a:r>
            <a:r>
              <a:rPr lang="da-DK" dirty="0" err="1"/>
              <a:t>governance</a:t>
            </a:r>
            <a:r>
              <a:rPr lang="da-DK" dirty="0"/>
              <a:t> + PGR Y og X roller</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aria fortæller om SDU procesgruppernes fokusområder og </a:t>
            </a:r>
            <a:r>
              <a:rPr lang="da-DK" dirty="0" err="1"/>
              <a:t>governance</a:t>
            </a: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ette:</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Gennem hele programmet er PGRY organisatorisk tilknyttet til en procesgruppe, hvor PGRY indgår som medlem, og refererer fagligt til procesejer ift. varetagelse af  P.O. opgaver ift. procesområdet på vegne af procesgruppen</a:t>
            </a:r>
          </a:p>
          <a:p>
            <a:endParaRPr lang="da-DK" dirty="0"/>
          </a:p>
          <a:p>
            <a:pPr algn="l"/>
            <a:r>
              <a:rPr lang="da-DK" dirty="0"/>
              <a:t>Organisering af PGRY arbejdet, tværgående koordinering ift. leverancer relateret til user cases mv., metode og processer for PGRY arbejdet samt og rollemæssig kapabilitetsopbygning ift. Nyt SIS sker via PGRY teamet i regi af programmet. </a:t>
            </a:r>
          </a:p>
          <a:p>
            <a:endParaRPr lang="da-DK" dirty="0"/>
          </a:p>
          <a:p>
            <a:r>
              <a:rPr lang="da-DK" dirty="0"/>
              <a:t>Maria:</a:t>
            </a:r>
          </a:p>
          <a:p>
            <a:r>
              <a:rPr lang="da-DK" dirty="0"/>
              <a:t>Procesejer for hver grupper – hver procesejer er også faglig repræsentant i de nationale grupper – Julie procesejer i PG1 er faglige </a:t>
            </a:r>
            <a:r>
              <a:rPr lang="da-DK" dirty="0" err="1"/>
              <a:t>repræ</a:t>
            </a:r>
            <a:r>
              <a:rPr lang="da-DK" dirty="0"/>
              <a:t>. I nationale procesgruppe – Karoline osv..</a:t>
            </a:r>
          </a:p>
          <a:p>
            <a:r>
              <a:rPr lang="da-DK" dirty="0"/>
              <a:t>Alle procesejere sidder i operationel styregruppe, </a:t>
            </a:r>
            <a:r>
              <a:rPr lang="da-DK" dirty="0" err="1"/>
              <a:t>dvs</a:t>
            </a:r>
            <a:r>
              <a:rPr lang="da-DK" dirty="0"/>
              <a:t> her sikres den tværgående </a:t>
            </a:r>
            <a:r>
              <a:rPr lang="da-DK" dirty="0" err="1"/>
              <a:t>videnopsamling</a:t>
            </a:r>
            <a:r>
              <a:rPr lang="da-DK" dirty="0"/>
              <a:t>.</a:t>
            </a:r>
          </a:p>
          <a:p>
            <a:r>
              <a:rPr lang="da-DK" dirty="0"/>
              <a:t>Gruppens arbejde er fokuseret på den lokale implementering, men vil også fungere som referencegruppe til spørgsmål i de nationale grupper</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39AD2F-EA6B-4495-B2DD-9D2AEAF106D3}" type="slidenum">
              <a:rPr kumimoji="0" lang="da-DK"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a-DK"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403731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aria og Mette</a:t>
            </a:r>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ette fortæller om Nationale procesgruppe og </a:t>
            </a:r>
            <a:r>
              <a:rPr lang="da-DK" dirty="0" err="1"/>
              <a:t>governance</a:t>
            </a:r>
            <a:r>
              <a:rPr lang="da-DK" dirty="0"/>
              <a:t> + PGR Y og X roller</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aria fortæller om SDU procesgruppernes fokusområder og </a:t>
            </a:r>
            <a:r>
              <a:rPr lang="da-DK" dirty="0" err="1"/>
              <a:t>governance</a:t>
            </a: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a-DK" dirty="0"/>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Mette:</a:t>
            </a:r>
          </a:p>
          <a:p>
            <a:pPr marL="0" marR="0" lvl="0" indent="0" algn="l" defTabSz="914400" rtl="0" eaLnBrk="1" fontAlgn="auto" latinLnBrk="0" hangingPunct="1">
              <a:lnSpc>
                <a:spcPct val="100000"/>
              </a:lnSpc>
              <a:spcBef>
                <a:spcPts val="0"/>
              </a:spcBef>
              <a:spcAft>
                <a:spcPts val="0"/>
              </a:spcAft>
              <a:buClrTx/>
              <a:buSzTx/>
              <a:buFontTx/>
              <a:buNone/>
              <a:tabLst/>
              <a:defRPr/>
            </a:pPr>
            <a:r>
              <a:rPr lang="da-DK" dirty="0"/>
              <a:t>Gennem hele programmet er PGRY organisatorisk tilknyttet til en procesgruppe, hvor PGRY indgår som medlem, og refererer fagligt til procesejer ift. varetagelse af  P.O. opgaver ift. procesområdet på vegne af procesgruppen</a:t>
            </a:r>
          </a:p>
          <a:p>
            <a:endParaRPr lang="da-DK" dirty="0"/>
          </a:p>
          <a:p>
            <a:pPr algn="l"/>
            <a:r>
              <a:rPr lang="da-DK" dirty="0"/>
              <a:t>Organisering af PGRY arbejdet, tværgående koordinering ift. leverancer relateret til user cases mv., metode og processer for PGRY arbejdet samt og rollemæssig kapabilitetsopbygning ift. Nyt SIS sker via PGRY teamet i regi af programmet. </a:t>
            </a:r>
          </a:p>
          <a:p>
            <a:endParaRPr lang="da-DK" dirty="0"/>
          </a:p>
          <a:p>
            <a:r>
              <a:rPr lang="da-DK" dirty="0"/>
              <a:t>Maria:</a:t>
            </a:r>
          </a:p>
          <a:p>
            <a:r>
              <a:rPr lang="da-DK" dirty="0"/>
              <a:t>Procesejer for hver grupper – hver procesejer er også faglig repræsentant i de nationale grupper – Julie procesejer i PG1 er faglige </a:t>
            </a:r>
            <a:r>
              <a:rPr lang="da-DK" dirty="0" err="1"/>
              <a:t>repræ</a:t>
            </a:r>
            <a:r>
              <a:rPr lang="da-DK" dirty="0"/>
              <a:t>. I nationale procesgruppe – Karoline osv..</a:t>
            </a:r>
          </a:p>
          <a:p>
            <a:r>
              <a:rPr lang="da-DK" dirty="0"/>
              <a:t>Alle procesejere sidder i operationel styregruppe, </a:t>
            </a:r>
            <a:r>
              <a:rPr lang="da-DK" dirty="0" err="1"/>
              <a:t>dvs</a:t>
            </a:r>
            <a:r>
              <a:rPr lang="da-DK" dirty="0"/>
              <a:t> her sikres den tværgående </a:t>
            </a:r>
            <a:r>
              <a:rPr lang="da-DK" dirty="0" err="1"/>
              <a:t>videnopsamling</a:t>
            </a:r>
            <a:r>
              <a:rPr lang="da-DK" dirty="0"/>
              <a:t>.</a:t>
            </a:r>
          </a:p>
          <a:p>
            <a:r>
              <a:rPr lang="da-DK" dirty="0"/>
              <a:t>Gruppens arbejde er fokuseret på den lokale implementering, men vil også fungere som referencegruppe til spørgsmål i de nationale grupper</a:t>
            </a:r>
          </a:p>
        </p:txBody>
      </p:sp>
      <p:sp>
        <p:nvSpPr>
          <p:cNvPr id="4" name="Pladsholder til sli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39AD2F-EA6B-4495-B2DD-9D2AEAF106D3}" type="slidenum">
              <a:rPr kumimoji="0" lang="da-DK"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a-DK"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4977421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7.xml"/><Relationship Id="rId1" Type="http://schemas.openxmlformats.org/officeDocument/2006/relationships/tags" Target="../tags/tag3.xml"/><Relationship Id="rId4" Type="http://schemas.openxmlformats.org/officeDocument/2006/relationships/image" Target="../media/image2.emf"/></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2.xml"/><Relationship Id="rId4"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Sort forsid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BBCAF46D-9983-4AEE-9B8A-24654CDEDDB0}"/>
              </a:ext>
            </a:extLst>
          </p:cNvPr>
          <p:cNvSpPr/>
          <p:nvPr userDrawn="1"/>
        </p:nvSpPr>
        <p:spPr>
          <a:xfrm>
            <a:off x="0" y="0"/>
            <a:ext cx="1218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err="1"/>
          </a:p>
        </p:txBody>
      </p:sp>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bg1"/>
                </a:solidFill>
              </a:defRPr>
            </a:lvl1pPr>
          </a:lstStyle>
          <a:p>
            <a:r>
              <a:rPr lang="da-DK"/>
              <a:t>Klik for at tilføje overskrift</a:t>
            </a:r>
          </a:p>
        </p:txBody>
      </p:sp>
      <p:sp>
        <p:nvSpPr>
          <p:cNvPr id="19" name="text" descr="{&quot;templafy&quot;:{&quot;id&quot;:&quot;625e59af-0af1-42f8-9708-9f97431f1a16&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solidFill>
                  <a:schemeClr val="bg1"/>
                </a:solidFill>
              </a:rPr>
              <a:t>SDU SIS</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cxnSp>
        <p:nvCxnSpPr>
          <p:cNvPr id="12" name="Straight Connector 11">
            <a:extLst>
              <a:ext uri="{FF2B5EF4-FFF2-40B4-BE49-F238E27FC236}">
                <a16:creationId xmlns:a16="http://schemas.microsoft.com/office/drawing/2014/main" id="{0C739632-1CD3-47C1-98D9-4B1B2253C7C9}"/>
              </a:ext>
            </a:extLst>
          </p:cNvPr>
          <p:cNvCxnSpPr>
            <a:cxnSpLocks/>
          </p:cNvCxnSpPr>
          <p:nvPr userDrawn="1"/>
        </p:nvCxnSpPr>
        <p:spPr>
          <a:xfrm>
            <a:off x="410400" y="715665"/>
            <a:ext cx="69921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date" descr="{&quot;templafy&quot;:{&quot;id&quot;:&quot;6a23ad53-0fd3-41b1-9f5b-f5f96ba0309b&quot;}}" title="Form.Date">
            <a:extLst>
              <a:ext uri="{FF2B5EF4-FFF2-40B4-BE49-F238E27FC236}">
                <a16:creationId xmlns:a16="http://schemas.microsoft.com/office/drawing/2014/main" id="{10301B40-E355-4D99-B296-A15FB5BC3A4C}"/>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a:solidFill>
                  <a:schemeClr val="bg1"/>
                </a:solidFill>
              </a:rPr>
              <a:t> 2025</a:t>
            </a:r>
          </a:p>
        </p:txBody>
      </p:sp>
      <p:sp>
        <p:nvSpPr>
          <p:cNvPr id="11" name="Date Placeholder 14">
            <a:extLst>
              <a:ext uri="{FF2B5EF4-FFF2-40B4-BE49-F238E27FC236}">
                <a16:creationId xmlns:a16="http://schemas.microsoft.com/office/drawing/2014/main" id="{D4E1389B-CA3B-4709-956D-F396D960BBC8}"/>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2-05-2025</a:t>
            </a:fld>
            <a:endParaRPr lang="da-DK"/>
          </a:p>
        </p:txBody>
      </p:sp>
      <p:sp>
        <p:nvSpPr>
          <p:cNvPr id="14" name="Date Placeholder 14">
            <a:extLst>
              <a:ext uri="{FF2B5EF4-FFF2-40B4-BE49-F238E27FC236}">
                <a16:creationId xmlns:a16="http://schemas.microsoft.com/office/drawing/2014/main" id="{8A94F1C1-AE36-4BBA-B958-8FC614A9472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Tree>
    <p:extLst>
      <p:ext uri="{BB962C8B-B14F-4D97-AF65-F5344CB8AC3E}">
        <p14:creationId xmlns:p14="http://schemas.microsoft.com/office/powerpoint/2010/main" val="26873017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Billede og indhold">
    <p:spTree>
      <p:nvGrpSpPr>
        <p:cNvPr id="1" name=""/>
        <p:cNvGrpSpPr/>
        <p:nvPr/>
      </p:nvGrpSpPr>
      <p:grpSpPr>
        <a:xfrm>
          <a:off x="0" y="0"/>
          <a:ext cx="0" cy="0"/>
          <a:chOff x="0" y="0"/>
          <a:chExt cx="0" cy="0"/>
        </a:xfrm>
      </p:grpSpPr>
      <p:sp>
        <p:nvSpPr>
          <p:cNvPr id="10" name="Pladsholder til billede 3"/>
          <p:cNvSpPr>
            <a:spLocks noGrp="1"/>
          </p:cNvSpPr>
          <p:nvPr>
            <p:ph type="pic" sz="quarter" idx="13" hasCustomPrompt="1"/>
          </p:nvPr>
        </p:nvSpPr>
        <p:spPr>
          <a:xfrm>
            <a:off x="0" y="0"/>
            <a:ext cx="6099300" cy="6858000"/>
          </a:xfrm>
          <a:solidFill>
            <a:schemeClr val="bg1"/>
          </a:solidFill>
        </p:spPr>
        <p:txBody>
          <a:bodyPr/>
          <a:lstStyle>
            <a:lvl1pPr marL="0" indent="0" algn="ctr">
              <a:buNone/>
              <a:defRPr sz="1200"/>
            </a:lvl1pPr>
          </a:lstStyle>
          <a:p>
            <a:r>
              <a:rPr lang="da-DK"/>
              <a:t>Vælg pladsholderen og indsæt billede via Templafy/Skyfish eller ikon eller logo via Templafy/Billeder</a:t>
            </a:r>
          </a:p>
        </p:txBody>
      </p:sp>
      <p:sp>
        <p:nvSpPr>
          <p:cNvPr id="8" name="Titel 1"/>
          <p:cNvSpPr>
            <a:spLocks noGrp="1"/>
          </p:cNvSpPr>
          <p:nvPr>
            <p:ph type="title" hasCustomPrompt="1"/>
          </p:nvPr>
        </p:nvSpPr>
        <p:spPr>
          <a:xfrm>
            <a:off x="6692401" y="1076109"/>
            <a:ext cx="4680000" cy="1822734"/>
          </a:xfrm>
        </p:spPr>
        <p:txBody>
          <a:bodyPr/>
          <a:lstStyle>
            <a:lvl1pPr>
              <a:defRPr/>
            </a:lvl1pPr>
          </a:lstStyle>
          <a:p>
            <a:r>
              <a:rPr lang="da-DK"/>
              <a:t>Klik for at tilføje overskrift, maksimalt 3 linjer</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692400"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text" descr="{&quot;templafy&quot;:{&quot;id&quot;:&quot;7dfbda98-fd3b-47f6-906d-39947fb1b234&quot;}}" title="UserProfile.Institut.InstituteDCU_{{DocumentLanguage}}">
            <a:extLst>
              <a:ext uri="{FF2B5EF4-FFF2-40B4-BE49-F238E27FC236}">
                <a16:creationId xmlns:a16="http://schemas.microsoft.com/office/drawing/2014/main" id="{060969B2-E177-4704-95D4-119A98BB90C5}"/>
              </a:ext>
            </a:extLst>
          </p:cNvPr>
          <p:cNvSpPr txBox="1">
            <a:spLocks/>
          </p:cNvSpPr>
          <p:nvPr userDrawn="1"/>
        </p:nvSpPr>
        <p:spPr>
          <a:xfrm>
            <a:off x="6692400" y="249585"/>
            <a:ext cx="4680000" cy="478677"/>
          </a:xfrm>
          <a:prstGeom prst="rect">
            <a:avLst/>
          </a:prstGeom>
          <a:noFill/>
        </p:spPr>
        <p:txBody>
          <a:bodyPr wrap="square" lIns="1080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8" name="Straight Connector 17">
            <a:extLst>
              <a:ext uri="{FF2B5EF4-FFF2-40B4-BE49-F238E27FC236}">
                <a16:creationId xmlns:a16="http://schemas.microsoft.com/office/drawing/2014/main" id="{B68D6574-D545-4AC1-804C-76EBF3BEC544}"/>
              </a:ext>
            </a:extLst>
          </p:cNvPr>
          <p:cNvCxnSpPr>
            <a:cxnSpLocks/>
          </p:cNvCxnSpPr>
          <p:nvPr userDrawn="1"/>
        </p:nvCxnSpPr>
        <p:spPr>
          <a:xfrm>
            <a:off x="6691637"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e" descr="{&quot;templafy&quot;:{&quot;id&quot;:&quot;ea6d2255-9531-478e-9e48-a9ad84cf4859&quot;}}" title="Form.Date">
            <a:extLst>
              <a:ext uri="{FF2B5EF4-FFF2-40B4-BE49-F238E27FC236}">
                <a16:creationId xmlns:a16="http://schemas.microsoft.com/office/drawing/2014/main" id="{38150A77-BE4E-404D-B314-A1C41C791C1B}"/>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a:solidFill>
                  <a:schemeClr val="tx1"/>
                </a:solidFill>
              </a:rPr>
              <a:t>2025</a:t>
            </a:r>
          </a:p>
        </p:txBody>
      </p:sp>
      <p:pic>
        <p:nvPicPr>
          <p:cNvPr id="20" name="Logo black">
            <a:extLst>
              <a:ext uri="{FF2B5EF4-FFF2-40B4-BE49-F238E27FC236}">
                <a16:creationId xmlns:a16="http://schemas.microsoft.com/office/drawing/2014/main" id="{1421C492-A651-4EE4-BB8B-C6886E7B5C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92400" y="6294893"/>
            <a:ext cx="784800" cy="211840"/>
          </a:xfrm>
          <a:prstGeom prst="rect">
            <a:avLst/>
          </a:prstGeom>
        </p:spPr>
      </p:pic>
      <p:sp>
        <p:nvSpPr>
          <p:cNvPr id="30" name="Date Placeholder 14">
            <a:extLst>
              <a:ext uri="{FF2B5EF4-FFF2-40B4-BE49-F238E27FC236}">
                <a16:creationId xmlns:a16="http://schemas.microsoft.com/office/drawing/2014/main" id="{2C4B35A0-F8F7-420F-9E06-CC0AAAA0B84F}"/>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22" name="TextBox 21">
            <a:extLst>
              <a:ext uri="{FF2B5EF4-FFF2-40B4-BE49-F238E27FC236}">
                <a16:creationId xmlns:a16="http://schemas.microsoft.com/office/drawing/2014/main" id="{7C94981C-CC58-4018-9B19-5053EFA6B6A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31129986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Indhold og teks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92202" y="1006605"/>
            <a:ext cx="4680000" cy="1938338"/>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5" name="Text Placeholder 4">
            <a:extLst>
              <a:ext uri="{FF2B5EF4-FFF2-40B4-BE49-F238E27FC236}">
                <a16:creationId xmlns:a16="http://schemas.microsoft.com/office/drawing/2014/main" id="{BCB99C08-64C3-4ADA-9CD2-FBE2ED8551F6}"/>
              </a:ext>
            </a:extLst>
          </p:cNvPr>
          <p:cNvSpPr>
            <a:spLocks noGrp="1"/>
          </p:cNvSpPr>
          <p:nvPr>
            <p:ph type="body" sz="quarter" idx="13"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9" name="text" descr="{&quot;templafy&quot;:{&quot;id&quot;:&quot;65556a86-d746-4687-a0d7-2a9534b12547&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2" name="Straight Connector 11">
            <a:extLst>
              <a:ext uri="{FF2B5EF4-FFF2-40B4-BE49-F238E27FC236}">
                <a16:creationId xmlns:a16="http://schemas.microsoft.com/office/drawing/2014/main" id="{ECEA2A3A-0B73-49AA-824B-85FAE9B16B10}"/>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e" descr="{&quot;templafy&quot;:{&quot;id&quot;:&quot;238ce84f-c437-42e2-9186-cc2a0b3d944a&quot;}}" title="Form.Date">
            <a:extLst>
              <a:ext uri="{FF2B5EF4-FFF2-40B4-BE49-F238E27FC236}">
                <a16:creationId xmlns:a16="http://schemas.microsoft.com/office/drawing/2014/main" id="{6189AE65-D68D-4102-AA1D-2A3BCB6F21BF}"/>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4</a:t>
            </a:r>
          </a:p>
        </p:txBody>
      </p:sp>
      <p:pic>
        <p:nvPicPr>
          <p:cNvPr id="16" name="Logo black">
            <a:extLst>
              <a:ext uri="{FF2B5EF4-FFF2-40B4-BE49-F238E27FC236}">
                <a16:creationId xmlns:a16="http://schemas.microsoft.com/office/drawing/2014/main" id="{B52757AD-346A-4AA0-A5D6-36F8B1FE48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8" name="Date Placeholder 14">
            <a:extLst>
              <a:ext uri="{FF2B5EF4-FFF2-40B4-BE49-F238E27FC236}">
                <a16:creationId xmlns:a16="http://schemas.microsoft.com/office/drawing/2014/main" id="{A09FC7B4-885C-4F9D-BD71-AE2FBDB3869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6" name="Content Placeholder 5">
            <a:extLst>
              <a:ext uri="{FF2B5EF4-FFF2-40B4-BE49-F238E27FC236}">
                <a16:creationId xmlns:a16="http://schemas.microsoft.com/office/drawing/2014/main" id="{2B8FEE58-0FE9-4218-904C-188D46CD214D}"/>
              </a:ext>
            </a:extLst>
          </p:cNvPr>
          <p:cNvSpPr>
            <a:spLocks noGrp="1"/>
          </p:cNvSpPr>
          <p:nvPr>
            <p:ph sz="quarter" idx="15" hasCustomPrompt="1"/>
          </p:nvPr>
        </p:nvSpPr>
        <p:spPr>
          <a:xfrm>
            <a:off x="422432" y="1000443"/>
            <a:ext cx="5077365" cy="4853157"/>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Date Placeholder 12">
            <a:extLst>
              <a:ext uri="{FF2B5EF4-FFF2-40B4-BE49-F238E27FC236}">
                <a16:creationId xmlns:a16="http://schemas.microsoft.com/office/drawing/2014/main" id="{3F302217-B569-449A-8422-B6650C9BB084}"/>
              </a:ext>
            </a:extLst>
          </p:cNvPr>
          <p:cNvSpPr>
            <a:spLocks noGrp="1"/>
          </p:cNvSpPr>
          <p:nvPr>
            <p:ph type="dt" sz="half" idx="16"/>
          </p:nvPr>
        </p:nvSpPr>
        <p:spPr/>
        <p:txBody>
          <a:bodyPr/>
          <a:lstStyle/>
          <a:p>
            <a:fld id="{F1A13B18-F5ED-4611-8DBB-F05123AFBA22}" type="datetimeFigureOut">
              <a:rPr lang="da-DK" smtClean="0"/>
              <a:pPr/>
              <a:t>08-05-2025</a:t>
            </a:fld>
            <a:endParaRPr lang="da-DK"/>
          </a:p>
        </p:txBody>
      </p:sp>
      <p:sp>
        <p:nvSpPr>
          <p:cNvPr id="14" name="Footer Placeholder 13">
            <a:extLst>
              <a:ext uri="{FF2B5EF4-FFF2-40B4-BE49-F238E27FC236}">
                <a16:creationId xmlns:a16="http://schemas.microsoft.com/office/drawing/2014/main" id="{DF36464C-AEF7-4BFD-9A97-813102BCA484}"/>
              </a:ext>
            </a:extLst>
          </p:cNvPr>
          <p:cNvSpPr>
            <a:spLocks noGrp="1"/>
          </p:cNvSpPr>
          <p:nvPr>
            <p:ph type="ftr" sz="quarter" idx="17"/>
          </p:nvPr>
        </p:nvSpPr>
        <p:spPr/>
        <p:txBody>
          <a:bodyPr/>
          <a:lstStyle/>
          <a:p>
            <a:endParaRPr lang="da-DK"/>
          </a:p>
        </p:txBody>
      </p:sp>
      <p:sp>
        <p:nvSpPr>
          <p:cNvPr id="24" name="Slide Number Placeholder 23">
            <a:extLst>
              <a:ext uri="{FF2B5EF4-FFF2-40B4-BE49-F238E27FC236}">
                <a16:creationId xmlns:a16="http://schemas.microsoft.com/office/drawing/2014/main" id="{58D7263E-B2E5-4CB9-9AAF-C0006E4A0400}"/>
              </a:ext>
            </a:extLst>
          </p:cNvPr>
          <p:cNvSpPr>
            <a:spLocks noGrp="1"/>
          </p:cNvSpPr>
          <p:nvPr>
            <p:ph type="sldNum" sz="quarter" idx="18"/>
          </p:nvPr>
        </p:nvSpPr>
        <p:spPr/>
        <p:txBody>
          <a:bodyPr/>
          <a:lstStyle/>
          <a:p>
            <a:fld id="{45D37B1E-C366-494F-A587-962AD9AABC83}" type="slidenum">
              <a:rPr lang="da-DK" smtClean="0"/>
              <a:pPr/>
              <a:t>‹#›</a:t>
            </a:fld>
            <a:endParaRPr lang="da-DK"/>
          </a:p>
        </p:txBody>
      </p:sp>
      <p:sp>
        <p:nvSpPr>
          <p:cNvPr id="17" name="TextBox 16">
            <a:extLst>
              <a:ext uri="{FF2B5EF4-FFF2-40B4-BE49-F238E27FC236}">
                <a16:creationId xmlns:a16="http://schemas.microsoft.com/office/drawing/2014/main" id="{1BBAA208-28D6-470D-B539-73F9AC20E86C}"/>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9873192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B9A67-E62D-400C-BC42-A3A96AAED25F}"/>
              </a:ext>
            </a:extLst>
          </p:cNvPr>
          <p:cNvSpPr>
            <a:spLocks noGrp="1"/>
          </p:cNvSpPr>
          <p:nvPr>
            <p:ph type="title" hasCustomPrompt="1"/>
          </p:nvPr>
        </p:nvSpPr>
        <p:spPr>
          <a:xfrm>
            <a:off x="410401" y="1028247"/>
            <a:ext cx="2502000" cy="432000"/>
          </a:xfrm>
        </p:spPr>
        <p:txBody>
          <a:bodyPr/>
          <a:lstStyle>
            <a:lvl1pPr>
              <a:lnSpc>
                <a:spcPct val="110000"/>
              </a:lnSpc>
              <a:defRPr sz="1200"/>
            </a:lvl1pPr>
          </a:lstStyle>
          <a:p>
            <a:r>
              <a:rPr lang="da-DK" noProof="0"/>
              <a:t>Klik for at tilføje underoverskrift</a:t>
            </a:r>
            <a:endParaRPr lang="da-DK"/>
          </a:p>
        </p:txBody>
      </p:sp>
      <p:sp>
        <p:nvSpPr>
          <p:cNvPr id="14" name="Content Placeholder 13">
            <a:extLst>
              <a:ext uri="{FF2B5EF4-FFF2-40B4-BE49-F238E27FC236}">
                <a16:creationId xmlns:a16="http://schemas.microsoft.com/office/drawing/2014/main" id="{E60E8CAC-51BD-4862-8B6E-BD3E315677C4}"/>
              </a:ext>
            </a:extLst>
          </p:cNvPr>
          <p:cNvSpPr>
            <a:spLocks noGrp="1"/>
          </p:cNvSpPr>
          <p:nvPr>
            <p:ph sz="quarter" idx="13" hasCustomPrompt="1"/>
          </p:nvPr>
        </p:nvSpPr>
        <p:spPr>
          <a:xfrm>
            <a:off x="411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5" name="Subtitle 2">
            <a:extLst>
              <a:ext uri="{FF2B5EF4-FFF2-40B4-BE49-F238E27FC236}">
                <a16:creationId xmlns:a16="http://schemas.microsoft.com/office/drawing/2014/main" id="{25135A09-8F8A-4D87-8C43-B3A0A80BE2F5}"/>
              </a:ext>
            </a:extLst>
          </p:cNvPr>
          <p:cNvSpPr>
            <a:spLocks noGrp="1"/>
          </p:cNvSpPr>
          <p:nvPr>
            <p:ph type="subTitle" idx="1" hasCustomPrompt="1"/>
          </p:nvPr>
        </p:nvSpPr>
        <p:spPr>
          <a:xfrm>
            <a:off x="3273164" y="1028246"/>
            <a:ext cx="2502000" cy="432000"/>
          </a:xfrm>
        </p:spPr>
        <p:txBody>
          <a:bodyPr/>
          <a:lstStyle>
            <a:lvl1pPr marL="0" indent="0" algn="l">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tilføje underoverskrift</a:t>
            </a:r>
            <a:endParaRPr lang="da-DK"/>
          </a:p>
        </p:txBody>
      </p:sp>
      <p:sp>
        <p:nvSpPr>
          <p:cNvPr id="17" name="Content Placeholder 16">
            <a:extLst>
              <a:ext uri="{FF2B5EF4-FFF2-40B4-BE49-F238E27FC236}">
                <a16:creationId xmlns:a16="http://schemas.microsoft.com/office/drawing/2014/main" id="{462D92C6-668E-491E-B394-72897FAB3085}"/>
              </a:ext>
            </a:extLst>
          </p:cNvPr>
          <p:cNvSpPr>
            <a:spLocks noGrp="1"/>
          </p:cNvSpPr>
          <p:nvPr>
            <p:ph sz="quarter" idx="14" hasCustomPrompt="1"/>
          </p:nvPr>
        </p:nvSpPr>
        <p:spPr>
          <a:xfrm>
            <a:off x="3273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9" name="Text Placeholder 18">
            <a:extLst>
              <a:ext uri="{FF2B5EF4-FFF2-40B4-BE49-F238E27FC236}">
                <a16:creationId xmlns:a16="http://schemas.microsoft.com/office/drawing/2014/main" id="{C0F1B1F1-CA40-4EA4-AB68-69DBBD61ED9D}"/>
              </a:ext>
            </a:extLst>
          </p:cNvPr>
          <p:cNvSpPr>
            <a:spLocks noGrp="1"/>
          </p:cNvSpPr>
          <p:nvPr>
            <p:ph type="body" sz="quarter" idx="15" hasCustomPrompt="1"/>
          </p:nvPr>
        </p:nvSpPr>
        <p:spPr>
          <a:xfrm>
            <a:off x="6135163" y="1028246"/>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1" name="Content Placeholder 20">
            <a:extLst>
              <a:ext uri="{FF2B5EF4-FFF2-40B4-BE49-F238E27FC236}">
                <a16:creationId xmlns:a16="http://schemas.microsoft.com/office/drawing/2014/main" id="{3DBEE0FF-2C0E-499E-ACAF-B6F421AF13D5}"/>
              </a:ext>
            </a:extLst>
          </p:cNvPr>
          <p:cNvSpPr>
            <a:spLocks noGrp="1"/>
          </p:cNvSpPr>
          <p:nvPr>
            <p:ph sz="quarter" idx="16" hasCustomPrompt="1"/>
          </p:nvPr>
        </p:nvSpPr>
        <p:spPr>
          <a:xfrm>
            <a:off x="6135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Text Placeholder 22">
            <a:extLst>
              <a:ext uri="{FF2B5EF4-FFF2-40B4-BE49-F238E27FC236}">
                <a16:creationId xmlns:a16="http://schemas.microsoft.com/office/drawing/2014/main" id="{F091117C-5AED-4416-88BA-F1C88ACD7A25}"/>
              </a:ext>
            </a:extLst>
          </p:cNvPr>
          <p:cNvSpPr>
            <a:spLocks noGrp="1"/>
          </p:cNvSpPr>
          <p:nvPr>
            <p:ph type="body" sz="quarter" idx="17" hasCustomPrompt="1"/>
          </p:nvPr>
        </p:nvSpPr>
        <p:spPr>
          <a:xfrm>
            <a:off x="8997162" y="1028247"/>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5" name="Content Placeholder 24">
            <a:extLst>
              <a:ext uri="{FF2B5EF4-FFF2-40B4-BE49-F238E27FC236}">
                <a16:creationId xmlns:a16="http://schemas.microsoft.com/office/drawing/2014/main" id="{C66F31E1-769E-4E9A-9DCC-2C64321A89C1}"/>
              </a:ext>
            </a:extLst>
          </p:cNvPr>
          <p:cNvSpPr>
            <a:spLocks noGrp="1"/>
          </p:cNvSpPr>
          <p:nvPr>
            <p:ph sz="quarter" idx="18" hasCustomPrompt="1"/>
          </p:nvPr>
        </p:nvSpPr>
        <p:spPr>
          <a:xfrm>
            <a:off x="8997161" y="1475354"/>
            <a:ext cx="2501999"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8" name="Date Placeholder 14">
            <a:extLst>
              <a:ext uri="{FF2B5EF4-FFF2-40B4-BE49-F238E27FC236}">
                <a16:creationId xmlns:a16="http://schemas.microsoft.com/office/drawing/2014/main" id="{1DCD95D8-07B6-42C0-8767-A640B7CA853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5" name="Date Placeholder 4">
            <a:extLst>
              <a:ext uri="{FF2B5EF4-FFF2-40B4-BE49-F238E27FC236}">
                <a16:creationId xmlns:a16="http://schemas.microsoft.com/office/drawing/2014/main" id="{8E588C40-671D-463C-8463-D77B96C28D88}"/>
              </a:ext>
            </a:extLst>
          </p:cNvPr>
          <p:cNvSpPr>
            <a:spLocks noGrp="1"/>
          </p:cNvSpPr>
          <p:nvPr>
            <p:ph type="dt" sz="half" idx="19"/>
          </p:nvPr>
        </p:nvSpPr>
        <p:spPr/>
        <p:txBody>
          <a:bodyPr/>
          <a:lstStyle/>
          <a:p>
            <a:fld id="{F1A13B18-F5ED-4611-8DBB-F05123AFBA22}" type="datetimeFigureOut">
              <a:rPr lang="da-DK" smtClean="0"/>
              <a:pPr/>
              <a:t>08-05-2025</a:t>
            </a:fld>
            <a:endParaRPr lang="da-DK"/>
          </a:p>
        </p:txBody>
      </p:sp>
      <p:sp>
        <p:nvSpPr>
          <p:cNvPr id="6" name="Footer Placeholder 5">
            <a:extLst>
              <a:ext uri="{FF2B5EF4-FFF2-40B4-BE49-F238E27FC236}">
                <a16:creationId xmlns:a16="http://schemas.microsoft.com/office/drawing/2014/main" id="{2846E2E0-2E23-491A-B165-353CDF3F79E2}"/>
              </a:ext>
            </a:extLst>
          </p:cNvPr>
          <p:cNvSpPr>
            <a:spLocks noGrp="1"/>
          </p:cNvSpPr>
          <p:nvPr>
            <p:ph type="ftr" sz="quarter" idx="20"/>
          </p:nvPr>
        </p:nvSpPr>
        <p:spPr/>
        <p:txBody>
          <a:bodyPr/>
          <a:lstStyle/>
          <a:p>
            <a:endParaRPr lang="da-DK"/>
          </a:p>
        </p:txBody>
      </p:sp>
      <p:sp>
        <p:nvSpPr>
          <p:cNvPr id="7" name="Slide Number Placeholder 6">
            <a:extLst>
              <a:ext uri="{FF2B5EF4-FFF2-40B4-BE49-F238E27FC236}">
                <a16:creationId xmlns:a16="http://schemas.microsoft.com/office/drawing/2014/main" id="{35B93800-6F51-413B-BA21-0A9967FF3386}"/>
              </a:ext>
            </a:extLst>
          </p:cNvPr>
          <p:cNvSpPr>
            <a:spLocks noGrp="1"/>
          </p:cNvSpPr>
          <p:nvPr>
            <p:ph type="sldNum" sz="quarter" idx="21"/>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81940843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Billede og indhold">
    <p:spTree>
      <p:nvGrpSpPr>
        <p:cNvPr id="1" name=""/>
        <p:cNvGrpSpPr/>
        <p:nvPr/>
      </p:nvGrpSpPr>
      <p:grpSpPr>
        <a:xfrm>
          <a:off x="0" y="0"/>
          <a:ext cx="0" cy="0"/>
          <a:chOff x="0" y="0"/>
          <a:chExt cx="0" cy="0"/>
        </a:xfrm>
      </p:grpSpPr>
      <p:sp>
        <p:nvSpPr>
          <p:cNvPr id="10" name="Pladsholder til billede 3"/>
          <p:cNvSpPr>
            <a:spLocks noGrp="1"/>
          </p:cNvSpPr>
          <p:nvPr>
            <p:ph type="pic" sz="quarter" idx="13" hasCustomPrompt="1"/>
          </p:nvPr>
        </p:nvSpPr>
        <p:spPr>
          <a:xfrm>
            <a:off x="0" y="0"/>
            <a:ext cx="6099300" cy="6858000"/>
          </a:xfrm>
          <a:solidFill>
            <a:schemeClr val="bg1"/>
          </a:solidFill>
        </p:spPr>
        <p:txBody>
          <a:bodyPr/>
          <a:lstStyle>
            <a:lvl1pPr marL="0" indent="0" algn="ctr">
              <a:buNone/>
              <a:defRPr sz="1200"/>
            </a:lvl1pPr>
          </a:lstStyle>
          <a:p>
            <a:r>
              <a:rPr lang="da-DK"/>
              <a:t>Vælg pladsholderen og indsæt billede via Templafy/Skyfish eller ikon eller logo via Templafy/Billeder</a:t>
            </a:r>
          </a:p>
        </p:txBody>
      </p:sp>
      <p:sp>
        <p:nvSpPr>
          <p:cNvPr id="8" name="Titel 1"/>
          <p:cNvSpPr>
            <a:spLocks noGrp="1"/>
          </p:cNvSpPr>
          <p:nvPr>
            <p:ph type="title" hasCustomPrompt="1"/>
          </p:nvPr>
        </p:nvSpPr>
        <p:spPr>
          <a:xfrm>
            <a:off x="6692401" y="1076109"/>
            <a:ext cx="4680000" cy="1822734"/>
          </a:xfrm>
        </p:spPr>
        <p:txBody>
          <a:bodyPr/>
          <a:lstStyle>
            <a:lvl1pPr>
              <a:defRPr/>
            </a:lvl1pPr>
          </a:lstStyle>
          <a:p>
            <a:r>
              <a:rPr lang="da-DK"/>
              <a:t>Klik for at tilføje overskrift, maksimalt 3 linjer</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692400"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text" descr="{&quot;templafy&quot;:{&quot;id&quot;:&quot;7dfbda98-fd3b-47f6-906d-39947fb1b234&quot;}}" title="UserProfile.Institut.InstituteDCU_{{DocumentLanguage}}">
            <a:extLst>
              <a:ext uri="{FF2B5EF4-FFF2-40B4-BE49-F238E27FC236}">
                <a16:creationId xmlns:a16="http://schemas.microsoft.com/office/drawing/2014/main" id="{060969B2-E177-4704-95D4-119A98BB90C5}"/>
              </a:ext>
            </a:extLst>
          </p:cNvPr>
          <p:cNvSpPr txBox="1">
            <a:spLocks/>
          </p:cNvSpPr>
          <p:nvPr userDrawn="1"/>
        </p:nvSpPr>
        <p:spPr>
          <a:xfrm>
            <a:off x="6692400" y="249585"/>
            <a:ext cx="4680000" cy="478677"/>
          </a:xfrm>
          <a:prstGeom prst="rect">
            <a:avLst/>
          </a:prstGeom>
          <a:noFill/>
        </p:spPr>
        <p:txBody>
          <a:bodyPr wrap="square" lIns="1080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8" name="Straight Connector 17">
            <a:extLst>
              <a:ext uri="{FF2B5EF4-FFF2-40B4-BE49-F238E27FC236}">
                <a16:creationId xmlns:a16="http://schemas.microsoft.com/office/drawing/2014/main" id="{B68D6574-D545-4AC1-804C-76EBF3BEC544}"/>
              </a:ext>
            </a:extLst>
          </p:cNvPr>
          <p:cNvCxnSpPr>
            <a:cxnSpLocks/>
          </p:cNvCxnSpPr>
          <p:nvPr userDrawn="1"/>
        </p:nvCxnSpPr>
        <p:spPr>
          <a:xfrm>
            <a:off x="6691637"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e" descr="{&quot;templafy&quot;:{&quot;id&quot;:&quot;ea6d2255-9531-478e-9e48-a9ad84cf4859&quot;}}" title="Form.Date">
            <a:extLst>
              <a:ext uri="{FF2B5EF4-FFF2-40B4-BE49-F238E27FC236}">
                <a16:creationId xmlns:a16="http://schemas.microsoft.com/office/drawing/2014/main" id="{38150A77-BE4E-404D-B314-A1C41C791C1B}"/>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4</a:t>
            </a:r>
          </a:p>
        </p:txBody>
      </p:sp>
      <p:pic>
        <p:nvPicPr>
          <p:cNvPr id="20" name="Logo black">
            <a:extLst>
              <a:ext uri="{FF2B5EF4-FFF2-40B4-BE49-F238E27FC236}">
                <a16:creationId xmlns:a16="http://schemas.microsoft.com/office/drawing/2014/main" id="{1421C492-A651-4EE4-BB8B-C6886E7B5C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92400" y="6294893"/>
            <a:ext cx="784800" cy="211840"/>
          </a:xfrm>
          <a:prstGeom prst="rect">
            <a:avLst/>
          </a:prstGeom>
        </p:spPr>
      </p:pic>
      <p:sp>
        <p:nvSpPr>
          <p:cNvPr id="30" name="Date Placeholder 14">
            <a:extLst>
              <a:ext uri="{FF2B5EF4-FFF2-40B4-BE49-F238E27FC236}">
                <a16:creationId xmlns:a16="http://schemas.microsoft.com/office/drawing/2014/main" id="{2C4B35A0-F8F7-420F-9E06-CC0AAAA0B84F}"/>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22" name="TextBox 21">
            <a:extLst>
              <a:ext uri="{FF2B5EF4-FFF2-40B4-BE49-F238E27FC236}">
                <a16:creationId xmlns:a16="http://schemas.microsoft.com/office/drawing/2014/main" id="{7C94981C-CC58-4018-9B19-5053EFA6B6A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20472092"/>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illede og tekst (CV)">
    <p:spTree>
      <p:nvGrpSpPr>
        <p:cNvPr id="1" name=""/>
        <p:cNvGrpSpPr/>
        <p:nvPr/>
      </p:nvGrpSpPr>
      <p:grpSpPr>
        <a:xfrm>
          <a:off x="0" y="0"/>
          <a:ext cx="0" cy="0"/>
          <a:chOff x="0" y="0"/>
          <a:chExt cx="0" cy="0"/>
        </a:xfrm>
      </p:grpSpPr>
      <p:sp>
        <p:nvSpPr>
          <p:cNvPr id="7" name="Titel 1"/>
          <p:cNvSpPr>
            <a:spLocks noGrp="1"/>
          </p:cNvSpPr>
          <p:nvPr>
            <p:ph type="title" hasCustomPrompt="1"/>
          </p:nvPr>
        </p:nvSpPr>
        <p:spPr>
          <a:xfrm>
            <a:off x="6710399" y="1700213"/>
            <a:ext cx="4677070" cy="1436392"/>
          </a:xfrm>
        </p:spPr>
        <p:txBody>
          <a:bodyPr/>
          <a:lstStyle>
            <a:lvl1pPr>
              <a:defRPr sz="4800"/>
            </a:lvl1pPr>
          </a:lstStyle>
          <a:p>
            <a:r>
              <a:rPr lang="da-DK"/>
              <a:t>Overskrift i </a:t>
            </a:r>
            <a:r>
              <a:rPr lang="da-DK" err="1"/>
              <a:t>maks</a:t>
            </a:r>
            <a:r>
              <a:rPr lang="da-DK"/>
              <a:t> 2 linjer</a:t>
            </a:r>
          </a:p>
        </p:txBody>
      </p:sp>
      <p:sp>
        <p:nvSpPr>
          <p:cNvPr id="15" name="Text Placeholder 4">
            <a:extLst>
              <a:ext uri="{FF2B5EF4-FFF2-40B4-BE49-F238E27FC236}">
                <a16:creationId xmlns:a16="http://schemas.microsoft.com/office/drawing/2014/main" id="{6FAAEFF0-FCE4-48D6-A0D1-A458F3CD3EB3}"/>
              </a:ext>
            </a:extLst>
          </p:cNvPr>
          <p:cNvSpPr>
            <a:spLocks noGrp="1"/>
          </p:cNvSpPr>
          <p:nvPr>
            <p:ph type="body" sz="quarter" idx="19"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6" name="Text Placeholder 5">
            <a:extLst>
              <a:ext uri="{FF2B5EF4-FFF2-40B4-BE49-F238E27FC236}">
                <a16:creationId xmlns:a16="http://schemas.microsoft.com/office/drawing/2014/main" id="{2F21E6D3-406B-4DA0-9B5A-6A2F208BAF71}"/>
              </a:ext>
            </a:extLst>
          </p:cNvPr>
          <p:cNvSpPr>
            <a:spLocks noGrp="1"/>
          </p:cNvSpPr>
          <p:nvPr>
            <p:ph type="body" sz="quarter" idx="18" hasCustomPrompt="1"/>
          </p:nvPr>
        </p:nvSpPr>
        <p:spPr>
          <a:xfrm>
            <a:off x="6710399" y="452437"/>
            <a:ext cx="4659277" cy="790493"/>
          </a:xfrm>
        </p:spPr>
        <p:txBody>
          <a:bodyPr anchor="b" anchorCtr="0"/>
          <a:lstStyle>
            <a:lvl1pPr marL="0" indent="0">
              <a:buFont typeface="Arial" panose="020B0604020202020204" pitchFamily="34" charset="0"/>
              <a:buNone/>
              <a:defRPr/>
            </a:lvl1pPr>
          </a:lstStyle>
          <a:p>
            <a:pPr lvl="0"/>
            <a:r>
              <a:rPr lang="da-DK"/>
              <a:t>Klik for at indsætte tekst (f.eks. job titel)</a:t>
            </a:r>
          </a:p>
        </p:txBody>
      </p:sp>
      <p:sp>
        <p:nvSpPr>
          <p:cNvPr id="10" name="Pladsholder til billede 3"/>
          <p:cNvSpPr>
            <a:spLocks noGrp="1"/>
          </p:cNvSpPr>
          <p:nvPr>
            <p:ph type="pic" sz="quarter" idx="13" hasCustomPrompt="1"/>
          </p:nvPr>
        </p:nvSpPr>
        <p:spPr>
          <a:xfrm>
            <a:off x="411163" y="1016000"/>
            <a:ext cx="4043879" cy="4804038"/>
          </a:xfrm>
          <a:noFill/>
        </p:spPr>
        <p:txBody>
          <a:bodyPr/>
          <a:lstStyle>
            <a:lvl1pPr marL="0" indent="0" algn="ctr">
              <a:buNone/>
              <a:defRPr sz="1100"/>
            </a:lvl1pPr>
          </a:lstStyle>
          <a:p>
            <a:r>
              <a:rPr lang="da-DK"/>
              <a:t>Vælg pladsholderen og indsæt billede via Templafy/Skyfish eller ikon eller logo via Templafy/Billeder</a:t>
            </a:r>
          </a:p>
        </p:txBody>
      </p:sp>
      <p:sp>
        <p:nvSpPr>
          <p:cNvPr id="18" name="Date Placeholder 14">
            <a:extLst>
              <a:ext uri="{FF2B5EF4-FFF2-40B4-BE49-F238E27FC236}">
                <a16:creationId xmlns:a16="http://schemas.microsoft.com/office/drawing/2014/main" id="{4AC2696B-BD55-4932-A36E-BCC4318F22B0}"/>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4" name="Date Placeholder 3">
            <a:extLst>
              <a:ext uri="{FF2B5EF4-FFF2-40B4-BE49-F238E27FC236}">
                <a16:creationId xmlns:a16="http://schemas.microsoft.com/office/drawing/2014/main" id="{01591D0A-163E-46D9-B4AE-DA2791457328}"/>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5" name="Footer Placeholder 4">
            <a:extLst>
              <a:ext uri="{FF2B5EF4-FFF2-40B4-BE49-F238E27FC236}">
                <a16:creationId xmlns:a16="http://schemas.microsoft.com/office/drawing/2014/main" id="{CD31645F-3EEE-4ACC-9DE8-38B996FFAD12}"/>
              </a:ext>
            </a:extLst>
          </p:cNvPr>
          <p:cNvSpPr>
            <a:spLocks noGrp="1"/>
          </p:cNvSpPr>
          <p:nvPr>
            <p:ph type="ftr" sz="quarter" idx="21"/>
          </p:nvPr>
        </p:nvSpPr>
        <p:spPr/>
        <p:txBody>
          <a:bodyPr/>
          <a:lstStyle/>
          <a:p>
            <a:endParaRPr lang="da-DK"/>
          </a:p>
        </p:txBody>
      </p:sp>
      <p:sp>
        <p:nvSpPr>
          <p:cNvPr id="11" name="Slide Number Placeholder 10">
            <a:extLst>
              <a:ext uri="{FF2B5EF4-FFF2-40B4-BE49-F238E27FC236}">
                <a16:creationId xmlns:a16="http://schemas.microsoft.com/office/drawing/2014/main" id="{DA9685AE-678B-466E-B97B-590BC795CFDA}"/>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12" name="TextBox 11">
            <a:extLst>
              <a:ext uri="{FF2B5EF4-FFF2-40B4-BE49-F238E27FC236}">
                <a16:creationId xmlns:a16="http://schemas.microsoft.com/office/drawing/2014/main" id="{4E308762-F27B-4C02-A3F6-05048278412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pic>
        <p:nvPicPr>
          <p:cNvPr id="13" name="Logo black">
            <a:extLst>
              <a:ext uri="{FF2B5EF4-FFF2-40B4-BE49-F238E27FC236}">
                <a16:creationId xmlns:a16="http://schemas.microsoft.com/office/drawing/2014/main" id="{16CDF92D-C78F-4CBE-853B-4E3CD39D2A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4" name="text" descr="{&quot;templafy&quot;:{&quot;id&quot;:&quot;84e0002e-7a76-4fca-9560-2d84df16dbb4&quot;}}" title="UserProfile.Institut.InstituteDCU_{{DocumentLanguage}}">
            <a:extLst>
              <a:ext uri="{FF2B5EF4-FFF2-40B4-BE49-F238E27FC236}">
                <a16:creationId xmlns:a16="http://schemas.microsoft.com/office/drawing/2014/main" id="{DF6D8BC8-E65A-425F-8A88-41B507F8A632}"/>
              </a:ext>
            </a:extLst>
          </p:cNvPr>
          <p:cNvSpPr txBox="1">
            <a:spLocks/>
          </p:cNvSpPr>
          <p:nvPr userDrawn="1"/>
        </p:nvSpPr>
        <p:spPr>
          <a:xfrm>
            <a:off x="411160" y="442422"/>
            <a:ext cx="602734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cxnSp>
        <p:nvCxnSpPr>
          <p:cNvPr id="16" name="Straight Connector 15">
            <a:extLst>
              <a:ext uri="{FF2B5EF4-FFF2-40B4-BE49-F238E27FC236}">
                <a16:creationId xmlns:a16="http://schemas.microsoft.com/office/drawing/2014/main" id="{07D7BB8A-9FF7-4F5F-964E-11BE0AD89A9E}"/>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A0D29C7-1B08-47AE-80F0-21F12DFA77C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9" name="Rectangle 18">
            <a:extLst>
              <a:ext uri="{FF2B5EF4-FFF2-40B4-BE49-F238E27FC236}">
                <a16:creationId xmlns:a16="http://schemas.microsoft.com/office/drawing/2014/main" id="{BBE87218-65BF-484A-9BC3-CFE3F6FD4ECC}"/>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Tree>
    <p:extLst>
      <p:ext uri="{BB962C8B-B14F-4D97-AF65-F5344CB8AC3E}">
        <p14:creationId xmlns:p14="http://schemas.microsoft.com/office/powerpoint/2010/main" val="332083791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Overskrift og bille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400"/>
            </a:lvl1pPr>
          </a:lstStyle>
          <a:p>
            <a:r>
              <a:rPr lang="da-DK"/>
              <a:t>Vælg pladsholderen og indsæt billede via Templafy/Skyfish eller ikon eller logo via Templafy/Billeder</a:t>
            </a:r>
          </a:p>
        </p:txBody>
      </p:sp>
      <p:sp>
        <p:nvSpPr>
          <p:cNvPr id="17" name="Date Placeholder 14">
            <a:extLst>
              <a:ext uri="{FF2B5EF4-FFF2-40B4-BE49-F238E27FC236}">
                <a16:creationId xmlns:a16="http://schemas.microsoft.com/office/drawing/2014/main" id="{360EC57D-D72D-43A3-90BC-3ACC9F8BC95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8" name="Date Placeholder 14">
            <a:extLst>
              <a:ext uri="{FF2B5EF4-FFF2-40B4-BE49-F238E27FC236}">
                <a16:creationId xmlns:a16="http://schemas.microsoft.com/office/drawing/2014/main" id="{36B2A848-B2AD-472A-AC10-0002D162D52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920C039-324F-433E-90A2-B9FAD2872EC2}"/>
              </a:ext>
            </a:extLst>
          </p:cNvPr>
          <p:cNvSpPr>
            <a:spLocks noGrp="1"/>
          </p:cNvSpPr>
          <p:nvPr>
            <p:ph type="ftr" sz="quarter" idx="15"/>
          </p:nvPr>
        </p:nvSpPr>
        <p:spPr/>
        <p:txBody>
          <a:bodyPr/>
          <a:lstStyle/>
          <a:p>
            <a:endParaRPr lang="da-DK"/>
          </a:p>
        </p:txBody>
      </p:sp>
      <p:sp>
        <p:nvSpPr>
          <p:cNvPr id="4" name="Slide Number Placeholder 3">
            <a:extLst>
              <a:ext uri="{FF2B5EF4-FFF2-40B4-BE49-F238E27FC236}">
                <a16:creationId xmlns:a16="http://schemas.microsoft.com/office/drawing/2014/main" id="{417D6F82-73FC-4F13-BFEC-9200E77E1527}"/>
              </a:ext>
            </a:extLst>
          </p:cNvPr>
          <p:cNvSpPr>
            <a:spLocks noGrp="1"/>
          </p:cNvSpPr>
          <p:nvPr>
            <p:ph type="sldNum" sz="quarter" idx="16"/>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32369104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ire ikoner">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FA71C01-3350-42F9-9392-0F3379095A93}"/>
              </a:ext>
            </a:extLst>
          </p:cNvPr>
          <p:cNvSpPr>
            <a:spLocks noGrp="1"/>
          </p:cNvSpPr>
          <p:nvPr>
            <p:ph sz="quarter" idx="13" hasCustomPrompt="1"/>
          </p:nvPr>
        </p:nvSpPr>
        <p:spPr>
          <a:xfrm>
            <a:off x="2932902" y="1700213"/>
            <a:ext cx="936000" cy="936000"/>
          </a:xfrm>
        </p:spPr>
        <p:txBody>
          <a:bodyPr wrap="none"/>
          <a:lstStyle>
            <a:lvl1pPr marL="0" indent="0">
              <a:buNone/>
              <a:defRPr sz="1000"/>
            </a:lvl1pPr>
          </a:lstStyle>
          <a:p>
            <a:pPr lvl="0"/>
            <a:r>
              <a:rPr lang="da-DK"/>
              <a:t>Indsæt logo: Vælg pladsholderen, indsæt logo via Templafy/Billeder</a:t>
            </a:r>
          </a:p>
        </p:txBody>
      </p:sp>
      <p:sp>
        <p:nvSpPr>
          <p:cNvPr id="11" name="Text Placeholder 10">
            <a:extLst>
              <a:ext uri="{FF2B5EF4-FFF2-40B4-BE49-F238E27FC236}">
                <a16:creationId xmlns:a16="http://schemas.microsoft.com/office/drawing/2014/main" id="{C0A09C85-3CCC-44AB-A808-AA96845B1281}"/>
              </a:ext>
            </a:extLst>
          </p:cNvPr>
          <p:cNvSpPr>
            <a:spLocks noGrp="1"/>
          </p:cNvSpPr>
          <p:nvPr>
            <p:ph type="body" sz="quarter" idx="14" hasCustomPrompt="1"/>
          </p:nvPr>
        </p:nvSpPr>
        <p:spPr>
          <a:xfrm>
            <a:off x="2932902" y="2733129"/>
            <a:ext cx="3564000" cy="756000"/>
          </a:xfrm>
        </p:spPr>
        <p:txBody>
          <a:bodyPr/>
          <a:lstStyle>
            <a:lvl1pPr marL="0" indent="0">
              <a:buFont typeface="Arial" panose="020B0604020202020204" pitchFamily="34" charset="0"/>
              <a:buChar char="​"/>
              <a:defRPr sz="21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13" name="Content Placeholder 12">
            <a:extLst>
              <a:ext uri="{FF2B5EF4-FFF2-40B4-BE49-F238E27FC236}">
                <a16:creationId xmlns:a16="http://schemas.microsoft.com/office/drawing/2014/main" id="{3F35B7FD-E0E2-4581-BAC7-8858E530AFEA}"/>
              </a:ext>
            </a:extLst>
          </p:cNvPr>
          <p:cNvSpPr>
            <a:spLocks noGrp="1"/>
          </p:cNvSpPr>
          <p:nvPr>
            <p:ph sz="quarter" idx="15" hasCustomPrompt="1"/>
          </p:nvPr>
        </p:nvSpPr>
        <p:spPr>
          <a:xfrm>
            <a:off x="2934000"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15" name="Text Placeholder 14">
            <a:extLst>
              <a:ext uri="{FF2B5EF4-FFF2-40B4-BE49-F238E27FC236}">
                <a16:creationId xmlns:a16="http://schemas.microsoft.com/office/drawing/2014/main" id="{52C92166-E723-47D5-9A87-3354EB28C43E}"/>
              </a:ext>
            </a:extLst>
          </p:cNvPr>
          <p:cNvSpPr>
            <a:spLocks noGrp="1"/>
          </p:cNvSpPr>
          <p:nvPr>
            <p:ph type="body" sz="quarter" idx="16" hasCustomPrompt="1"/>
          </p:nvPr>
        </p:nvSpPr>
        <p:spPr>
          <a:xfrm>
            <a:off x="2932112" y="5093240"/>
            <a:ext cx="3564000" cy="756000"/>
          </a:xfrm>
        </p:spPr>
        <p:txBody>
          <a:bodyPr/>
          <a:lstStyle>
            <a:lvl1pPr marL="0" indent="0">
              <a:buFont typeface="Arial" panose="020B0604020202020204" pitchFamily="34" charset="0"/>
              <a:buChar char="​"/>
              <a:defRPr sz="2000" b="1"/>
            </a:lvl1pPr>
            <a:lvl2pPr marL="252000">
              <a:defRPr/>
            </a:lvl2pPr>
            <a:lvl3pPr marL="252000" indent="0">
              <a:buNone/>
              <a:defRPr/>
            </a:lvl3pPr>
          </a:lstStyle>
          <a:p>
            <a:pPr lvl="0"/>
            <a:r>
              <a:rPr lang="da-DK"/>
              <a:t>Klik for at tilføje overskrift</a:t>
            </a:r>
          </a:p>
          <a:p>
            <a:pPr lvl="1"/>
            <a:r>
              <a:rPr lang="da-DK"/>
              <a:t>Second level</a:t>
            </a:r>
          </a:p>
        </p:txBody>
      </p:sp>
      <p:sp>
        <p:nvSpPr>
          <p:cNvPr id="17" name="Content Placeholder 16">
            <a:extLst>
              <a:ext uri="{FF2B5EF4-FFF2-40B4-BE49-F238E27FC236}">
                <a16:creationId xmlns:a16="http://schemas.microsoft.com/office/drawing/2014/main" id="{AE23DA26-37CC-4CA7-8253-FD9AB459D2EF}"/>
              </a:ext>
            </a:extLst>
          </p:cNvPr>
          <p:cNvSpPr>
            <a:spLocks noGrp="1"/>
          </p:cNvSpPr>
          <p:nvPr>
            <p:ph sz="quarter" idx="17" hasCustomPrompt="1"/>
          </p:nvPr>
        </p:nvSpPr>
        <p:spPr>
          <a:xfrm>
            <a:off x="7474740" y="1700213"/>
            <a:ext cx="936000" cy="936000"/>
          </a:xfrm>
        </p:spPr>
        <p:txBody>
          <a:bodyPr wrap="none"/>
          <a:lstStyle>
            <a:lvl1pPr marL="0" indent="0">
              <a:buNone/>
              <a:defRPr sz="1000"/>
            </a:lvl1pPr>
            <a:lvl2pPr marL="252000" indent="0">
              <a:buNone/>
              <a:defRPr sz="1000"/>
            </a:lvl2pPr>
          </a:lstStyle>
          <a:p>
            <a:pPr lvl="0"/>
            <a:r>
              <a:rPr lang="da-DK"/>
              <a:t>Indsæt logo: Vælg pladsholderen, indsæt logo via Templafy/Billeder</a:t>
            </a:r>
          </a:p>
        </p:txBody>
      </p:sp>
      <p:sp>
        <p:nvSpPr>
          <p:cNvPr id="19" name="Text Placeholder 18">
            <a:extLst>
              <a:ext uri="{FF2B5EF4-FFF2-40B4-BE49-F238E27FC236}">
                <a16:creationId xmlns:a16="http://schemas.microsoft.com/office/drawing/2014/main" id="{62682726-03AB-4490-8664-993881FA0BB1}"/>
              </a:ext>
            </a:extLst>
          </p:cNvPr>
          <p:cNvSpPr>
            <a:spLocks noGrp="1"/>
          </p:cNvSpPr>
          <p:nvPr>
            <p:ph type="body" sz="quarter" idx="18" hasCustomPrompt="1"/>
          </p:nvPr>
        </p:nvSpPr>
        <p:spPr>
          <a:xfrm>
            <a:off x="7459663" y="273240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21" name="Content Placeholder 20">
            <a:extLst>
              <a:ext uri="{FF2B5EF4-FFF2-40B4-BE49-F238E27FC236}">
                <a16:creationId xmlns:a16="http://schemas.microsoft.com/office/drawing/2014/main" id="{762625AB-198B-4F37-9382-C78FD9118D5A}"/>
              </a:ext>
            </a:extLst>
          </p:cNvPr>
          <p:cNvSpPr>
            <a:spLocks noGrp="1"/>
          </p:cNvSpPr>
          <p:nvPr>
            <p:ph sz="quarter" idx="19" hasCustomPrompt="1"/>
          </p:nvPr>
        </p:nvSpPr>
        <p:spPr>
          <a:xfrm>
            <a:off x="7459663"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23" name="Text Placeholder 22">
            <a:extLst>
              <a:ext uri="{FF2B5EF4-FFF2-40B4-BE49-F238E27FC236}">
                <a16:creationId xmlns:a16="http://schemas.microsoft.com/office/drawing/2014/main" id="{D8AE7F93-F2C6-4199-8D16-CFB4D977F63E}"/>
              </a:ext>
            </a:extLst>
          </p:cNvPr>
          <p:cNvSpPr>
            <a:spLocks noGrp="1"/>
          </p:cNvSpPr>
          <p:nvPr>
            <p:ph type="body" sz="quarter" idx="20" hasCustomPrompt="1"/>
          </p:nvPr>
        </p:nvSpPr>
        <p:spPr>
          <a:xfrm>
            <a:off x="7473948" y="509324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p:txBody>
      </p:sp>
      <p:sp>
        <p:nvSpPr>
          <p:cNvPr id="3" name="Footer Placeholder 2">
            <a:extLst>
              <a:ext uri="{FF2B5EF4-FFF2-40B4-BE49-F238E27FC236}">
                <a16:creationId xmlns:a16="http://schemas.microsoft.com/office/drawing/2014/main" id="{0C4D261F-AFF9-422D-9FB3-5AE92F19507E}"/>
              </a:ext>
            </a:extLst>
          </p:cNvPr>
          <p:cNvSpPr>
            <a:spLocks noGrp="1"/>
          </p:cNvSpPr>
          <p:nvPr>
            <p:ph type="ftr" sz="quarter" idx="10"/>
          </p:nvPr>
        </p:nvSpPr>
        <p:spPr/>
        <p:txBody>
          <a:bodyPr/>
          <a:lstStyle/>
          <a:p>
            <a:endParaRPr lang="da-DK"/>
          </a:p>
        </p:txBody>
      </p:sp>
      <p:sp>
        <p:nvSpPr>
          <p:cNvPr id="4" name="Date Placeholder 3">
            <a:extLst>
              <a:ext uri="{FF2B5EF4-FFF2-40B4-BE49-F238E27FC236}">
                <a16:creationId xmlns:a16="http://schemas.microsoft.com/office/drawing/2014/main" id="{21133E6A-A4F4-491B-846E-1DACC83D9BB7}"/>
              </a:ext>
            </a:extLst>
          </p:cNvPr>
          <p:cNvSpPr>
            <a:spLocks noGrp="1"/>
          </p:cNvSpPr>
          <p:nvPr>
            <p:ph type="dt" sz="half" idx="11"/>
          </p:nvPr>
        </p:nvSpPr>
        <p:spPr/>
        <p:txBody>
          <a:bodyPr/>
          <a:lstStyle/>
          <a:p>
            <a:fld id="{F1A13B18-F5ED-4611-8DBB-F05123AFBA22}" type="datetimeFigureOut">
              <a:rPr lang="da-DK" smtClean="0"/>
              <a:pPr/>
              <a:t>08-05-2025</a:t>
            </a:fld>
            <a:endParaRPr lang="da-DK"/>
          </a:p>
        </p:txBody>
      </p:sp>
      <p:sp>
        <p:nvSpPr>
          <p:cNvPr id="5" name="Slide Number Placeholder 4">
            <a:extLst>
              <a:ext uri="{FF2B5EF4-FFF2-40B4-BE49-F238E27FC236}">
                <a16:creationId xmlns:a16="http://schemas.microsoft.com/office/drawing/2014/main" id="{6C38E8B2-EC82-4BE1-85C6-8F272596913A}"/>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414698940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Overskrift og log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6F8A6A9-890A-4EA2-8FA4-EA834B1A12F4}"/>
              </a:ext>
            </a:extLst>
          </p:cNvPr>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1" name="Date Placeholder 14">
            <a:extLst>
              <a:ext uri="{FF2B5EF4-FFF2-40B4-BE49-F238E27FC236}">
                <a16:creationId xmlns:a16="http://schemas.microsoft.com/office/drawing/2014/main" id="{705F52FC-7E26-46C0-8E8B-4445D500B9C7}"/>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7" name="Date Placeholder 6">
            <a:extLst>
              <a:ext uri="{FF2B5EF4-FFF2-40B4-BE49-F238E27FC236}">
                <a16:creationId xmlns:a16="http://schemas.microsoft.com/office/drawing/2014/main" id="{D01B1D99-4B52-4731-AEC4-C722464A7D1B}"/>
              </a:ext>
            </a:extLst>
          </p:cNvPr>
          <p:cNvSpPr>
            <a:spLocks noGrp="1"/>
          </p:cNvSpPr>
          <p:nvPr>
            <p:ph type="dt" sz="half" idx="10"/>
          </p:nvPr>
        </p:nvSpPr>
        <p:spPr/>
        <p:txBody>
          <a:bodyPr/>
          <a:lstStyle/>
          <a:p>
            <a:fld id="{F1A13B18-F5ED-4611-8DBB-F05123AFBA22}" type="datetimeFigureOut">
              <a:rPr lang="da-DK" smtClean="0"/>
              <a:pPr/>
              <a:t>08-05-2025</a:t>
            </a:fld>
            <a:endParaRPr lang="da-DK"/>
          </a:p>
        </p:txBody>
      </p:sp>
      <p:sp>
        <p:nvSpPr>
          <p:cNvPr id="9" name="Footer Placeholder 8">
            <a:extLst>
              <a:ext uri="{FF2B5EF4-FFF2-40B4-BE49-F238E27FC236}">
                <a16:creationId xmlns:a16="http://schemas.microsoft.com/office/drawing/2014/main" id="{F5FCEDFC-AE26-4F9F-9153-1837190678EF}"/>
              </a:ext>
            </a:extLst>
          </p:cNvPr>
          <p:cNvSpPr>
            <a:spLocks noGrp="1"/>
          </p:cNvSpPr>
          <p:nvPr>
            <p:ph type="ftr" sz="quarter" idx="11"/>
          </p:nvPr>
        </p:nvSpPr>
        <p:spPr/>
        <p:txBody>
          <a:bodyPr/>
          <a:lstStyle/>
          <a:p>
            <a:endParaRPr lang="da-DK"/>
          </a:p>
        </p:txBody>
      </p:sp>
      <p:sp>
        <p:nvSpPr>
          <p:cNvPr id="12" name="Slide Number Placeholder 11">
            <a:extLst>
              <a:ext uri="{FF2B5EF4-FFF2-40B4-BE49-F238E27FC236}">
                <a16:creationId xmlns:a16="http://schemas.microsoft.com/office/drawing/2014/main" id="{4B452C39-88DE-4155-8ED8-643714B1A9FE}"/>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35295810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Footer Placeholder 4">
            <a:extLst>
              <a:ext uri="{FF2B5EF4-FFF2-40B4-BE49-F238E27FC236}">
                <a16:creationId xmlns:a16="http://schemas.microsoft.com/office/drawing/2014/main" id="{345B4137-1DAF-46A8-B209-AC1FD44E9FFC}"/>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2" name="Slide Number Placeholder 5">
            <a:extLst>
              <a:ext uri="{FF2B5EF4-FFF2-40B4-BE49-F238E27FC236}">
                <a16:creationId xmlns:a16="http://schemas.microsoft.com/office/drawing/2014/main" id="{F335B9EE-7146-4559-A6A9-CE1CB99D9C35}"/>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CA8E0E6D-23D9-4234-A780-CA6F6EB4D91F}"/>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B997A535-D0D4-43B5-AD8A-8D9F9278F202}" type="datetime1">
              <a:rPr lang="da-DK" smtClean="0"/>
              <a:t>08-05-2025</a:t>
            </a:fld>
            <a:endParaRPr lang="da-DK"/>
          </a:p>
        </p:txBody>
      </p:sp>
    </p:spTree>
    <p:extLst>
      <p:ext uri="{BB962C8B-B14F-4D97-AF65-F5344CB8AC3E}">
        <p14:creationId xmlns:p14="http://schemas.microsoft.com/office/powerpoint/2010/main" val="252440994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3_Forside_Billede">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46B9CCC3-6A75-F7F2-4AA7-D626B3D2F6D1}"/>
              </a:ext>
            </a:extLst>
          </p:cNvPr>
          <p:cNvSpPr/>
          <p:nvPr userDrawn="1"/>
        </p:nvSpPr>
        <p:spPr bwMode="auto">
          <a:xfrm flipV="1">
            <a:off x="0" y="-3395"/>
            <a:ext cx="7505700" cy="1581150"/>
          </a:xfrm>
          <a:prstGeom prst="rtTriangle">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a:ln>
                <a:noFill/>
              </a:ln>
              <a:solidFill>
                <a:srgbClr val="FFFFFF"/>
              </a:solidFill>
              <a:effectLst/>
              <a:latin typeface="+mn-lt"/>
              <a:ea typeface="ＭＳ Ｐゴシック" pitchFamily="-80" charset="-128"/>
            </a:endParaRPr>
          </a:p>
        </p:txBody>
      </p:sp>
      <p:sp>
        <p:nvSpPr>
          <p:cNvPr id="6" name="Picture Placeholder 5">
            <a:extLst>
              <a:ext uri="{FF2B5EF4-FFF2-40B4-BE49-F238E27FC236}">
                <a16:creationId xmlns:a16="http://schemas.microsoft.com/office/drawing/2014/main" id="{28C0F044-9B17-8A9D-254D-5593499B2696}"/>
              </a:ext>
            </a:extLst>
          </p:cNvPr>
          <p:cNvSpPr>
            <a:spLocks noGrp="1"/>
          </p:cNvSpPr>
          <p:nvPr>
            <p:ph type="pic" sz="quarter" idx="13" hasCustomPrompt="1"/>
          </p:nvPr>
        </p:nvSpPr>
        <p:spPr>
          <a:xfrm>
            <a:off x="0" y="-3175"/>
            <a:ext cx="12192000" cy="6861175"/>
          </a:xfrm>
          <a:custGeom>
            <a:avLst/>
            <a:gdLst>
              <a:gd name="connsiteX0" fmla="*/ 7504656 w 12192000"/>
              <a:gd name="connsiteY0" fmla="*/ 0 h 6861175"/>
              <a:gd name="connsiteX1" fmla="*/ 12192000 w 12192000"/>
              <a:gd name="connsiteY1" fmla="*/ 0 h 6861175"/>
              <a:gd name="connsiteX2" fmla="*/ 12192000 w 12192000"/>
              <a:gd name="connsiteY2" fmla="*/ 6861175 h 6861175"/>
              <a:gd name="connsiteX3" fmla="*/ 0 w 12192000"/>
              <a:gd name="connsiteY3" fmla="*/ 6861175 h 6861175"/>
              <a:gd name="connsiteX4" fmla="*/ 0 w 12192000"/>
              <a:gd name="connsiteY4" fmla="*/ 1580930 h 6861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2000" h="6861175">
                <a:moveTo>
                  <a:pt x="7504656" y="0"/>
                </a:moveTo>
                <a:lnTo>
                  <a:pt x="12192000" y="0"/>
                </a:lnTo>
                <a:lnTo>
                  <a:pt x="12192000" y="6861175"/>
                </a:lnTo>
                <a:lnTo>
                  <a:pt x="0" y="6861175"/>
                </a:lnTo>
                <a:lnTo>
                  <a:pt x="0" y="1580930"/>
                </a:lnTo>
                <a:close/>
              </a:path>
            </a:pathLst>
          </a:custGeom>
        </p:spPr>
        <p:txBody>
          <a:bodyPr wrap="square">
            <a:noAutofit/>
          </a:bodyPr>
          <a:lstStyle>
            <a:lvl1pPr marL="0" indent="0">
              <a:buNone/>
              <a:defRPr>
                <a:solidFill>
                  <a:schemeClr val="bg1"/>
                </a:solidFill>
              </a:defRPr>
            </a:lvl1pPr>
          </a:lstStyle>
          <a:p>
            <a:pPr marL="0" marR="0" lvl="0" indent="0" algn="l" defTabSz="914400" rtl="0" eaLnBrk="1" fontAlgn="auto" latinLnBrk="0" hangingPunct="1">
              <a:lnSpc>
                <a:spcPct val="90000"/>
              </a:lnSpc>
              <a:spcBef>
                <a:spcPts val="1000"/>
              </a:spcBef>
              <a:spcAft>
                <a:spcPts val="0"/>
              </a:spcAft>
              <a:buClrTx/>
              <a:buSzTx/>
              <a:buFont typeface="Wingdings" panose="05000000000000000000" pitchFamily="2" charset="2"/>
              <a:buNone/>
              <a:tabLst/>
              <a:defRPr/>
            </a:pPr>
            <a:r>
              <a:rPr lang="da-DK"/>
              <a:t>Klik på ikonet for at tilføje et billede</a:t>
            </a:r>
          </a:p>
        </p:txBody>
      </p:sp>
      <p:sp>
        <p:nvSpPr>
          <p:cNvPr id="2" name="Title 1">
            <a:extLst>
              <a:ext uri="{FF2B5EF4-FFF2-40B4-BE49-F238E27FC236}">
                <a16:creationId xmlns:a16="http://schemas.microsoft.com/office/drawing/2014/main" id="{68FB7B03-3CDB-4B56-A60E-D736CC8F2B17}"/>
              </a:ext>
            </a:extLst>
          </p:cNvPr>
          <p:cNvSpPr>
            <a:spLocks noGrp="1"/>
          </p:cNvSpPr>
          <p:nvPr>
            <p:ph type="ctrTitle"/>
          </p:nvPr>
        </p:nvSpPr>
        <p:spPr>
          <a:xfrm>
            <a:off x="1524000" y="3762825"/>
            <a:ext cx="9144000" cy="1693191"/>
          </a:xfrm>
          <a:prstGeom prst="rect">
            <a:avLst/>
          </a:prstGeom>
          <a:solidFill>
            <a:srgbClr val="FFFFFF">
              <a:alpha val="50196"/>
            </a:srgbClr>
          </a:solidFill>
        </p:spPr>
        <p:txBody>
          <a:bodyPr anchor="b">
            <a:normAutofit/>
          </a:bodyPr>
          <a:lstStyle>
            <a:lvl1pPr algn="ctr">
              <a:defRPr sz="4800">
                <a:solidFill>
                  <a:schemeClr val="tx1"/>
                </a:solidFill>
                <a:latin typeface="+mj-lt"/>
              </a:defRPr>
            </a:lvl1pPr>
          </a:lstStyle>
          <a:p>
            <a:r>
              <a:rPr lang="da-DK"/>
              <a:t>Klik for at redigere titeltypografien i masteren</a:t>
            </a:r>
          </a:p>
        </p:txBody>
      </p:sp>
      <p:sp>
        <p:nvSpPr>
          <p:cNvPr id="3" name="Subtitle 2">
            <a:extLst>
              <a:ext uri="{FF2B5EF4-FFF2-40B4-BE49-F238E27FC236}">
                <a16:creationId xmlns:a16="http://schemas.microsoft.com/office/drawing/2014/main" id="{C1DF8315-DA0B-40C3-A476-8BDB8FF989F6}"/>
              </a:ext>
            </a:extLst>
          </p:cNvPr>
          <p:cNvSpPr>
            <a:spLocks noGrp="1"/>
          </p:cNvSpPr>
          <p:nvPr>
            <p:ph type="subTitle" idx="1"/>
          </p:nvPr>
        </p:nvSpPr>
        <p:spPr>
          <a:xfrm>
            <a:off x="1524000" y="5534706"/>
            <a:ext cx="9144000" cy="655633"/>
          </a:xfrm>
          <a:solidFill>
            <a:srgbClr val="FFFFFF">
              <a:alpha val="50196"/>
            </a:srgbClr>
          </a:solidFill>
        </p:spPr>
        <p:txBody>
          <a:bodyPr/>
          <a:lstStyle>
            <a:lvl1pPr marL="0" indent="0" algn="ctr">
              <a:buNone/>
              <a:defRPr sz="2400">
                <a:solidFill>
                  <a:schemeClr val="tx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8" name="Date Placeholder 7">
            <a:extLst>
              <a:ext uri="{FF2B5EF4-FFF2-40B4-BE49-F238E27FC236}">
                <a16:creationId xmlns:a16="http://schemas.microsoft.com/office/drawing/2014/main" id="{E2E22171-C378-4A63-AA4E-FCB3F3957466}"/>
              </a:ext>
            </a:extLst>
          </p:cNvPr>
          <p:cNvSpPr>
            <a:spLocks noGrp="1"/>
          </p:cNvSpPr>
          <p:nvPr>
            <p:ph type="dt" sz="half" idx="10"/>
          </p:nvPr>
        </p:nvSpPr>
        <p:spPr>
          <a:xfrm>
            <a:off x="838200" y="6367732"/>
            <a:ext cx="2743200" cy="365125"/>
          </a:xfrm>
          <a:prstGeom prst="rect">
            <a:avLst/>
          </a:prstGeom>
        </p:spPr>
        <p:txBody>
          <a:bodyPr/>
          <a:lstStyle>
            <a:lvl1pPr>
              <a:defRPr>
                <a:solidFill>
                  <a:schemeClr val="tx1"/>
                </a:solidFill>
              </a:defRPr>
            </a:lvl1pPr>
          </a:lstStyle>
          <a:p>
            <a:fld id="{753B5EE1-9FED-4010-AAB9-1B74CB29B8F1}" type="datetime1">
              <a:rPr lang="da-DK" smtClean="0"/>
              <a:pPr/>
              <a:t>08-05-2025</a:t>
            </a:fld>
            <a:endParaRPr lang="da-DK"/>
          </a:p>
        </p:txBody>
      </p:sp>
      <p:sp>
        <p:nvSpPr>
          <p:cNvPr id="11" name="Slide Number Placeholder 10">
            <a:extLst>
              <a:ext uri="{FF2B5EF4-FFF2-40B4-BE49-F238E27FC236}">
                <a16:creationId xmlns:a16="http://schemas.microsoft.com/office/drawing/2014/main" id="{E325CC66-34E0-4282-967A-24E78B5F509E}"/>
              </a:ext>
            </a:extLst>
          </p:cNvPr>
          <p:cNvSpPr>
            <a:spLocks noGrp="1"/>
          </p:cNvSpPr>
          <p:nvPr>
            <p:ph type="sldNum" sz="quarter" idx="12"/>
          </p:nvPr>
        </p:nvSpPr>
        <p:spPr>
          <a:xfrm>
            <a:off x="8610600" y="6367732"/>
            <a:ext cx="2492829" cy="365125"/>
          </a:xfrm>
        </p:spPr>
        <p:txBody>
          <a:bodyPr/>
          <a:lstStyle>
            <a:lvl1pPr>
              <a:defRPr>
                <a:solidFill>
                  <a:schemeClr val="tx1"/>
                </a:solidFill>
              </a:defRPr>
            </a:lvl1pPr>
          </a:lstStyle>
          <a:p>
            <a:fld id="{39DF810D-F77C-4BB2-BE6A-BDC67BB44902}" type="slidenum">
              <a:rPr lang="da-DK" smtClean="0"/>
              <a:pPr/>
              <a:t>‹#›</a:t>
            </a:fld>
            <a:endParaRPr lang="da-DK"/>
          </a:p>
        </p:txBody>
      </p:sp>
      <p:sp>
        <p:nvSpPr>
          <p:cNvPr id="268" name="Footer Placeholder 4">
            <a:extLst>
              <a:ext uri="{FF2B5EF4-FFF2-40B4-BE49-F238E27FC236}">
                <a16:creationId xmlns:a16="http://schemas.microsoft.com/office/drawing/2014/main" id="{39F6ED66-EED7-4F32-95B6-8628C6E0719F}"/>
              </a:ext>
            </a:extLst>
          </p:cNvPr>
          <p:cNvSpPr>
            <a:spLocks noGrp="1"/>
          </p:cNvSpPr>
          <p:nvPr>
            <p:ph type="ftr" sz="quarter" idx="3"/>
          </p:nvPr>
        </p:nvSpPr>
        <p:spPr>
          <a:xfrm>
            <a:off x="4038600"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grpSp>
        <p:nvGrpSpPr>
          <p:cNvPr id="272" name="Graphic 5">
            <a:extLst>
              <a:ext uri="{FF2B5EF4-FFF2-40B4-BE49-F238E27FC236}">
                <a16:creationId xmlns:a16="http://schemas.microsoft.com/office/drawing/2014/main" id="{425395C3-B5C3-4749-9D34-AA9BB01BA218}"/>
              </a:ext>
            </a:extLst>
          </p:cNvPr>
          <p:cNvGrpSpPr/>
          <p:nvPr/>
        </p:nvGrpSpPr>
        <p:grpSpPr>
          <a:xfrm>
            <a:off x="411007" y="259436"/>
            <a:ext cx="854386" cy="837339"/>
            <a:chOff x="632997" y="3239655"/>
            <a:chExt cx="440022" cy="431242"/>
          </a:xfrm>
          <a:solidFill>
            <a:srgbClr val="728E8E">
              <a:alpha val="35000"/>
            </a:srgbClr>
          </a:solidFill>
        </p:grpSpPr>
        <p:sp>
          <p:nvSpPr>
            <p:cNvPr id="273" name="Freeform: Shape 272">
              <a:extLst>
                <a:ext uri="{FF2B5EF4-FFF2-40B4-BE49-F238E27FC236}">
                  <a16:creationId xmlns:a16="http://schemas.microsoft.com/office/drawing/2014/main" id="{31D7A666-A1E9-49F7-8D95-9C8420578A68}"/>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4" name="Freeform: Shape 273">
              <a:extLst>
                <a:ext uri="{FF2B5EF4-FFF2-40B4-BE49-F238E27FC236}">
                  <a16:creationId xmlns:a16="http://schemas.microsoft.com/office/drawing/2014/main" id="{55D3B7C6-3DB8-4038-9E7E-BBF947C95C3D}"/>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5" name="Freeform: Shape 274">
              <a:extLst>
                <a:ext uri="{FF2B5EF4-FFF2-40B4-BE49-F238E27FC236}">
                  <a16:creationId xmlns:a16="http://schemas.microsoft.com/office/drawing/2014/main" id="{A2C39EEF-22EE-4F59-A91D-768D9DCC4662}"/>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6" name="Freeform: Shape 275">
              <a:extLst>
                <a:ext uri="{FF2B5EF4-FFF2-40B4-BE49-F238E27FC236}">
                  <a16:creationId xmlns:a16="http://schemas.microsoft.com/office/drawing/2014/main" id="{C9DD0897-5235-4F60-AA92-D74D28882664}"/>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7" name="Freeform: Shape 276">
              <a:extLst>
                <a:ext uri="{FF2B5EF4-FFF2-40B4-BE49-F238E27FC236}">
                  <a16:creationId xmlns:a16="http://schemas.microsoft.com/office/drawing/2014/main" id="{DDEB94AB-9118-4475-A9CB-C507B8858234}"/>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8" name="Freeform: Shape 277">
              <a:extLst>
                <a:ext uri="{FF2B5EF4-FFF2-40B4-BE49-F238E27FC236}">
                  <a16:creationId xmlns:a16="http://schemas.microsoft.com/office/drawing/2014/main" id="{D468DCFE-4E07-4017-BD1D-FEB9710317C7}"/>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9" name="Freeform: Shape 278">
              <a:extLst>
                <a:ext uri="{FF2B5EF4-FFF2-40B4-BE49-F238E27FC236}">
                  <a16:creationId xmlns:a16="http://schemas.microsoft.com/office/drawing/2014/main" id="{21F36C60-7138-48BB-ACAF-9A32F87E12CA}"/>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grpSp>
    </p:spTree>
    <p:extLst>
      <p:ext uri="{BB962C8B-B14F-4D97-AF65-F5344CB8AC3E}">
        <p14:creationId xmlns:p14="http://schemas.microsoft.com/office/powerpoint/2010/main" val="329605677"/>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_Overskrift og indhold 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6" y="999173"/>
            <a:ext cx="10952579" cy="701040"/>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414696" y="1989138"/>
            <a:ext cx="10952580" cy="38528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23387966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Billede og tekst (CV)">
    <p:spTree>
      <p:nvGrpSpPr>
        <p:cNvPr id="1" name=""/>
        <p:cNvGrpSpPr/>
        <p:nvPr/>
      </p:nvGrpSpPr>
      <p:grpSpPr>
        <a:xfrm>
          <a:off x="0" y="0"/>
          <a:ext cx="0" cy="0"/>
          <a:chOff x="0" y="0"/>
          <a:chExt cx="0" cy="0"/>
        </a:xfrm>
      </p:grpSpPr>
      <p:sp>
        <p:nvSpPr>
          <p:cNvPr id="7" name="Titel 1"/>
          <p:cNvSpPr>
            <a:spLocks noGrp="1"/>
          </p:cNvSpPr>
          <p:nvPr>
            <p:ph type="title" hasCustomPrompt="1"/>
          </p:nvPr>
        </p:nvSpPr>
        <p:spPr>
          <a:xfrm>
            <a:off x="6710399" y="1700213"/>
            <a:ext cx="4677070" cy="1436392"/>
          </a:xfrm>
        </p:spPr>
        <p:txBody>
          <a:bodyPr/>
          <a:lstStyle>
            <a:lvl1pPr>
              <a:defRPr sz="4800"/>
            </a:lvl1pPr>
          </a:lstStyle>
          <a:p>
            <a:r>
              <a:rPr lang="da-DK"/>
              <a:t>Overskrift i </a:t>
            </a:r>
            <a:r>
              <a:rPr lang="da-DK" err="1"/>
              <a:t>maks</a:t>
            </a:r>
            <a:r>
              <a:rPr lang="da-DK"/>
              <a:t> 2 linjer</a:t>
            </a:r>
          </a:p>
        </p:txBody>
      </p:sp>
      <p:sp>
        <p:nvSpPr>
          <p:cNvPr id="15" name="Text Placeholder 4">
            <a:extLst>
              <a:ext uri="{FF2B5EF4-FFF2-40B4-BE49-F238E27FC236}">
                <a16:creationId xmlns:a16="http://schemas.microsoft.com/office/drawing/2014/main" id="{6FAAEFF0-FCE4-48D6-A0D1-A458F3CD3EB3}"/>
              </a:ext>
            </a:extLst>
          </p:cNvPr>
          <p:cNvSpPr>
            <a:spLocks noGrp="1"/>
          </p:cNvSpPr>
          <p:nvPr>
            <p:ph type="body" sz="quarter" idx="19"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6" name="Text Placeholder 5">
            <a:extLst>
              <a:ext uri="{FF2B5EF4-FFF2-40B4-BE49-F238E27FC236}">
                <a16:creationId xmlns:a16="http://schemas.microsoft.com/office/drawing/2014/main" id="{2F21E6D3-406B-4DA0-9B5A-6A2F208BAF71}"/>
              </a:ext>
            </a:extLst>
          </p:cNvPr>
          <p:cNvSpPr>
            <a:spLocks noGrp="1"/>
          </p:cNvSpPr>
          <p:nvPr>
            <p:ph type="body" sz="quarter" idx="18" hasCustomPrompt="1"/>
          </p:nvPr>
        </p:nvSpPr>
        <p:spPr>
          <a:xfrm>
            <a:off x="6710399" y="452437"/>
            <a:ext cx="4659277" cy="790493"/>
          </a:xfrm>
        </p:spPr>
        <p:txBody>
          <a:bodyPr anchor="b" anchorCtr="0"/>
          <a:lstStyle>
            <a:lvl1pPr marL="0" indent="0">
              <a:buFont typeface="Arial" panose="020B0604020202020204" pitchFamily="34" charset="0"/>
              <a:buNone/>
              <a:defRPr/>
            </a:lvl1pPr>
          </a:lstStyle>
          <a:p>
            <a:pPr lvl="0"/>
            <a:r>
              <a:rPr lang="da-DK"/>
              <a:t>Klik for at indsætte tekst (f.eks. job titel)</a:t>
            </a:r>
          </a:p>
        </p:txBody>
      </p:sp>
      <p:sp>
        <p:nvSpPr>
          <p:cNvPr id="10" name="Pladsholder til billede 3"/>
          <p:cNvSpPr>
            <a:spLocks noGrp="1"/>
          </p:cNvSpPr>
          <p:nvPr>
            <p:ph type="pic" sz="quarter" idx="13" hasCustomPrompt="1"/>
          </p:nvPr>
        </p:nvSpPr>
        <p:spPr>
          <a:xfrm>
            <a:off x="411163" y="1016000"/>
            <a:ext cx="4043879" cy="4804038"/>
          </a:xfrm>
          <a:noFill/>
        </p:spPr>
        <p:txBody>
          <a:bodyPr/>
          <a:lstStyle>
            <a:lvl1pPr marL="0" indent="0" algn="ctr">
              <a:buNone/>
              <a:defRPr sz="1100"/>
            </a:lvl1pPr>
          </a:lstStyle>
          <a:p>
            <a:r>
              <a:rPr lang="da-DK"/>
              <a:t>Vælg pladsholderen og indsæt billede via Templafy/Skyfish eller ikon eller logo via Templafy/Billeder</a:t>
            </a:r>
          </a:p>
        </p:txBody>
      </p:sp>
      <p:sp>
        <p:nvSpPr>
          <p:cNvPr id="18" name="Date Placeholder 14">
            <a:extLst>
              <a:ext uri="{FF2B5EF4-FFF2-40B4-BE49-F238E27FC236}">
                <a16:creationId xmlns:a16="http://schemas.microsoft.com/office/drawing/2014/main" id="{4AC2696B-BD55-4932-A36E-BCC4318F22B0}"/>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4" name="Date Placeholder 3">
            <a:extLst>
              <a:ext uri="{FF2B5EF4-FFF2-40B4-BE49-F238E27FC236}">
                <a16:creationId xmlns:a16="http://schemas.microsoft.com/office/drawing/2014/main" id="{01591D0A-163E-46D9-B4AE-DA2791457328}"/>
              </a:ext>
            </a:extLst>
          </p:cNvPr>
          <p:cNvSpPr>
            <a:spLocks noGrp="1"/>
          </p:cNvSpPr>
          <p:nvPr>
            <p:ph type="dt" sz="half" idx="20"/>
          </p:nvPr>
        </p:nvSpPr>
        <p:spPr/>
        <p:txBody>
          <a:bodyPr/>
          <a:lstStyle/>
          <a:p>
            <a:fld id="{F1A13B18-F5ED-4611-8DBB-F05123AFBA22}" type="datetimeFigureOut">
              <a:rPr lang="da-DK" smtClean="0"/>
              <a:pPr/>
              <a:t>02-05-2025</a:t>
            </a:fld>
            <a:endParaRPr lang="da-DK"/>
          </a:p>
        </p:txBody>
      </p:sp>
      <p:sp>
        <p:nvSpPr>
          <p:cNvPr id="5" name="Footer Placeholder 4">
            <a:extLst>
              <a:ext uri="{FF2B5EF4-FFF2-40B4-BE49-F238E27FC236}">
                <a16:creationId xmlns:a16="http://schemas.microsoft.com/office/drawing/2014/main" id="{CD31645F-3EEE-4ACC-9DE8-38B996FFAD12}"/>
              </a:ext>
            </a:extLst>
          </p:cNvPr>
          <p:cNvSpPr>
            <a:spLocks noGrp="1"/>
          </p:cNvSpPr>
          <p:nvPr>
            <p:ph type="ftr" sz="quarter" idx="21"/>
          </p:nvPr>
        </p:nvSpPr>
        <p:spPr/>
        <p:txBody>
          <a:bodyPr/>
          <a:lstStyle/>
          <a:p>
            <a:endParaRPr lang="da-DK"/>
          </a:p>
        </p:txBody>
      </p:sp>
      <p:sp>
        <p:nvSpPr>
          <p:cNvPr id="11" name="Slide Number Placeholder 10">
            <a:extLst>
              <a:ext uri="{FF2B5EF4-FFF2-40B4-BE49-F238E27FC236}">
                <a16:creationId xmlns:a16="http://schemas.microsoft.com/office/drawing/2014/main" id="{DA9685AE-678B-466E-B97B-590BC795CFDA}"/>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12" name="TextBox 11">
            <a:extLst>
              <a:ext uri="{FF2B5EF4-FFF2-40B4-BE49-F238E27FC236}">
                <a16:creationId xmlns:a16="http://schemas.microsoft.com/office/drawing/2014/main" id="{4E308762-F27B-4C02-A3F6-05048278412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
        <p:nvSpPr>
          <p:cNvPr id="14" name="text" descr="{&quot;templafy&quot;:{&quot;id&quot;:&quot;84e0002e-7a76-4fca-9560-2d84df16dbb4&quot;}}" title="UserProfile.Institut.InstituteDCU_{{DocumentLanguage}}">
            <a:extLst>
              <a:ext uri="{FF2B5EF4-FFF2-40B4-BE49-F238E27FC236}">
                <a16:creationId xmlns:a16="http://schemas.microsoft.com/office/drawing/2014/main" id="{DF6D8BC8-E65A-425F-8A88-41B507F8A632}"/>
              </a:ext>
            </a:extLst>
          </p:cNvPr>
          <p:cNvSpPr txBox="1">
            <a:spLocks/>
          </p:cNvSpPr>
          <p:nvPr userDrawn="1"/>
        </p:nvSpPr>
        <p:spPr>
          <a:xfrm>
            <a:off x="411160" y="442422"/>
            <a:ext cx="602734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SIS</a:t>
            </a:r>
          </a:p>
        </p:txBody>
      </p:sp>
      <p:cxnSp>
        <p:nvCxnSpPr>
          <p:cNvPr id="16" name="Straight Connector 15">
            <a:extLst>
              <a:ext uri="{FF2B5EF4-FFF2-40B4-BE49-F238E27FC236}">
                <a16:creationId xmlns:a16="http://schemas.microsoft.com/office/drawing/2014/main" id="{07D7BB8A-9FF7-4F5F-964E-11BE0AD89A9E}"/>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A0D29C7-1B08-47AE-80F0-21F12DFA77C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9" name="Rectangle 18">
            <a:extLst>
              <a:ext uri="{FF2B5EF4-FFF2-40B4-BE49-F238E27FC236}">
                <a16:creationId xmlns:a16="http://schemas.microsoft.com/office/drawing/2014/main" id="{BBE87218-65BF-484A-9BC3-CFE3F6FD4ECC}"/>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Tree>
    <p:extLst>
      <p:ext uri="{BB962C8B-B14F-4D97-AF65-F5344CB8AC3E}">
        <p14:creationId xmlns:p14="http://schemas.microsoft.com/office/powerpoint/2010/main" val="406825411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05658C06-E668-41FD-BC8E-10BED683B81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D2F70ACF-A56D-4728-A5F0-F1701EF89A04}"/>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218376561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B0751AEF-1843-451A-9418-F0E0C3DC69E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0248BF5A-3EA4-44A2-85A9-D816B038DD0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28834710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Logo og footers">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9EF6BE16-1634-407E-9877-25355E05079F}"/>
              </a:ext>
            </a:extLst>
          </p:cNvPr>
          <p:cNvSpPr txBox="1"/>
          <p:nvPr userDrawn="1"/>
        </p:nvSpPr>
        <p:spPr>
          <a:xfrm>
            <a:off x="102742" y="246579"/>
            <a:ext cx="1972638" cy="738664"/>
          </a:xfrm>
          <a:prstGeom prst="rect">
            <a:avLst/>
          </a:prstGeom>
          <a:solidFill>
            <a:schemeClr val="bg1"/>
          </a:solidFill>
        </p:spPr>
        <p:txBody>
          <a:bodyPr wrap="square" lIns="0" tIns="0" rIns="0" bIns="0" rtlCol="0">
            <a:spAutoFit/>
          </a:bodyPr>
          <a:lstStyle/>
          <a:p>
            <a:endParaRPr lang="da-DK" sz="1600"/>
          </a:p>
          <a:p>
            <a:endParaRPr lang="da-DK" sz="1600"/>
          </a:p>
          <a:p>
            <a:endParaRPr lang="da-DK" sz="1600"/>
          </a:p>
        </p:txBody>
      </p:sp>
    </p:spTree>
    <p:extLst>
      <p:ext uri="{BB962C8B-B14F-4D97-AF65-F5344CB8AC3E}">
        <p14:creationId xmlns:p14="http://schemas.microsoft.com/office/powerpoint/2010/main" val="85848173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itle" preserve="1">
  <p:cSld name="Titelslide">
    <p:bg>
      <p:bgPr>
        <a:solidFill>
          <a:srgbClr val="376466"/>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6EB01F05-665F-4F78-8955-335836BECF6E}"/>
              </a:ext>
            </a:extLst>
          </p:cNvPr>
          <p:cNvSpPr/>
          <p:nvPr userDrawn="1"/>
        </p:nvSpPr>
        <p:spPr bwMode="auto">
          <a:xfrm flipH="1" flipV="1">
            <a:off x="7200" y="9756"/>
            <a:ext cx="12184800" cy="5191125"/>
          </a:xfrm>
          <a:prstGeom prst="rtTriangle">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a:ln>
                <a:noFill/>
              </a:ln>
              <a:solidFill>
                <a:srgbClr val="FFFFFF"/>
              </a:solidFill>
              <a:effectLst/>
              <a:latin typeface="+mn-lt"/>
              <a:ea typeface="ＭＳ Ｐゴシック" pitchFamily="-80" charset="-128"/>
            </a:endParaRPr>
          </a:p>
        </p:txBody>
      </p:sp>
      <p:sp>
        <p:nvSpPr>
          <p:cNvPr id="9" name="Right Triangle 8">
            <a:extLst>
              <a:ext uri="{FF2B5EF4-FFF2-40B4-BE49-F238E27FC236}">
                <a16:creationId xmlns:a16="http://schemas.microsoft.com/office/drawing/2014/main" id="{3EE0F563-E6D6-4387-9EB4-0C775BEF9471}"/>
              </a:ext>
            </a:extLst>
          </p:cNvPr>
          <p:cNvSpPr/>
          <p:nvPr userDrawn="1"/>
        </p:nvSpPr>
        <p:spPr bwMode="auto">
          <a:xfrm flipV="1">
            <a:off x="0" y="-3395"/>
            <a:ext cx="7505700" cy="1581150"/>
          </a:xfrm>
          <a:prstGeom prst="rtTriangle">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a:ln>
                <a:noFill/>
              </a:ln>
              <a:solidFill>
                <a:srgbClr val="FFFFFF"/>
              </a:solidFill>
              <a:effectLst/>
              <a:latin typeface="+mn-lt"/>
              <a:ea typeface="ＭＳ Ｐゴシック" pitchFamily="-80" charset="-128"/>
            </a:endParaRPr>
          </a:p>
        </p:txBody>
      </p:sp>
      <p:sp>
        <p:nvSpPr>
          <p:cNvPr id="2" name="Title 1">
            <a:extLst>
              <a:ext uri="{FF2B5EF4-FFF2-40B4-BE49-F238E27FC236}">
                <a16:creationId xmlns:a16="http://schemas.microsoft.com/office/drawing/2014/main" id="{68FB7B03-3CDB-4B56-A60E-D736CC8F2B17}"/>
              </a:ext>
            </a:extLst>
          </p:cNvPr>
          <p:cNvSpPr>
            <a:spLocks noGrp="1"/>
          </p:cNvSpPr>
          <p:nvPr>
            <p:ph type="ctrTitle"/>
          </p:nvPr>
        </p:nvSpPr>
        <p:spPr>
          <a:xfrm>
            <a:off x="1524000" y="2734591"/>
            <a:ext cx="9144000" cy="2387600"/>
          </a:xfrm>
          <a:prstGeom prst="rect">
            <a:avLst/>
          </a:prstGeom>
        </p:spPr>
        <p:txBody>
          <a:bodyPr anchor="b"/>
          <a:lstStyle>
            <a:lvl1pPr algn="ctr">
              <a:defRPr sz="6000">
                <a:solidFill>
                  <a:schemeClr val="bg1"/>
                </a:solidFill>
                <a:latin typeface="+mj-lt"/>
              </a:defRPr>
            </a:lvl1pPr>
          </a:lstStyle>
          <a:p>
            <a:r>
              <a:rPr lang="da-DK"/>
              <a:t>Klik for at redigere titeltypografien i masteren</a:t>
            </a:r>
          </a:p>
        </p:txBody>
      </p:sp>
      <p:sp>
        <p:nvSpPr>
          <p:cNvPr id="3" name="Subtitle 2">
            <a:extLst>
              <a:ext uri="{FF2B5EF4-FFF2-40B4-BE49-F238E27FC236}">
                <a16:creationId xmlns:a16="http://schemas.microsoft.com/office/drawing/2014/main" id="{C1DF8315-DA0B-40C3-A476-8BDB8FF989F6}"/>
              </a:ext>
            </a:extLst>
          </p:cNvPr>
          <p:cNvSpPr>
            <a:spLocks noGrp="1"/>
          </p:cNvSpPr>
          <p:nvPr>
            <p:ph type="subTitle" idx="1"/>
          </p:nvPr>
        </p:nvSpPr>
        <p:spPr>
          <a:xfrm>
            <a:off x="1524000" y="5200880"/>
            <a:ext cx="9144000" cy="655633"/>
          </a:xfrm>
        </p:spPr>
        <p:txBody>
          <a:bodyPr/>
          <a:lstStyle>
            <a:lvl1pPr marL="0" indent="0" algn="ctr">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8" name="Date Placeholder 7">
            <a:extLst>
              <a:ext uri="{FF2B5EF4-FFF2-40B4-BE49-F238E27FC236}">
                <a16:creationId xmlns:a16="http://schemas.microsoft.com/office/drawing/2014/main" id="{E2E22171-C378-4A63-AA4E-FCB3F3957466}"/>
              </a:ext>
            </a:extLst>
          </p:cNvPr>
          <p:cNvSpPr>
            <a:spLocks noGrp="1"/>
          </p:cNvSpPr>
          <p:nvPr>
            <p:ph type="dt" sz="half" idx="10"/>
          </p:nvPr>
        </p:nvSpPr>
        <p:spPr>
          <a:xfrm>
            <a:off x="838200" y="6367732"/>
            <a:ext cx="2743200" cy="365125"/>
          </a:xfrm>
          <a:prstGeom prst="rect">
            <a:avLst/>
          </a:prstGeom>
        </p:spPr>
        <p:txBody>
          <a:bodyPr/>
          <a:lstStyle>
            <a:lvl1pPr>
              <a:defRPr>
                <a:solidFill>
                  <a:schemeClr val="bg1"/>
                </a:solidFill>
              </a:defRPr>
            </a:lvl1pPr>
          </a:lstStyle>
          <a:p>
            <a:fld id="{753B5EE1-9FED-4010-AAB9-1B74CB29B8F1}" type="datetime1">
              <a:rPr lang="da-DK" smtClean="0"/>
              <a:t>08-05-2025</a:t>
            </a:fld>
            <a:endParaRPr lang="da-DK"/>
          </a:p>
        </p:txBody>
      </p:sp>
      <p:sp>
        <p:nvSpPr>
          <p:cNvPr id="11" name="Slide Number Placeholder 10">
            <a:extLst>
              <a:ext uri="{FF2B5EF4-FFF2-40B4-BE49-F238E27FC236}">
                <a16:creationId xmlns:a16="http://schemas.microsoft.com/office/drawing/2014/main" id="{E325CC66-34E0-4282-967A-24E78B5F509E}"/>
              </a:ext>
            </a:extLst>
          </p:cNvPr>
          <p:cNvSpPr>
            <a:spLocks noGrp="1"/>
          </p:cNvSpPr>
          <p:nvPr>
            <p:ph type="sldNum" sz="quarter" idx="12"/>
          </p:nvPr>
        </p:nvSpPr>
        <p:spPr>
          <a:xfrm>
            <a:off x="8610600" y="6367732"/>
            <a:ext cx="2492829" cy="365125"/>
          </a:xfrm>
        </p:spPr>
        <p:txBody>
          <a:bodyPr/>
          <a:lstStyle>
            <a:lvl1pPr>
              <a:defRPr>
                <a:solidFill>
                  <a:schemeClr val="bg1"/>
                </a:solidFill>
              </a:defRPr>
            </a:lvl1pPr>
          </a:lstStyle>
          <a:p>
            <a:fld id="{39DF810D-F77C-4BB2-BE6A-BDC67BB44902}" type="slidenum">
              <a:rPr lang="da-DK" smtClean="0"/>
              <a:pPr/>
              <a:t>‹#›</a:t>
            </a:fld>
            <a:endParaRPr lang="da-DK"/>
          </a:p>
        </p:txBody>
      </p:sp>
      <p:sp>
        <p:nvSpPr>
          <p:cNvPr id="268" name="Footer Placeholder 4">
            <a:extLst>
              <a:ext uri="{FF2B5EF4-FFF2-40B4-BE49-F238E27FC236}">
                <a16:creationId xmlns:a16="http://schemas.microsoft.com/office/drawing/2014/main" id="{39F6ED66-EED7-4F32-95B6-8628C6E0719F}"/>
              </a:ext>
            </a:extLst>
          </p:cNvPr>
          <p:cNvSpPr>
            <a:spLocks noGrp="1"/>
          </p:cNvSpPr>
          <p:nvPr>
            <p:ph type="ftr" sz="quarter" idx="3"/>
          </p:nvPr>
        </p:nvSpPr>
        <p:spPr>
          <a:xfrm>
            <a:off x="4038600" y="6367732"/>
            <a:ext cx="4114800" cy="365125"/>
          </a:xfrm>
          <a:prstGeom prst="rect">
            <a:avLst/>
          </a:prstGeom>
        </p:spPr>
        <p:txBody>
          <a:bodyPr vert="horz" lIns="91440" tIns="45720" rIns="91440" bIns="45720" rtlCol="0" anchor="ctr"/>
          <a:lstStyle>
            <a:lvl1pPr algn="ctr">
              <a:defRPr sz="800" i="0">
                <a:solidFill>
                  <a:schemeClr val="bg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grpSp>
        <p:nvGrpSpPr>
          <p:cNvPr id="272" name="Graphic 5">
            <a:extLst>
              <a:ext uri="{FF2B5EF4-FFF2-40B4-BE49-F238E27FC236}">
                <a16:creationId xmlns:a16="http://schemas.microsoft.com/office/drawing/2014/main" id="{425395C3-B5C3-4749-9D34-AA9BB01BA218}"/>
              </a:ext>
            </a:extLst>
          </p:cNvPr>
          <p:cNvGrpSpPr/>
          <p:nvPr/>
        </p:nvGrpSpPr>
        <p:grpSpPr>
          <a:xfrm>
            <a:off x="411007" y="259436"/>
            <a:ext cx="854386" cy="837339"/>
            <a:chOff x="632997" y="3239655"/>
            <a:chExt cx="440022" cy="431242"/>
          </a:xfrm>
          <a:solidFill>
            <a:schemeClr val="bg1">
              <a:alpha val="35000"/>
            </a:schemeClr>
          </a:solidFill>
        </p:grpSpPr>
        <p:sp>
          <p:nvSpPr>
            <p:cNvPr id="273" name="Freeform: Shape 272">
              <a:extLst>
                <a:ext uri="{FF2B5EF4-FFF2-40B4-BE49-F238E27FC236}">
                  <a16:creationId xmlns:a16="http://schemas.microsoft.com/office/drawing/2014/main" id="{31D7A666-A1E9-49F7-8D95-9C8420578A68}"/>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4" name="Freeform: Shape 273">
              <a:extLst>
                <a:ext uri="{FF2B5EF4-FFF2-40B4-BE49-F238E27FC236}">
                  <a16:creationId xmlns:a16="http://schemas.microsoft.com/office/drawing/2014/main" id="{55D3B7C6-3DB8-4038-9E7E-BBF947C95C3D}"/>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5" name="Freeform: Shape 274">
              <a:extLst>
                <a:ext uri="{FF2B5EF4-FFF2-40B4-BE49-F238E27FC236}">
                  <a16:creationId xmlns:a16="http://schemas.microsoft.com/office/drawing/2014/main" id="{A2C39EEF-22EE-4F59-A91D-768D9DCC4662}"/>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6" name="Freeform: Shape 275">
              <a:extLst>
                <a:ext uri="{FF2B5EF4-FFF2-40B4-BE49-F238E27FC236}">
                  <a16:creationId xmlns:a16="http://schemas.microsoft.com/office/drawing/2014/main" id="{C9DD0897-5235-4F60-AA92-D74D28882664}"/>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7" name="Freeform: Shape 276">
              <a:extLst>
                <a:ext uri="{FF2B5EF4-FFF2-40B4-BE49-F238E27FC236}">
                  <a16:creationId xmlns:a16="http://schemas.microsoft.com/office/drawing/2014/main" id="{DDEB94AB-9118-4475-A9CB-C507B8858234}"/>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8" name="Freeform: Shape 277">
              <a:extLst>
                <a:ext uri="{FF2B5EF4-FFF2-40B4-BE49-F238E27FC236}">
                  <a16:creationId xmlns:a16="http://schemas.microsoft.com/office/drawing/2014/main" id="{D468DCFE-4E07-4017-BD1D-FEB9710317C7}"/>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9" name="Freeform: Shape 278">
              <a:extLst>
                <a:ext uri="{FF2B5EF4-FFF2-40B4-BE49-F238E27FC236}">
                  <a16:creationId xmlns:a16="http://schemas.microsoft.com/office/drawing/2014/main" id="{21F36C60-7138-48BB-ACAF-9A32F87E12CA}"/>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grpSp>
    </p:spTree>
    <p:extLst>
      <p:ext uri="{BB962C8B-B14F-4D97-AF65-F5344CB8AC3E}">
        <p14:creationId xmlns:p14="http://schemas.microsoft.com/office/powerpoint/2010/main" val="7068289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Divider slid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EB01F05-665F-4F78-8955-335836BECF6E}"/>
              </a:ext>
            </a:extLst>
          </p:cNvPr>
          <p:cNvSpPr/>
          <p:nvPr userDrawn="1"/>
        </p:nvSpPr>
        <p:spPr bwMode="auto">
          <a:xfrm flipH="1" flipV="1">
            <a:off x="0" y="0"/>
            <a:ext cx="6375178" cy="6858000"/>
          </a:xfrm>
          <a:prstGeom prst="rect">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432"/>
              </a:spcBef>
              <a:spcAft>
                <a:spcPct val="0"/>
              </a:spcAft>
              <a:buClrTx/>
              <a:buSzTx/>
              <a:buFontTx/>
              <a:buNone/>
              <a:tabLst/>
              <a:defRPr/>
            </a:pPr>
            <a:endParaRPr kumimoji="0" lang="da-DK" sz="1600" b="0" i="0" u="none" strike="noStrike" kern="1200" cap="none" spc="0" normalizeH="0" baseline="0" noProof="0">
              <a:ln>
                <a:noFill/>
              </a:ln>
              <a:solidFill>
                <a:srgbClr val="FFFFFF"/>
              </a:solidFill>
              <a:effectLst/>
              <a:uLnTx/>
              <a:uFillTx/>
              <a:latin typeface="Arial" panose="020B0604020202020204"/>
              <a:ea typeface="ＭＳ Ｐゴシック" pitchFamily="-80" charset="-128"/>
              <a:cs typeface="+mn-cs"/>
            </a:endParaRPr>
          </a:p>
        </p:txBody>
      </p:sp>
      <p:sp>
        <p:nvSpPr>
          <p:cNvPr id="2" name="Title 1">
            <a:extLst>
              <a:ext uri="{FF2B5EF4-FFF2-40B4-BE49-F238E27FC236}">
                <a16:creationId xmlns:a16="http://schemas.microsoft.com/office/drawing/2014/main" id="{68FB7B03-3CDB-4B56-A60E-D736CC8F2B17}"/>
              </a:ext>
            </a:extLst>
          </p:cNvPr>
          <p:cNvSpPr>
            <a:spLocks noGrp="1"/>
          </p:cNvSpPr>
          <p:nvPr>
            <p:ph type="ctrTitle"/>
          </p:nvPr>
        </p:nvSpPr>
        <p:spPr>
          <a:xfrm>
            <a:off x="587505" y="1143466"/>
            <a:ext cx="5082831" cy="3300745"/>
          </a:xfrm>
          <a:prstGeom prst="rect">
            <a:avLst/>
          </a:prstGeom>
        </p:spPr>
        <p:txBody>
          <a:bodyPr anchor="b"/>
          <a:lstStyle>
            <a:lvl1pPr algn="ctr">
              <a:defRPr sz="6000">
                <a:solidFill>
                  <a:schemeClr val="bg1"/>
                </a:solidFill>
                <a:latin typeface="+mj-lt"/>
              </a:defRPr>
            </a:lvl1pPr>
          </a:lstStyle>
          <a:p>
            <a:r>
              <a:rPr lang="da-DK"/>
              <a:t>Klik for at redigere titeltypografien i masteren</a:t>
            </a:r>
          </a:p>
        </p:txBody>
      </p:sp>
      <p:sp>
        <p:nvSpPr>
          <p:cNvPr id="3" name="Subtitle 2">
            <a:extLst>
              <a:ext uri="{FF2B5EF4-FFF2-40B4-BE49-F238E27FC236}">
                <a16:creationId xmlns:a16="http://schemas.microsoft.com/office/drawing/2014/main" id="{C1DF8315-DA0B-40C3-A476-8BDB8FF989F6}"/>
              </a:ext>
            </a:extLst>
          </p:cNvPr>
          <p:cNvSpPr>
            <a:spLocks noGrp="1"/>
          </p:cNvSpPr>
          <p:nvPr>
            <p:ph type="subTitle" idx="1"/>
          </p:nvPr>
        </p:nvSpPr>
        <p:spPr>
          <a:xfrm>
            <a:off x="613663" y="4644807"/>
            <a:ext cx="5082831" cy="655633"/>
          </a:xfrm>
        </p:spPr>
        <p:txBody>
          <a:bodyPr/>
          <a:lstStyle>
            <a:lvl1pPr marL="0" indent="0" algn="ctr">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grpSp>
        <p:nvGrpSpPr>
          <p:cNvPr id="134" name="Group 133">
            <a:extLst>
              <a:ext uri="{FF2B5EF4-FFF2-40B4-BE49-F238E27FC236}">
                <a16:creationId xmlns:a16="http://schemas.microsoft.com/office/drawing/2014/main" id="{438EF9D8-2CCD-43BA-94A9-8127C3647697}"/>
              </a:ext>
            </a:extLst>
          </p:cNvPr>
          <p:cNvGrpSpPr>
            <a:grpSpLocks/>
          </p:cNvGrpSpPr>
          <p:nvPr userDrawn="1"/>
        </p:nvGrpSpPr>
        <p:grpSpPr>
          <a:xfrm>
            <a:off x="220034" y="6097318"/>
            <a:ext cx="1469181" cy="538076"/>
            <a:chOff x="632997" y="3237301"/>
            <a:chExt cx="1214135" cy="444667"/>
          </a:xfrm>
          <a:solidFill>
            <a:schemeClr val="bg1"/>
          </a:solidFill>
        </p:grpSpPr>
        <p:grpSp>
          <p:nvGrpSpPr>
            <p:cNvPr id="135" name="Graphic 5">
              <a:extLst>
                <a:ext uri="{FF2B5EF4-FFF2-40B4-BE49-F238E27FC236}">
                  <a16:creationId xmlns:a16="http://schemas.microsoft.com/office/drawing/2014/main" id="{693617B4-D6B6-4ADE-AF79-295B334733DC}"/>
                </a:ext>
              </a:extLst>
            </p:cNvPr>
            <p:cNvGrpSpPr/>
            <p:nvPr/>
          </p:nvGrpSpPr>
          <p:grpSpPr>
            <a:xfrm>
              <a:off x="1202431" y="3237301"/>
              <a:ext cx="644701" cy="179292"/>
              <a:chOff x="1202431" y="3237301"/>
              <a:chExt cx="644701" cy="179292"/>
            </a:xfrm>
            <a:grpFill/>
          </p:grpSpPr>
          <p:sp>
            <p:nvSpPr>
              <p:cNvPr id="192" name="Freeform: Shape 191">
                <a:extLst>
                  <a:ext uri="{FF2B5EF4-FFF2-40B4-BE49-F238E27FC236}">
                    <a16:creationId xmlns:a16="http://schemas.microsoft.com/office/drawing/2014/main" id="{2D045F43-4F91-4FDE-BDAA-E8993C04381D}"/>
                  </a:ext>
                </a:extLst>
              </p:cNvPr>
              <p:cNvSpPr/>
              <p:nvPr/>
            </p:nvSpPr>
            <p:spPr>
              <a:xfrm>
                <a:off x="1202431" y="3239718"/>
                <a:ext cx="108415" cy="136600"/>
              </a:xfrm>
              <a:custGeom>
                <a:avLst/>
                <a:gdLst>
                  <a:gd name="connsiteX0" fmla="*/ 0 w 108415"/>
                  <a:gd name="connsiteY0" fmla="*/ 136601 h 136600"/>
                  <a:gd name="connsiteX1" fmla="*/ 0 w 108415"/>
                  <a:gd name="connsiteY1" fmla="*/ 0 h 136600"/>
                  <a:gd name="connsiteX2" fmla="*/ 26849 w 108415"/>
                  <a:gd name="connsiteY2" fmla="*/ 0 h 136600"/>
                  <a:gd name="connsiteX3" fmla="*/ 82775 w 108415"/>
                  <a:gd name="connsiteY3" fmla="*/ 91237 h 136600"/>
                  <a:gd name="connsiteX4" fmla="*/ 82775 w 108415"/>
                  <a:gd name="connsiteY4" fmla="*/ 0 h 136600"/>
                  <a:gd name="connsiteX5" fmla="*/ 108415 w 108415"/>
                  <a:gd name="connsiteY5" fmla="*/ 0 h 136600"/>
                  <a:gd name="connsiteX6" fmla="*/ 108415 w 108415"/>
                  <a:gd name="connsiteY6" fmla="*/ 136601 h 136600"/>
                  <a:gd name="connsiteX7" fmla="*/ 80739 w 108415"/>
                  <a:gd name="connsiteY7" fmla="*/ 136601 h 136600"/>
                  <a:gd name="connsiteX8" fmla="*/ 25640 w 108415"/>
                  <a:gd name="connsiteY8" fmla="*/ 47527 h 136600"/>
                  <a:gd name="connsiteX9" fmla="*/ 25640 w 108415"/>
                  <a:gd name="connsiteY9" fmla="*/ 136601 h 136600"/>
                  <a:gd name="connsiteX10" fmla="*/ 0 w 108415"/>
                  <a:gd name="connsiteY10" fmla="*/ 136601 h 1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15" h="136600">
                    <a:moveTo>
                      <a:pt x="0" y="136601"/>
                    </a:moveTo>
                    <a:lnTo>
                      <a:pt x="0" y="0"/>
                    </a:lnTo>
                    <a:lnTo>
                      <a:pt x="26849" y="0"/>
                    </a:lnTo>
                    <a:lnTo>
                      <a:pt x="82775" y="91237"/>
                    </a:lnTo>
                    <a:lnTo>
                      <a:pt x="82775" y="0"/>
                    </a:lnTo>
                    <a:lnTo>
                      <a:pt x="108415" y="0"/>
                    </a:lnTo>
                    <a:lnTo>
                      <a:pt x="108415" y="136601"/>
                    </a:lnTo>
                    <a:lnTo>
                      <a:pt x="80739" y="136601"/>
                    </a:lnTo>
                    <a:lnTo>
                      <a:pt x="25640" y="47527"/>
                    </a:lnTo>
                    <a:lnTo>
                      <a:pt x="25640" y="136601"/>
                    </a:lnTo>
                    <a:lnTo>
                      <a:pt x="0" y="136601"/>
                    </a:lnTo>
                    <a:close/>
                  </a:path>
                </a:pathLst>
              </a:custGeom>
              <a:grpFill/>
              <a:ln w="6361" cap="flat">
                <a:noFill/>
                <a:prstDash val="solid"/>
                <a:miter/>
              </a:ln>
            </p:spPr>
            <p:txBody>
              <a:bodyPr rtlCol="0" anchor="ctr"/>
              <a:lstStyle/>
              <a:p>
                <a:endParaRPr lang="da-DK"/>
              </a:p>
            </p:txBody>
          </p:sp>
          <p:sp>
            <p:nvSpPr>
              <p:cNvPr id="193" name="Freeform: Shape 192">
                <a:extLst>
                  <a:ext uri="{FF2B5EF4-FFF2-40B4-BE49-F238E27FC236}">
                    <a16:creationId xmlns:a16="http://schemas.microsoft.com/office/drawing/2014/main" id="{EE0B8821-7CDB-48E5-B41F-205C2A2A3EDA}"/>
                  </a:ext>
                </a:extLst>
              </p:cNvPr>
              <p:cNvSpPr/>
              <p:nvPr/>
            </p:nvSpPr>
            <p:spPr>
              <a:xfrm>
                <a:off x="1323571" y="3277384"/>
                <a:ext cx="101734" cy="139208"/>
              </a:xfrm>
              <a:custGeom>
                <a:avLst/>
                <a:gdLst>
                  <a:gd name="connsiteX0" fmla="*/ 0 w 101734"/>
                  <a:gd name="connsiteY0" fmla="*/ 0 h 139208"/>
                  <a:gd name="connsiteX1" fmla="*/ 27867 w 101734"/>
                  <a:gd name="connsiteY1" fmla="*/ 0 h 139208"/>
                  <a:gd name="connsiteX2" fmla="*/ 51535 w 101734"/>
                  <a:gd name="connsiteY2" fmla="*/ 70241 h 139208"/>
                  <a:gd name="connsiteX3" fmla="*/ 74631 w 101734"/>
                  <a:gd name="connsiteY3" fmla="*/ 0 h 139208"/>
                  <a:gd name="connsiteX4" fmla="*/ 101735 w 101734"/>
                  <a:gd name="connsiteY4" fmla="*/ 0 h 139208"/>
                  <a:gd name="connsiteX5" fmla="*/ 66805 w 101734"/>
                  <a:gd name="connsiteY5" fmla="*/ 95245 h 139208"/>
                  <a:gd name="connsiteX6" fmla="*/ 60570 w 101734"/>
                  <a:gd name="connsiteY6" fmla="*/ 112487 h 139208"/>
                  <a:gd name="connsiteX7" fmla="*/ 54017 w 101734"/>
                  <a:gd name="connsiteY7" fmla="*/ 125721 h 139208"/>
                  <a:gd name="connsiteX8" fmla="*/ 46827 w 101734"/>
                  <a:gd name="connsiteY8" fmla="*/ 133165 h 139208"/>
                  <a:gd name="connsiteX9" fmla="*/ 36838 w 101734"/>
                  <a:gd name="connsiteY9" fmla="*/ 137618 h 139208"/>
                  <a:gd name="connsiteX10" fmla="*/ 23477 w 101734"/>
                  <a:gd name="connsiteY10" fmla="*/ 139209 h 139208"/>
                  <a:gd name="connsiteX11" fmla="*/ 8653 w 101734"/>
                  <a:gd name="connsiteY11" fmla="*/ 137618 h 139208"/>
                  <a:gd name="connsiteX12" fmla="*/ 6299 w 101734"/>
                  <a:gd name="connsiteY12" fmla="*/ 117131 h 139208"/>
                  <a:gd name="connsiteX13" fmla="*/ 17369 w 101734"/>
                  <a:gd name="connsiteY13" fmla="*/ 118340 h 139208"/>
                  <a:gd name="connsiteX14" fmla="*/ 30858 w 101734"/>
                  <a:gd name="connsiteY14" fmla="*/ 112996 h 139208"/>
                  <a:gd name="connsiteX15" fmla="*/ 37538 w 101734"/>
                  <a:gd name="connsiteY15" fmla="*/ 99317 h 139208"/>
                  <a:gd name="connsiteX16" fmla="*/ 0 w 101734"/>
                  <a:gd name="connsiteY16" fmla="*/ 0 h 13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39208">
                    <a:moveTo>
                      <a:pt x="0" y="0"/>
                    </a:moveTo>
                    <a:lnTo>
                      <a:pt x="27867" y="0"/>
                    </a:lnTo>
                    <a:lnTo>
                      <a:pt x="51535" y="70241"/>
                    </a:lnTo>
                    <a:lnTo>
                      <a:pt x="74631" y="0"/>
                    </a:lnTo>
                    <a:lnTo>
                      <a:pt x="101735" y="0"/>
                    </a:lnTo>
                    <a:lnTo>
                      <a:pt x="66805" y="95245"/>
                    </a:lnTo>
                    <a:lnTo>
                      <a:pt x="60570" y="112487"/>
                    </a:lnTo>
                    <a:cubicBezTo>
                      <a:pt x="58279" y="118277"/>
                      <a:pt x="56053" y="122667"/>
                      <a:pt x="54017" y="125721"/>
                    </a:cubicBezTo>
                    <a:cubicBezTo>
                      <a:pt x="51917" y="128775"/>
                      <a:pt x="49563" y="131256"/>
                      <a:pt x="46827" y="133165"/>
                    </a:cubicBezTo>
                    <a:cubicBezTo>
                      <a:pt x="44155" y="135073"/>
                      <a:pt x="40783" y="136537"/>
                      <a:pt x="36838" y="137618"/>
                    </a:cubicBezTo>
                    <a:cubicBezTo>
                      <a:pt x="32894" y="138700"/>
                      <a:pt x="28440" y="139209"/>
                      <a:pt x="23477" y="139209"/>
                    </a:cubicBezTo>
                    <a:cubicBezTo>
                      <a:pt x="18451" y="139209"/>
                      <a:pt x="13488" y="138700"/>
                      <a:pt x="8653" y="137618"/>
                    </a:cubicBezTo>
                    <a:lnTo>
                      <a:pt x="6299" y="117131"/>
                    </a:lnTo>
                    <a:cubicBezTo>
                      <a:pt x="10371" y="117959"/>
                      <a:pt x="14125" y="118340"/>
                      <a:pt x="17369" y="118340"/>
                    </a:cubicBezTo>
                    <a:cubicBezTo>
                      <a:pt x="23477" y="118340"/>
                      <a:pt x="27995" y="116559"/>
                      <a:pt x="30858" y="112996"/>
                    </a:cubicBezTo>
                    <a:cubicBezTo>
                      <a:pt x="33784" y="109433"/>
                      <a:pt x="36011" y="104852"/>
                      <a:pt x="37538" y="99317"/>
                    </a:cubicBezTo>
                    <a:lnTo>
                      <a:pt x="0" y="0"/>
                    </a:lnTo>
                    <a:close/>
                  </a:path>
                </a:pathLst>
              </a:custGeom>
              <a:grpFill/>
              <a:ln w="6361" cap="flat">
                <a:noFill/>
                <a:prstDash val="solid"/>
                <a:miter/>
              </a:ln>
            </p:spPr>
            <p:txBody>
              <a:bodyPr rtlCol="0" anchor="ctr"/>
              <a:lstStyle/>
              <a:p>
                <a:endParaRPr lang="da-DK"/>
              </a:p>
            </p:txBody>
          </p:sp>
          <p:sp>
            <p:nvSpPr>
              <p:cNvPr id="194" name="Freeform: Shape 193">
                <a:extLst>
                  <a:ext uri="{FF2B5EF4-FFF2-40B4-BE49-F238E27FC236}">
                    <a16:creationId xmlns:a16="http://schemas.microsoft.com/office/drawing/2014/main" id="{11A6EC43-F5DF-4A91-8F44-E97FCB85E023}"/>
                  </a:ext>
                </a:extLst>
              </p:cNvPr>
              <p:cNvSpPr/>
              <p:nvPr/>
            </p:nvSpPr>
            <p:spPr>
              <a:xfrm>
                <a:off x="1435231" y="3242518"/>
                <a:ext cx="58343" cy="136091"/>
              </a:xfrm>
              <a:custGeom>
                <a:avLst/>
                <a:gdLst>
                  <a:gd name="connsiteX0" fmla="*/ 56116 w 58343"/>
                  <a:gd name="connsiteY0" fmla="*/ 34866 h 136091"/>
                  <a:gd name="connsiteX1" fmla="*/ 56116 w 58343"/>
                  <a:gd name="connsiteY1" fmla="*/ 55735 h 136091"/>
                  <a:gd name="connsiteX2" fmla="*/ 38238 w 58343"/>
                  <a:gd name="connsiteY2" fmla="*/ 55735 h 136091"/>
                  <a:gd name="connsiteX3" fmla="*/ 38238 w 58343"/>
                  <a:gd name="connsiteY3" fmla="*/ 95627 h 136091"/>
                  <a:gd name="connsiteX4" fmla="*/ 38747 w 58343"/>
                  <a:gd name="connsiteY4" fmla="*/ 109751 h 136091"/>
                  <a:gd name="connsiteX5" fmla="*/ 41101 w 58343"/>
                  <a:gd name="connsiteY5" fmla="*/ 113060 h 136091"/>
                  <a:gd name="connsiteX6" fmla="*/ 45555 w 58343"/>
                  <a:gd name="connsiteY6" fmla="*/ 114396 h 136091"/>
                  <a:gd name="connsiteX7" fmla="*/ 56116 w 58343"/>
                  <a:gd name="connsiteY7" fmla="*/ 111851 h 136091"/>
                  <a:gd name="connsiteX8" fmla="*/ 58343 w 58343"/>
                  <a:gd name="connsiteY8" fmla="*/ 132147 h 136091"/>
                  <a:gd name="connsiteX9" fmla="*/ 37665 w 58343"/>
                  <a:gd name="connsiteY9" fmla="*/ 136091 h 136091"/>
                  <a:gd name="connsiteX10" fmla="*/ 24877 w 58343"/>
                  <a:gd name="connsiteY10" fmla="*/ 133737 h 136091"/>
                  <a:gd name="connsiteX11" fmla="*/ 16542 w 58343"/>
                  <a:gd name="connsiteY11" fmla="*/ 127566 h 136091"/>
                  <a:gd name="connsiteX12" fmla="*/ 12852 w 58343"/>
                  <a:gd name="connsiteY12" fmla="*/ 117386 h 136091"/>
                  <a:gd name="connsiteX13" fmla="*/ 12025 w 58343"/>
                  <a:gd name="connsiteY13" fmla="*/ 98935 h 136091"/>
                  <a:gd name="connsiteX14" fmla="*/ 12025 w 58343"/>
                  <a:gd name="connsiteY14" fmla="*/ 55798 h 136091"/>
                  <a:gd name="connsiteX15" fmla="*/ 0 w 58343"/>
                  <a:gd name="connsiteY15" fmla="*/ 55798 h 136091"/>
                  <a:gd name="connsiteX16" fmla="*/ 0 w 58343"/>
                  <a:gd name="connsiteY16" fmla="*/ 34929 h 136091"/>
                  <a:gd name="connsiteX17" fmla="*/ 12025 w 58343"/>
                  <a:gd name="connsiteY17" fmla="*/ 34929 h 136091"/>
                  <a:gd name="connsiteX18" fmla="*/ 12025 w 58343"/>
                  <a:gd name="connsiteY18" fmla="*/ 15270 h 136091"/>
                  <a:gd name="connsiteX19" fmla="*/ 38302 w 58343"/>
                  <a:gd name="connsiteY19" fmla="*/ 0 h 136091"/>
                  <a:gd name="connsiteX20" fmla="*/ 38302 w 58343"/>
                  <a:gd name="connsiteY20" fmla="*/ 34929 h 136091"/>
                  <a:gd name="connsiteX21" fmla="*/ 56116 w 58343"/>
                  <a:gd name="connsiteY21" fmla="*/ 34929 h 13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343" h="136091">
                    <a:moveTo>
                      <a:pt x="56116" y="34866"/>
                    </a:moveTo>
                    <a:lnTo>
                      <a:pt x="56116" y="55735"/>
                    </a:lnTo>
                    <a:lnTo>
                      <a:pt x="38238" y="55735"/>
                    </a:lnTo>
                    <a:lnTo>
                      <a:pt x="38238" y="95627"/>
                    </a:lnTo>
                    <a:cubicBezTo>
                      <a:pt x="38238" y="103707"/>
                      <a:pt x="38429" y="108415"/>
                      <a:pt x="38747" y="109751"/>
                    </a:cubicBezTo>
                    <a:cubicBezTo>
                      <a:pt x="39065" y="111087"/>
                      <a:pt x="39892" y="112169"/>
                      <a:pt x="41101" y="113060"/>
                    </a:cubicBezTo>
                    <a:cubicBezTo>
                      <a:pt x="42310" y="113950"/>
                      <a:pt x="43773" y="114396"/>
                      <a:pt x="45555" y="114396"/>
                    </a:cubicBezTo>
                    <a:cubicBezTo>
                      <a:pt x="47972" y="114396"/>
                      <a:pt x="51472" y="113569"/>
                      <a:pt x="56116" y="111851"/>
                    </a:cubicBezTo>
                    <a:lnTo>
                      <a:pt x="58343" y="132147"/>
                    </a:lnTo>
                    <a:cubicBezTo>
                      <a:pt x="52235" y="134755"/>
                      <a:pt x="45364" y="136091"/>
                      <a:pt x="37665" y="136091"/>
                    </a:cubicBezTo>
                    <a:cubicBezTo>
                      <a:pt x="32957" y="136091"/>
                      <a:pt x="28694" y="135328"/>
                      <a:pt x="24877" y="133737"/>
                    </a:cubicBezTo>
                    <a:cubicBezTo>
                      <a:pt x="21059" y="132147"/>
                      <a:pt x="18324" y="130111"/>
                      <a:pt x="16542" y="127566"/>
                    </a:cubicBezTo>
                    <a:cubicBezTo>
                      <a:pt x="14761" y="125021"/>
                      <a:pt x="13552" y="121649"/>
                      <a:pt x="12852" y="117386"/>
                    </a:cubicBezTo>
                    <a:cubicBezTo>
                      <a:pt x="12279" y="114332"/>
                      <a:pt x="12025" y="108161"/>
                      <a:pt x="12025" y="98935"/>
                    </a:cubicBezTo>
                    <a:lnTo>
                      <a:pt x="12025" y="55798"/>
                    </a:lnTo>
                    <a:lnTo>
                      <a:pt x="0" y="55798"/>
                    </a:lnTo>
                    <a:lnTo>
                      <a:pt x="0" y="34929"/>
                    </a:lnTo>
                    <a:lnTo>
                      <a:pt x="12025" y="34929"/>
                    </a:lnTo>
                    <a:lnTo>
                      <a:pt x="12025" y="15270"/>
                    </a:lnTo>
                    <a:lnTo>
                      <a:pt x="38302" y="0"/>
                    </a:lnTo>
                    <a:lnTo>
                      <a:pt x="38302" y="34929"/>
                    </a:lnTo>
                    <a:lnTo>
                      <a:pt x="56116" y="34929"/>
                    </a:lnTo>
                    <a:close/>
                  </a:path>
                </a:pathLst>
              </a:custGeom>
              <a:grpFill/>
              <a:ln w="6361" cap="flat">
                <a:noFill/>
                <a:prstDash val="solid"/>
                <a:miter/>
              </a:ln>
            </p:spPr>
            <p:txBody>
              <a:bodyPr rtlCol="0" anchor="ctr"/>
              <a:lstStyle/>
              <a:p>
                <a:endParaRPr lang="da-DK"/>
              </a:p>
            </p:txBody>
          </p:sp>
          <p:sp>
            <p:nvSpPr>
              <p:cNvPr id="195" name="Freeform: Shape 194">
                <a:extLst>
                  <a:ext uri="{FF2B5EF4-FFF2-40B4-BE49-F238E27FC236}">
                    <a16:creationId xmlns:a16="http://schemas.microsoft.com/office/drawing/2014/main" id="{260D3853-EC46-40F1-89B8-60FF0DD4929C}"/>
                  </a:ext>
                </a:extLst>
              </p:cNvPr>
              <p:cNvSpPr/>
              <p:nvPr/>
            </p:nvSpPr>
            <p:spPr>
              <a:xfrm>
                <a:off x="1555734" y="3237301"/>
                <a:ext cx="111023" cy="141435"/>
              </a:xfrm>
              <a:custGeom>
                <a:avLst/>
                <a:gdLst>
                  <a:gd name="connsiteX0" fmla="*/ 0 w 111023"/>
                  <a:gd name="connsiteY0" fmla="*/ 94545 h 141435"/>
                  <a:gd name="connsiteX1" fmla="*/ 26849 w 111023"/>
                  <a:gd name="connsiteY1" fmla="*/ 91937 h 141435"/>
                  <a:gd name="connsiteX2" fmla="*/ 36647 w 111023"/>
                  <a:gd name="connsiteY2" fmla="*/ 111787 h 141435"/>
                  <a:gd name="connsiteX3" fmla="*/ 56625 w 111023"/>
                  <a:gd name="connsiteY3" fmla="*/ 118150 h 141435"/>
                  <a:gd name="connsiteX4" fmla="*/ 76730 w 111023"/>
                  <a:gd name="connsiteY4" fmla="*/ 112487 h 141435"/>
                  <a:gd name="connsiteX5" fmla="*/ 83475 w 111023"/>
                  <a:gd name="connsiteY5" fmla="*/ 99317 h 141435"/>
                  <a:gd name="connsiteX6" fmla="*/ 80611 w 111023"/>
                  <a:gd name="connsiteY6" fmla="*/ 91046 h 141435"/>
                  <a:gd name="connsiteX7" fmla="*/ 70686 w 111023"/>
                  <a:gd name="connsiteY7" fmla="*/ 85129 h 141435"/>
                  <a:gd name="connsiteX8" fmla="*/ 48609 w 111023"/>
                  <a:gd name="connsiteY8" fmla="*/ 79148 h 141435"/>
                  <a:gd name="connsiteX9" fmla="*/ 17497 w 111023"/>
                  <a:gd name="connsiteY9" fmla="*/ 65660 h 141435"/>
                  <a:gd name="connsiteX10" fmla="*/ 4899 w 111023"/>
                  <a:gd name="connsiteY10" fmla="*/ 38174 h 141435"/>
                  <a:gd name="connsiteX11" fmla="*/ 10816 w 111023"/>
                  <a:gd name="connsiteY11" fmla="*/ 18642 h 141435"/>
                  <a:gd name="connsiteX12" fmla="*/ 27867 w 111023"/>
                  <a:gd name="connsiteY12" fmla="*/ 4772 h 141435"/>
                  <a:gd name="connsiteX13" fmla="*/ 54780 w 111023"/>
                  <a:gd name="connsiteY13" fmla="*/ 0 h 141435"/>
                  <a:gd name="connsiteX14" fmla="*/ 93527 w 111023"/>
                  <a:gd name="connsiteY14" fmla="*/ 11262 h 141435"/>
                  <a:gd name="connsiteX15" fmla="*/ 107206 w 111023"/>
                  <a:gd name="connsiteY15" fmla="*/ 41356 h 141435"/>
                  <a:gd name="connsiteX16" fmla="*/ 79593 w 111023"/>
                  <a:gd name="connsiteY16" fmla="*/ 42564 h 141435"/>
                  <a:gd name="connsiteX17" fmla="*/ 72022 w 111023"/>
                  <a:gd name="connsiteY17" fmla="*/ 27422 h 141435"/>
                  <a:gd name="connsiteX18" fmla="*/ 54526 w 111023"/>
                  <a:gd name="connsiteY18" fmla="*/ 22841 h 141435"/>
                  <a:gd name="connsiteX19" fmla="*/ 35693 w 111023"/>
                  <a:gd name="connsiteY19" fmla="*/ 27804 h 141435"/>
                  <a:gd name="connsiteX20" fmla="*/ 31303 w 111023"/>
                  <a:gd name="connsiteY20" fmla="*/ 36266 h 141435"/>
                  <a:gd name="connsiteX21" fmla="*/ 35375 w 111023"/>
                  <a:gd name="connsiteY21" fmla="*/ 44537 h 141435"/>
                  <a:gd name="connsiteX22" fmla="*/ 60697 w 111023"/>
                  <a:gd name="connsiteY22" fmla="*/ 53699 h 141435"/>
                  <a:gd name="connsiteX23" fmla="*/ 90473 w 111023"/>
                  <a:gd name="connsiteY23" fmla="*/ 63560 h 141435"/>
                  <a:gd name="connsiteX24" fmla="*/ 105552 w 111023"/>
                  <a:gd name="connsiteY24" fmla="*/ 77430 h 141435"/>
                  <a:gd name="connsiteX25" fmla="*/ 111024 w 111023"/>
                  <a:gd name="connsiteY25" fmla="*/ 99190 h 141435"/>
                  <a:gd name="connsiteX26" fmla="*/ 104470 w 111023"/>
                  <a:gd name="connsiteY26" fmla="*/ 121204 h 141435"/>
                  <a:gd name="connsiteX27" fmla="*/ 86020 w 111023"/>
                  <a:gd name="connsiteY27" fmla="*/ 136473 h 141435"/>
                  <a:gd name="connsiteX28" fmla="*/ 56307 w 111023"/>
                  <a:gd name="connsiteY28" fmla="*/ 141436 h 141435"/>
                  <a:gd name="connsiteX29" fmla="*/ 16542 w 111023"/>
                  <a:gd name="connsiteY29" fmla="*/ 129475 h 141435"/>
                  <a:gd name="connsiteX30" fmla="*/ 0 w 111023"/>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23" h="141435">
                    <a:moveTo>
                      <a:pt x="0" y="94545"/>
                    </a:moveTo>
                    <a:lnTo>
                      <a:pt x="26849" y="91937"/>
                    </a:lnTo>
                    <a:cubicBezTo>
                      <a:pt x="28440" y="100971"/>
                      <a:pt x="31748" y="107588"/>
                      <a:pt x="36647" y="111787"/>
                    </a:cubicBezTo>
                    <a:cubicBezTo>
                      <a:pt x="41546" y="115986"/>
                      <a:pt x="48227" y="118150"/>
                      <a:pt x="56625" y="118150"/>
                    </a:cubicBezTo>
                    <a:cubicBezTo>
                      <a:pt x="65533" y="118150"/>
                      <a:pt x="72213" y="116304"/>
                      <a:pt x="76730" y="112487"/>
                    </a:cubicBezTo>
                    <a:cubicBezTo>
                      <a:pt x="81248" y="108733"/>
                      <a:pt x="83475" y="104343"/>
                      <a:pt x="83475" y="99317"/>
                    </a:cubicBezTo>
                    <a:cubicBezTo>
                      <a:pt x="83475" y="96072"/>
                      <a:pt x="82520" y="93336"/>
                      <a:pt x="80611" y="91046"/>
                    </a:cubicBezTo>
                    <a:cubicBezTo>
                      <a:pt x="78703" y="88755"/>
                      <a:pt x="75394" y="86783"/>
                      <a:pt x="70686" y="85129"/>
                    </a:cubicBezTo>
                    <a:cubicBezTo>
                      <a:pt x="67441" y="83984"/>
                      <a:pt x="60125" y="82011"/>
                      <a:pt x="48609" y="79148"/>
                    </a:cubicBezTo>
                    <a:cubicBezTo>
                      <a:pt x="33848" y="75458"/>
                      <a:pt x="23414" y="71004"/>
                      <a:pt x="17497" y="65660"/>
                    </a:cubicBezTo>
                    <a:cubicBezTo>
                      <a:pt x="9098" y="58152"/>
                      <a:pt x="4899" y="48990"/>
                      <a:pt x="4899" y="38174"/>
                    </a:cubicBezTo>
                    <a:cubicBezTo>
                      <a:pt x="4899" y="31239"/>
                      <a:pt x="6871" y="24686"/>
                      <a:pt x="10816" y="18642"/>
                    </a:cubicBezTo>
                    <a:cubicBezTo>
                      <a:pt x="14761" y="12598"/>
                      <a:pt x="20423" y="7953"/>
                      <a:pt x="27867" y="4772"/>
                    </a:cubicBezTo>
                    <a:cubicBezTo>
                      <a:pt x="35311" y="1591"/>
                      <a:pt x="44282" y="0"/>
                      <a:pt x="54780" y="0"/>
                    </a:cubicBezTo>
                    <a:cubicBezTo>
                      <a:pt x="71959" y="0"/>
                      <a:pt x="84811" y="3754"/>
                      <a:pt x="93527" y="11262"/>
                    </a:cubicBezTo>
                    <a:cubicBezTo>
                      <a:pt x="102244" y="18769"/>
                      <a:pt x="106761" y="28822"/>
                      <a:pt x="107206" y="41356"/>
                    </a:cubicBezTo>
                    <a:lnTo>
                      <a:pt x="79593" y="42564"/>
                    </a:lnTo>
                    <a:cubicBezTo>
                      <a:pt x="78385" y="35566"/>
                      <a:pt x="75903" y="30476"/>
                      <a:pt x="72022" y="27422"/>
                    </a:cubicBezTo>
                    <a:cubicBezTo>
                      <a:pt x="68141" y="24368"/>
                      <a:pt x="62288" y="22841"/>
                      <a:pt x="54526" y="22841"/>
                    </a:cubicBezTo>
                    <a:cubicBezTo>
                      <a:pt x="46509" y="22841"/>
                      <a:pt x="40210" y="24495"/>
                      <a:pt x="35693" y="27804"/>
                    </a:cubicBezTo>
                    <a:cubicBezTo>
                      <a:pt x="32766" y="29903"/>
                      <a:pt x="31303" y="32766"/>
                      <a:pt x="31303" y="36266"/>
                    </a:cubicBezTo>
                    <a:cubicBezTo>
                      <a:pt x="31303" y="39510"/>
                      <a:pt x="32639" y="42246"/>
                      <a:pt x="35375" y="44537"/>
                    </a:cubicBezTo>
                    <a:cubicBezTo>
                      <a:pt x="38874" y="47463"/>
                      <a:pt x="47336" y="50517"/>
                      <a:pt x="60697" y="53699"/>
                    </a:cubicBezTo>
                    <a:cubicBezTo>
                      <a:pt x="74058" y="56880"/>
                      <a:pt x="84047" y="60125"/>
                      <a:pt x="90473" y="63560"/>
                    </a:cubicBezTo>
                    <a:cubicBezTo>
                      <a:pt x="96899" y="66932"/>
                      <a:pt x="101926" y="71577"/>
                      <a:pt x="105552" y="77430"/>
                    </a:cubicBezTo>
                    <a:cubicBezTo>
                      <a:pt x="109179" y="83284"/>
                      <a:pt x="111024" y="90537"/>
                      <a:pt x="111024" y="99190"/>
                    </a:cubicBezTo>
                    <a:cubicBezTo>
                      <a:pt x="111024" y="107015"/>
                      <a:pt x="108861" y="114332"/>
                      <a:pt x="104470" y="121204"/>
                    </a:cubicBezTo>
                    <a:cubicBezTo>
                      <a:pt x="100080" y="128075"/>
                      <a:pt x="93973" y="133101"/>
                      <a:pt x="86020" y="136473"/>
                    </a:cubicBezTo>
                    <a:cubicBezTo>
                      <a:pt x="78067" y="139782"/>
                      <a:pt x="68141" y="141436"/>
                      <a:pt x="56307" y="141436"/>
                    </a:cubicBezTo>
                    <a:cubicBezTo>
                      <a:pt x="39065" y="141436"/>
                      <a:pt x="25768" y="137428"/>
                      <a:pt x="16542" y="129475"/>
                    </a:cubicBezTo>
                    <a:cubicBezTo>
                      <a:pt x="7317" y="121522"/>
                      <a:pt x="1781" y="109879"/>
                      <a:pt x="0" y="94545"/>
                    </a:cubicBezTo>
                    <a:close/>
                  </a:path>
                </a:pathLst>
              </a:custGeom>
              <a:grpFill/>
              <a:ln w="6361" cap="flat">
                <a:noFill/>
                <a:prstDash val="solid"/>
                <a:miter/>
              </a:ln>
            </p:spPr>
            <p:txBody>
              <a:bodyPr rtlCol="0" anchor="ctr"/>
              <a:lstStyle/>
              <a:p>
                <a:endParaRPr lang="da-DK"/>
              </a:p>
            </p:txBody>
          </p:sp>
          <p:sp>
            <p:nvSpPr>
              <p:cNvPr id="196" name="Freeform: Shape 195">
                <a:extLst>
                  <a:ext uri="{FF2B5EF4-FFF2-40B4-BE49-F238E27FC236}">
                    <a16:creationId xmlns:a16="http://schemas.microsoft.com/office/drawing/2014/main" id="{3B59CE1C-DDCC-47F2-89E3-9667EC5FE4F4}"/>
                  </a:ext>
                </a:extLst>
              </p:cNvPr>
              <p:cNvSpPr/>
              <p:nvPr/>
            </p:nvSpPr>
            <p:spPr>
              <a:xfrm>
                <a:off x="1689217" y="3239718"/>
                <a:ext cx="27612" cy="136600"/>
              </a:xfrm>
              <a:custGeom>
                <a:avLst/>
                <a:gdLst>
                  <a:gd name="connsiteX0" fmla="*/ 0 w 27612"/>
                  <a:gd name="connsiteY0" fmla="*/ 136601 h 136600"/>
                  <a:gd name="connsiteX1" fmla="*/ 0 w 27612"/>
                  <a:gd name="connsiteY1" fmla="*/ 0 h 136600"/>
                  <a:gd name="connsiteX2" fmla="*/ 27613 w 27612"/>
                  <a:gd name="connsiteY2" fmla="*/ 0 h 136600"/>
                  <a:gd name="connsiteX3" fmla="*/ 27613 w 27612"/>
                  <a:gd name="connsiteY3" fmla="*/ 136601 h 136600"/>
                  <a:gd name="connsiteX4" fmla="*/ 0 w 27612"/>
                  <a:gd name="connsiteY4" fmla="*/ 136601 h 1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12" h="136600">
                    <a:moveTo>
                      <a:pt x="0" y="136601"/>
                    </a:moveTo>
                    <a:lnTo>
                      <a:pt x="0" y="0"/>
                    </a:lnTo>
                    <a:lnTo>
                      <a:pt x="27613" y="0"/>
                    </a:lnTo>
                    <a:lnTo>
                      <a:pt x="27613" y="136601"/>
                    </a:lnTo>
                    <a:lnTo>
                      <a:pt x="0" y="136601"/>
                    </a:lnTo>
                    <a:close/>
                  </a:path>
                </a:pathLst>
              </a:custGeom>
              <a:grpFill/>
              <a:ln w="6361" cap="flat">
                <a:noFill/>
                <a:prstDash val="solid"/>
                <a:miter/>
              </a:ln>
            </p:spPr>
            <p:txBody>
              <a:bodyPr rtlCol="0" anchor="ctr"/>
              <a:lstStyle/>
              <a:p>
                <a:endParaRPr lang="da-DK"/>
              </a:p>
            </p:txBody>
          </p:sp>
          <p:sp>
            <p:nvSpPr>
              <p:cNvPr id="197" name="Freeform: Shape 196">
                <a:extLst>
                  <a:ext uri="{FF2B5EF4-FFF2-40B4-BE49-F238E27FC236}">
                    <a16:creationId xmlns:a16="http://schemas.microsoft.com/office/drawing/2014/main" id="{FF2EC29B-B2ED-4852-BF14-2791FDFFEFAA}"/>
                  </a:ext>
                </a:extLst>
              </p:cNvPr>
              <p:cNvSpPr/>
              <p:nvPr/>
            </p:nvSpPr>
            <p:spPr>
              <a:xfrm>
                <a:off x="1736044" y="3237301"/>
                <a:ext cx="111087" cy="141435"/>
              </a:xfrm>
              <a:custGeom>
                <a:avLst/>
                <a:gdLst>
                  <a:gd name="connsiteX0" fmla="*/ 0 w 111087"/>
                  <a:gd name="connsiteY0" fmla="*/ 94545 h 141435"/>
                  <a:gd name="connsiteX1" fmla="*/ 26849 w 111087"/>
                  <a:gd name="connsiteY1" fmla="*/ 91937 h 141435"/>
                  <a:gd name="connsiteX2" fmla="*/ 36711 w 111087"/>
                  <a:gd name="connsiteY2" fmla="*/ 111787 h 141435"/>
                  <a:gd name="connsiteX3" fmla="*/ 56689 w 111087"/>
                  <a:gd name="connsiteY3" fmla="*/ 118150 h 141435"/>
                  <a:gd name="connsiteX4" fmla="*/ 76794 w 111087"/>
                  <a:gd name="connsiteY4" fmla="*/ 112487 h 141435"/>
                  <a:gd name="connsiteX5" fmla="*/ 83538 w 111087"/>
                  <a:gd name="connsiteY5" fmla="*/ 99317 h 141435"/>
                  <a:gd name="connsiteX6" fmla="*/ 80675 w 111087"/>
                  <a:gd name="connsiteY6" fmla="*/ 91046 h 141435"/>
                  <a:gd name="connsiteX7" fmla="*/ 70750 w 111087"/>
                  <a:gd name="connsiteY7" fmla="*/ 85129 h 141435"/>
                  <a:gd name="connsiteX8" fmla="*/ 48672 w 111087"/>
                  <a:gd name="connsiteY8" fmla="*/ 79148 h 141435"/>
                  <a:gd name="connsiteX9" fmla="*/ 17560 w 111087"/>
                  <a:gd name="connsiteY9" fmla="*/ 65660 h 141435"/>
                  <a:gd name="connsiteX10" fmla="*/ 4963 w 111087"/>
                  <a:gd name="connsiteY10" fmla="*/ 38174 h 141435"/>
                  <a:gd name="connsiteX11" fmla="*/ 10880 w 111087"/>
                  <a:gd name="connsiteY11" fmla="*/ 18642 h 141435"/>
                  <a:gd name="connsiteX12" fmla="*/ 27931 w 111087"/>
                  <a:gd name="connsiteY12" fmla="*/ 4772 h 141435"/>
                  <a:gd name="connsiteX13" fmla="*/ 54844 w 111087"/>
                  <a:gd name="connsiteY13" fmla="*/ 0 h 141435"/>
                  <a:gd name="connsiteX14" fmla="*/ 93591 w 111087"/>
                  <a:gd name="connsiteY14" fmla="*/ 11262 h 141435"/>
                  <a:gd name="connsiteX15" fmla="*/ 107270 w 111087"/>
                  <a:gd name="connsiteY15" fmla="*/ 41356 h 141435"/>
                  <a:gd name="connsiteX16" fmla="*/ 79657 w 111087"/>
                  <a:gd name="connsiteY16" fmla="*/ 42564 h 141435"/>
                  <a:gd name="connsiteX17" fmla="*/ 72086 w 111087"/>
                  <a:gd name="connsiteY17" fmla="*/ 27422 h 141435"/>
                  <a:gd name="connsiteX18" fmla="*/ 54589 w 111087"/>
                  <a:gd name="connsiteY18" fmla="*/ 22841 h 141435"/>
                  <a:gd name="connsiteX19" fmla="*/ 35757 w 111087"/>
                  <a:gd name="connsiteY19" fmla="*/ 27804 h 141435"/>
                  <a:gd name="connsiteX20" fmla="*/ 31367 w 111087"/>
                  <a:gd name="connsiteY20" fmla="*/ 36266 h 141435"/>
                  <a:gd name="connsiteX21" fmla="*/ 35439 w 111087"/>
                  <a:gd name="connsiteY21" fmla="*/ 44537 h 141435"/>
                  <a:gd name="connsiteX22" fmla="*/ 60761 w 111087"/>
                  <a:gd name="connsiteY22" fmla="*/ 53699 h 141435"/>
                  <a:gd name="connsiteX23" fmla="*/ 90537 w 111087"/>
                  <a:gd name="connsiteY23" fmla="*/ 63560 h 141435"/>
                  <a:gd name="connsiteX24" fmla="*/ 105616 w 111087"/>
                  <a:gd name="connsiteY24" fmla="*/ 77430 h 141435"/>
                  <a:gd name="connsiteX25" fmla="*/ 111087 w 111087"/>
                  <a:gd name="connsiteY25" fmla="*/ 99190 h 141435"/>
                  <a:gd name="connsiteX26" fmla="*/ 104534 w 111087"/>
                  <a:gd name="connsiteY26" fmla="*/ 121204 h 141435"/>
                  <a:gd name="connsiteX27" fmla="*/ 86083 w 111087"/>
                  <a:gd name="connsiteY27" fmla="*/ 136473 h 141435"/>
                  <a:gd name="connsiteX28" fmla="*/ 56371 w 111087"/>
                  <a:gd name="connsiteY28" fmla="*/ 141436 h 141435"/>
                  <a:gd name="connsiteX29" fmla="*/ 16542 w 111087"/>
                  <a:gd name="connsiteY29" fmla="*/ 129475 h 141435"/>
                  <a:gd name="connsiteX30" fmla="*/ 0 w 111087"/>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87" h="141435">
                    <a:moveTo>
                      <a:pt x="0" y="94545"/>
                    </a:moveTo>
                    <a:lnTo>
                      <a:pt x="26849" y="91937"/>
                    </a:lnTo>
                    <a:cubicBezTo>
                      <a:pt x="28440" y="100971"/>
                      <a:pt x="31748" y="107588"/>
                      <a:pt x="36711" y="111787"/>
                    </a:cubicBezTo>
                    <a:cubicBezTo>
                      <a:pt x="41674" y="115986"/>
                      <a:pt x="48291" y="118150"/>
                      <a:pt x="56689" y="118150"/>
                    </a:cubicBezTo>
                    <a:cubicBezTo>
                      <a:pt x="65596" y="118150"/>
                      <a:pt x="72277" y="116304"/>
                      <a:pt x="76794" y="112487"/>
                    </a:cubicBezTo>
                    <a:cubicBezTo>
                      <a:pt x="81311" y="108733"/>
                      <a:pt x="83538" y="104343"/>
                      <a:pt x="83538" y="99317"/>
                    </a:cubicBezTo>
                    <a:cubicBezTo>
                      <a:pt x="83538" y="96072"/>
                      <a:pt x="82584" y="93336"/>
                      <a:pt x="80675" y="91046"/>
                    </a:cubicBezTo>
                    <a:cubicBezTo>
                      <a:pt x="78766" y="88755"/>
                      <a:pt x="75458" y="86783"/>
                      <a:pt x="70750" y="85129"/>
                    </a:cubicBezTo>
                    <a:cubicBezTo>
                      <a:pt x="67505" y="83984"/>
                      <a:pt x="60125" y="82011"/>
                      <a:pt x="48672" y="79148"/>
                    </a:cubicBezTo>
                    <a:cubicBezTo>
                      <a:pt x="33912" y="75458"/>
                      <a:pt x="23477" y="71004"/>
                      <a:pt x="17560" y="65660"/>
                    </a:cubicBezTo>
                    <a:cubicBezTo>
                      <a:pt x="9162" y="58152"/>
                      <a:pt x="4963" y="48990"/>
                      <a:pt x="4963" y="38174"/>
                    </a:cubicBezTo>
                    <a:cubicBezTo>
                      <a:pt x="4963" y="31239"/>
                      <a:pt x="6935" y="24686"/>
                      <a:pt x="10880" y="18642"/>
                    </a:cubicBezTo>
                    <a:cubicBezTo>
                      <a:pt x="14824" y="12598"/>
                      <a:pt x="20487" y="7953"/>
                      <a:pt x="27931" y="4772"/>
                    </a:cubicBezTo>
                    <a:cubicBezTo>
                      <a:pt x="35375" y="1591"/>
                      <a:pt x="44346" y="0"/>
                      <a:pt x="54844" y="0"/>
                    </a:cubicBezTo>
                    <a:cubicBezTo>
                      <a:pt x="72022" y="0"/>
                      <a:pt x="84874" y="3754"/>
                      <a:pt x="93591" y="11262"/>
                    </a:cubicBezTo>
                    <a:cubicBezTo>
                      <a:pt x="102307" y="18769"/>
                      <a:pt x="106825" y="28822"/>
                      <a:pt x="107270" y="41356"/>
                    </a:cubicBezTo>
                    <a:lnTo>
                      <a:pt x="79657" y="42564"/>
                    </a:lnTo>
                    <a:cubicBezTo>
                      <a:pt x="78448" y="35566"/>
                      <a:pt x="75967" y="30476"/>
                      <a:pt x="72086" y="27422"/>
                    </a:cubicBezTo>
                    <a:cubicBezTo>
                      <a:pt x="68205" y="24368"/>
                      <a:pt x="62351" y="22841"/>
                      <a:pt x="54589" y="22841"/>
                    </a:cubicBezTo>
                    <a:cubicBezTo>
                      <a:pt x="46573" y="22841"/>
                      <a:pt x="40274" y="24495"/>
                      <a:pt x="35757" y="27804"/>
                    </a:cubicBezTo>
                    <a:cubicBezTo>
                      <a:pt x="32830" y="29903"/>
                      <a:pt x="31367" y="32766"/>
                      <a:pt x="31367" y="36266"/>
                    </a:cubicBezTo>
                    <a:cubicBezTo>
                      <a:pt x="31367" y="39510"/>
                      <a:pt x="32703" y="42246"/>
                      <a:pt x="35439" y="44537"/>
                    </a:cubicBezTo>
                    <a:cubicBezTo>
                      <a:pt x="38938" y="47463"/>
                      <a:pt x="47400" y="50517"/>
                      <a:pt x="60761" y="53699"/>
                    </a:cubicBezTo>
                    <a:cubicBezTo>
                      <a:pt x="74122" y="56880"/>
                      <a:pt x="84111" y="60125"/>
                      <a:pt x="90537" y="63560"/>
                    </a:cubicBezTo>
                    <a:cubicBezTo>
                      <a:pt x="96963" y="66932"/>
                      <a:pt x="101989" y="71577"/>
                      <a:pt x="105616" y="77430"/>
                    </a:cubicBezTo>
                    <a:cubicBezTo>
                      <a:pt x="109242" y="83284"/>
                      <a:pt x="111087" y="90537"/>
                      <a:pt x="111087" y="99190"/>
                    </a:cubicBezTo>
                    <a:cubicBezTo>
                      <a:pt x="111087" y="107015"/>
                      <a:pt x="108924" y="114332"/>
                      <a:pt x="104534" y="121204"/>
                    </a:cubicBezTo>
                    <a:cubicBezTo>
                      <a:pt x="100144" y="128075"/>
                      <a:pt x="94036" y="133101"/>
                      <a:pt x="86083" y="136473"/>
                    </a:cubicBezTo>
                    <a:cubicBezTo>
                      <a:pt x="78130" y="139782"/>
                      <a:pt x="68205" y="141436"/>
                      <a:pt x="56371" y="141436"/>
                    </a:cubicBezTo>
                    <a:cubicBezTo>
                      <a:pt x="39129" y="141436"/>
                      <a:pt x="25831" y="137428"/>
                      <a:pt x="16542" y="129475"/>
                    </a:cubicBezTo>
                    <a:cubicBezTo>
                      <a:pt x="7380" y="121522"/>
                      <a:pt x="1845" y="109879"/>
                      <a:pt x="0" y="94545"/>
                    </a:cubicBezTo>
                    <a:close/>
                  </a:path>
                </a:pathLst>
              </a:custGeom>
              <a:grpFill/>
              <a:ln w="6361" cap="flat">
                <a:noFill/>
                <a:prstDash val="solid"/>
                <a:miter/>
              </a:ln>
            </p:spPr>
            <p:txBody>
              <a:bodyPr rtlCol="0" anchor="ctr"/>
              <a:lstStyle/>
              <a:p>
                <a:endParaRPr lang="da-DK"/>
              </a:p>
            </p:txBody>
          </p:sp>
        </p:grpSp>
        <p:grpSp>
          <p:nvGrpSpPr>
            <p:cNvPr id="136" name="Graphic 5">
              <a:extLst>
                <a:ext uri="{FF2B5EF4-FFF2-40B4-BE49-F238E27FC236}">
                  <a16:creationId xmlns:a16="http://schemas.microsoft.com/office/drawing/2014/main" id="{5CE08459-A461-41A7-A386-98767833848C}"/>
                </a:ext>
              </a:extLst>
            </p:cNvPr>
            <p:cNvGrpSpPr/>
            <p:nvPr/>
          </p:nvGrpSpPr>
          <p:grpSpPr>
            <a:xfrm>
              <a:off x="1202622" y="3457567"/>
              <a:ext cx="491876" cy="224401"/>
              <a:chOff x="1202622" y="3457567"/>
              <a:chExt cx="491876" cy="224401"/>
            </a:xfrm>
            <a:grpFill/>
          </p:grpSpPr>
          <p:sp>
            <p:nvSpPr>
              <p:cNvPr id="145" name="Freeform: Shape 144">
                <a:extLst>
                  <a:ext uri="{FF2B5EF4-FFF2-40B4-BE49-F238E27FC236}">
                    <a16:creationId xmlns:a16="http://schemas.microsoft.com/office/drawing/2014/main" id="{FEC06A92-DA19-4257-A721-377867D8BF62}"/>
                  </a:ext>
                </a:extLst>
              </p:cNvPr>
              <p:cNvSpPr/>
              <p:nvPr/>
            </p:nvSpPr>
            <p:spPr>
              <a:xfrm>
                <a:off x="1202622" y="3457567"/>
                <a:ext cx="28503" cy="45554"/>
              </a:xfrm>
              <a:custGeom>
                <a:avLst/>
                <a:gdLst>
                  <a:gd name="connsiteX0" fmla="*/ 0 w 28503"/>
                  <a:gd name="connsiteY0" fmla="*/ 45555 h 45554"/>
                  <a:gd name="connsiteX1" fmla="*/ 0 w 28503"/>
                  <a:gd name="connsiteY1" fmla="*/ 0 h 45554"/>
                  <a:gd name="connsiteX2" fmla="*/ 6044 w 28503"/>
                  <a:gd name="connsiteY2" fmla="*/ 0 h 45554"/>
                  <a:gd name="connsiteX3" fmla="*/ 6044 w 28503"/>
                  <a:gd name="connsiteY3" fmla="*/ 40147 h 45554"/>
                  <a:gd name="connsiteX4" fmla="*/ 28504 w 28503"/>
                  <a:gd name="connsiteY4" fmla="*/ 40147 h 45554"/>
                  <a:gd name="connsiteX5" fmla="*/ 28504 w 28503"/>
                  <a:gd name="connsiteY5" fmla="*/ 45491 h 45554"/>
                  <a:gd name="connsiteX6" fmla="*/ 0 w 28503"/>
                  <a:gd name="connsiteY6"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03" h="45554">
                    <a:moveTo>
                      <a:pt x="0" y="45555"/>
                    </a:moveTo>
                    <a:lnTo>
                      <a:pt x="0" y="0"/>
                    </a:lnTo>
                    <a:lnTo>
                      <a:pt x="6044" y="0"/>
                    </a:lnTo>
                    <a:lnTo>
                      <a:pt x="6044" y="40147"/>
                    </a:lnTo>
                    <a:lnTo>
                      <a:pt x="28504" y="40147"/>
                    </a:lnTo>
                    <a:lnTo>
                      <a:pt x="28504" y="45491"/>
                    </a:lnTo>
                    <a:lnTo>
                      <a:pt x="0" y="45491"/>
                    </a:lnTo>
                    <a:close/>
                  </a:path>
                </a:pathLst>
              </a:custGeom>
              <a:grpFill/>
              <a:ln w="6361" cap="flat">
                <a:noFill/>
                <a:prstDash val="solid"/>
                <a:miter/>
              </a:ln>
            </p:spPr>
            <p:txBody>
              <a:bodyPr rtlCol="0" anchor="ctr"/>
              <a:lstStyle/>
              <a:p>
                <a:endParaRPr lang="da-DK"/>
              </a:p>
            </p:txBody>
          </p:sp>
          <p:sp>
            <p:nvSpPr>
              <p:cNvPr id="146" name="Freeform: Shape 145">
                <a:extLst>
                  <a:ext uri="{FF2B5EF4-FFF2-40B4-BE49-F238E27FC236}">
                    <a16:creationId xmlns:a16="http://schemas.microsoft.com/office/drawing/2014/main" id="{C3A4CF0B-8AF5-465A-8E8C-3AA0345450A8}"/>
                  </a:ext>
                </a:extLst>
              </p:cNvPr>
              <p:cNvSpPr/>
              <p:nvPr/>
            </p:nvSpPr>
            <p:spPr>
              <a:xfrm>
                <a:off x="1235770"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grpFill/>
              <a:ln w="6361" cap="flat">
                <a:noFill/>
                <a:prstDash val="solid"/>
                <a:miter/>
              </a:ln>
            </p:spPr>
            <p:txBody>
              <a:bodyPr rtlCol="0" anchor="ctr"/>
              <a:lstStyle/>
              <a:p>
                <a:endParaRPr lang="da-DK"/>
              </a:p>
            </p:txBody>
          </p:sp>
          <p:sp>
            <p:nvSpPr>
              <p:cNvPr id="147" name="Freeform: Shape 146">
                <a:extLst>
                  <a:ext uri="{FF2B5EF4-FFF2-40B4-BE49-F238E27FC236}">
                    <a16:creationId xmlns:a16="http://schemas.microsoft.com/office/drawing/2014/main" id="{8ED1E6CD-5C0C-457D-B580-84BA39408297}"/>
                  </a:ext>
                </a:extLst>
              </p:cNvPr>
              <p:cNvSpPr/>
              <p:nvPr/>
            </p:nvSpPr>
            <p:spPr>
              <a:xfrm>
                <a:off x="126993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07 w 16033"/>
                  <a:gd name="connsiteY11" fmla="*/ 0 h 44918"/>
                  <a:gd name="connsiteX12" fmla="*/ 9607 w 16033"/>
                  <a:gd name="connsiteY12" fmla="*/ 11516 h 44918"/>
                  <a:gd name="connsiteX13" fmla="*/ 15206 w 16033"/>
                  <a:gd name="connsiteY13" fmla="*/ 11516 h 44918"/>
                  <a:gd name="connsiteX14" fmla="*/ 15206 w 16033"/>
                  <a:gd name="connsiteY14" fmla="*/ 15842 h 44918"/>
                  <a:gd name="connsiteX15" fmla="*/ 9607 w 16033"/>
                  <a:gd name="connsiteY15" fmla="*/ 15842 h 44918"/>
                  <a:gd name="connsiteX16" fmla="*/ 9607 w 16033"/>
                  <a:gd name="connsiteY16" fmla="*/ 35120 h 44918"/>
                  <a:gd name="connsiteX17" fmla="*/ 9925 w 16033"/>
                  <a:gd name="connsiteY17" fmla="*/ 38174 h 44918"/>
                  <a:gd name="connsiteX18" fmla="*/ 10880 w 16033"/>
                  <a:gd name="connsiteY18" fmla="*/ 39256 h 44918"/>
                  <a:gd name="connsiteX19" fmla="*/ 12788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07" y="0"/>
                    </a:lnTo>
                    <a:lnTo>
                      <a:pt x="9607" y="11516"/>
                    </a:lnTo>
                    <a:lnTo>
                      <a:pt x="15206" y="11516"/>
                    </a:lnTo>
                    <a:lnTo>
                      <a:pt x="15206" y="15842"/>
                    </a:lnTo>
                    <a:lnTo>
                      <a:pt x="9607" y="15842"/>
                    </a:lnTo>
                    <a:lnTo>
                      <a:pt x="9607" y="35120"/>
                    </a:lnTo>
                    <a:cubicBezTo>
                      <a:pt x="9607" y="36711"/>
                      <a:pt x="9734" y="37729"/>
                      <a:pt x="9925" y="38174"/>
                    </a:cubicBezTo>
                    <a:cubicBezTo>
                      <a:pt x="10116" y="38620"/>
                      <a:pt x="10434" y="39001"/>
                      <a:pt x="10880" y="39256"/>
                    </a:cubicBezTo>
                    <a:cubicBezTo>
                      <a:pt x="11325" y="39510"/>
                      <a:pt x="11961" y="39638"/>
                      <a:pt x="12788" y="39638"/>
                    </a:cubicBezTo>
                    <a:cubicBezTo>
                      <a:pt x="13361" y="39638"/>
                      <a:pt x="14188" y="39574"/>
                      <a:pt x="15206" y="39447"/>
                    </a:cubicBezTo>
                    <a:close/>
                  </a:path>
                </a:pathLst>
              </a:custGeom>
              <a:grpFill/>
              <a:ln w="6361" cap="flat">
                <a:noFill/>
                <a:prstDash val="solid"/>
                <a:miter/>
              </a:ln>
            </p:spPr>
            <p:txBody>
              <a:bodyPr rtlCol="0" anchor="ctr"/>
              <a:lstStyle/>
              <a:p>
                <a:endParaRPr lang="da-DK"/>
              </a:p>
            </p:txBody>
          </p:sp>
          <p:sp>
            <p:nvSpPr>
              <p:cNvPr id="148" name="Freeform: Shape 147">
                <a:extLst>
                  <a:ext uri="{FF2B5EF4-FFF2-40B4-BE49-F238E27FC236}">
                    <a16:creationId xmlns:a16="http://schemas.microsoft.com/office/drawing/2014/main" id="{E7A7E626-0448-4F87-B43D-8A8C702D3A9A}"/>
                  </a:ext>
                </a:extLst>
              </p:cNvPr>
              <p:cNvSpPr/>
              <p:nvPr/>
            </p:nvSpPr>
            <p:spPr>
              <a:xfrm>
                <a:off x="1287623"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grpFill/>
              <a:ln w="6361" cap="flat">
                <a:noFill/>
                <a:prstDash val="solid"/>
                <a:miter/>
              </a:ln>
            </p:spPr>
            <p:txBody>
              <a:bodyPr rtlCol="0" anchor="ctr"/>
              <a:lstStyle/>
              <a:p>
                <a:endParaRPr lang="da-DK"/>
              </a:p>
            </p:txBody>
          </p:sp>
          <p:sp>
            <p:nvSpPr>
              <p:cNvPr id="149" name="Freeform: Shape 148">
                <a:extLst>
                  <a:ext uri="{FF2B5EF4-FFF2-40B4-BE49-F238E27FC236}">
                    <a16:creationId xmlns:a16="http://schemas.microsoft.com/office/drawing/2014/main" id="{2CFFDAED-0B89-4932-88E2-6581D568E3BA}"/>
                  </a:ext>
                </a:extLst>
              </p:cNvPr>
              <p:cNvSpPr/>
              <p:nvPr/>
            </p:nvSpPr>
            <p:spPr>
              <a:xfrm>
                <a:off x="1306456" y="3469401"/>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grpFill/>
              <a:ln w="6361" cap="flat">
                <a:noFill/>
                <a:prstDash val="solid"/>
                <a:miter/>
              </a:ln>
            </p:spPr>
            <p:txBody>
              <a:bodyPr rtlCol="0" anchor="ctr"/>
              <a:lstStyle/>
              <a:p>
                <a:endParaRPr lang="da-DK"/>
              </a:p>
            </p:txBody>
          </p:sp>
          <p:sp>
            <p:nvSpPr>
              <p:cNvPr id="150" name="Freeform: Shape 149">
                <a:extLst>
                  <a:ext uri="{FF2B5EF4-FFF2-40B4-BE49-F238E27FC236}">
                    <a16:creationId xmlns:a16="http://schemas.microsoft.com/office/drawing/2014/main" id="{3957E977-7CF3-452A-9CC7-11DA575B61C6}"/>
                  </a:ext>
                </a:extLst>
              </p:cNvPr>
              <p:cNvSpPr/>
              <p:nvPr/>
            </p:nvSpPr>
            <p:spPr>
              <a:xfrm>
                <a:off x="1343612" y="3469337"/>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3"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51" name="Freeform: Shape 150">
                <a:extLst>
                  <a:ext uri="{FF2B5EF4-FFF2-40B4-BE49-F238E27FC236}">
                    <a16:creationId xmlns:a16="http://schemas.microsoft.com/office/drawing/2014/main" id="{51738BEE-CC4D-4A89-B512-66F928AE4EFD}"/>
                  </a:ext>
                </a:extLst>
              </p:cNvPr>
              <p:cNvSpPr/>
              <p:nvPr/>
            </p:nvSpPr>
            <p:spPr>
              <a:xfrm>
                <a:off x="1363081"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663 w 30412"/>
                  <a:gd name="connsiteY11" fmla="*/ 18642 h 34484"/>
                  <a:gd name="connsiteX12" fmla="*/ 8716 w 30412"/>
                  <a:gd name="connsiteY12" fmla="*/ 26976 h 34484"/>
                  <a:gd name="connsiteX13" fmla="*/ 15588 w 30412"/>
                  <a:gd name="connsiteY13" fmla="*/ 29840 h 34484"/>
                  <a:gd name="connsiteX14" fmla="*/ 20869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663" y="18642"/>
                    </a:lnTo>
                    <a:cubicBezTo>
                      <a:pt x="5853" y="22268"/>
                      <a:pt x="6871" y="25068"/>
                      <a:pt x="8716" y="26976"/>
                    </a:cubicBezTo>
                    <a:cubicBezTo>
                      <a:pt x="10562" y="28885"/>
                      <a:pt x="12852" y="29840"/>
                      <a:pt x="15588" y="29840"/>
                    </a:cubicBezTo>
                    <a:cubicBezTo>
                      <a:pt x="17624" y="29840"/>
                      <a:pt x="19405" y="29331"/>
                      <a:pt x="20869"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grpFill/>
              <a:ln w="6361" cap="flat">
                <a:noFill/>
                <a:prstDash val="solid"/>
                <a:miter/>
              </a:ln>
            </p:spPr>
            <p:txBody>
              <a:bodyPr rtlCol="0" anchor="ctr"/>
              <a:lstStyle/>
              <a:p>
                <a:endParaRPr lang="da-DK"/>
              </a:p>
            </p:txBody>
          </p:sp>
          <p:sp>
            <p:nvSpPr>
              <p:cNvPr id="152" name="Freeform: Shape 151">
                <a:extLst>
                  <a:ext uri="{FF2B5EF4-FFF2-40B4-BE49-F238E27FC236}">
                    <a16:creationId xmlns:a16="http://schemas.microsoft.com/office/drawing/2014/main" id="{895DA46F-9872-465A-A46C-75AA3CD3FC5C}"/>
                  </a:ext>
                </a:extLst>
              </p:cNvPr>
              <p:cNvSpPr/>
              <p:nvPr/>
            </p:nvSpPr>
            <p:spPr>
              <a:xfrm>
                <a:off x="1415698" y="3469337"/>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53" name="Freeform: Shape 152">
                <a:extLst>
                  <a:ext uri="{FF2B5EF4-FFF2-40B4-BE49-F238E27FC236}">
                    <a16:creationId xmlns:a16="http://schemas.microsoft.com/office/drawing/2014/main" id="{31C898CE-2D3F-4E41-A403-9041804D843F}"/>
                  </a:ext>
                </a:extLst>
              </p:cNvPr>
              <p:cNvSpPr/>
              <p:nvPr/>
            </p:nvSpPr>
            <p:spPr>
              <a:xfrm>
                <a:off x="144674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8"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grpFill/>
              <a:ln w="6361" cap="flat">
                <a:noFill/>
                <a:prstDash val="solid"/>
                <a:miter/>
              </a:ln>
            </p:spPr>
            <p:txBody>
              <a:bodyPr rtlCol="0" anchor="ctr"/>
              <a:lstStyle/>
              <a:p>
                <a:endParaRPr lang="da-DK"/>
              </a:p>
            </p:txBody>
          </p:sp>
          <p:sp>
            <p:nvSpPr>
              <p:cNvPr id="154" name="Freeform: Shape 153">
                <a:extLst>
                  <a:ext uri="{FF2B5EF4-FFF2-40B4-BE49-F238E27FC236}">
                    <a16:creationId xmlns:a16="http://schemas.microsoft.com/office/drawing/2014/main" id="{08AD43DD-E658-4E3A-B1A2-7AD18CDBC1A4}"/>
                  </a:ext>
                </a:extLst>
              </p:cNvPr>
              <p:cNvSpPr/>
              <p:nvPr/>
            </p:nvSpPr>
            <p:spPr>
              <a:xfrm>
                <a:off x="1467297" y="3470164"/>
                <a:ext cx="26658" cy="33720"/>
              </a:xfrm>
              <a:custGeom>
                <a:avLst/>
                <a:gdLst>
                  <a:gd name="connsiteX0" fmla="*/ 21696 w 26658"/>
                  <a:gd name="connsiteY0" fmla="*/ 32957 h 33720"/>
                  <a:gd name="connsiteX1" fmla="*/ 21696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696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696" y="32957"/>
                    </a:moveTo>
                    <a:lnTo>
                      <a:pt x="21696" y="28122"/>
                    </a:lnTo>
                    <a:cubicBezTo>
                      <a:pt x="19151" y="31876"/>
                      <a:pt x="15651"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35" y="25704"/>
                      <a:pt x="6999" y="26849"/>
                      <a:pt x="8144" y="27676"/>
                    </a:cubicBezTo>
                    <a:cubicBezTo>
                      <a:pt x="9289" y="28504"/>
                      <a:pt x="10689" y="28949"/>
                      <a:pt x="12343" y="28949"/>
                    </a:cubicBezTo>
                    <a:cubicBezTo>
                      <a:pt x="13997" y="28949"/>
                      <a:pt x="15588" y="28504"/>
                      <a:pt x="17051" y="27676"/>
                    </a:cubicBezTo>
                    <a:cubicBezTo>
                      <a:pt x="18514" y="26849"/>
                      <a:pt x="19532" y="25640"/>
                      <a:pt x="20169" y="24177"/>
                    </a:cubicBezTo>
                    <a:cubicBezTo>
                      <a:pt x="20805" y="22714"/>
                      <a:pt x="21059" y="20551"/>
                      <a:pt x="21059" y="17751"/>
                    </a:cubicBezTo>
                    <a:lnTo>
                      <a:pt x="21059" y="64"/>
                    </a:lnTo>
                    <a:lnTo>
                      <a:pt x="26658" y="64"/>
                    </a:lnTo>
                    <a:lnTo>
                      <a:pt x="26658" y="33085"/>
                    </a:lnTo>
                    <a:lnTo>
                      <a:pt x="21696" y="33085"/>
                    </a:lnTo>
                    <a:close/>
                  </a:path>
                </a:pathLst>
              </a:custGeom>
              <a:grpFill/>
              <a:ln w="6361" cap="flat">
                <a:noFill/>
                <a:prstDash val="solid"/>
                <a:miter/>
              </a:ln>
            </p:spPr>
            <p:txBody>
              <a:bodyPr rtlCol="0" anchor="ctr"/>
              <a:lstStyle/>
              <a:p>
                <a:endParaRPr lang="da-DK"/>
              </a:p>
            </p:txBody>
          </p:sp>
          <p:sp>
            <p:nvSpPr>
              <p:cNvPr id="155" name="Freeform: Shape 154">
                <a:extLst>
                  <a:ext uri="{FF2B5EF4-FFF2-40B4-BE49-F238E27FC236}">
                    <a16:creationId xmlns:a16="http://schemas.microsoft.com/office/drawing/2014/main" id="{5AEA35FA-232D-4B56-A86D-E76B8FD69E70}"/>
                  </a:ext>
                </a:extLst>
              </p:cNvPr>
              <p:cNvSpPr/>
              <p:nvPr/>
            </p:nvSpPr>
            <p:spPr>
              <a:xfrm>
                <a:off x="1500700" y="3457567"/>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8"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grpFill/>
              <a:ln w="6361" cap="flat">
                <a:noFill/>
                <a:prstDash val="solid"/>
                <a:miter/>
              </a:ln>
            </p:spPr>
            <p:txBody>
              <a:bodyPr rtlCol="0" anchor="ctr"/>
              <a:lstStyle/>
              <a:p>
                <a:endParaRPr lang="da-DK"/>
              </a:p>
            </p:txBody>
          </p:sp>
          <p:sp>
            <p:nvSpPr>
              <p:cNvPr id="156" name="Freeform: Shape 155">
                <a:extLst>
                  <a:ext uri="{FF2B5EF4-FFF2-40B4-BE49-F238E27FC236}">
                    <a16:creationId xmlns:a16="http://schemas.microsoft.com/office/drawing/2014/main" id="{6777F292-6F73-406E-9627-1CE0E97E4234}"/>
                  </a:ext>
                </a:extLst>
              </p:cNvPr>
              <p:cNvSpPr/>
              <p:nvPr/>
            </p:nvSpPr>
            <p:spPr>
              <a:xfrm>
                <a:off x="1538238"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grpFill/>
              <a:ln w="6361" cap="flat">
                <a:noFill/>
                <a:prstDash val="solid"/>
                <a:miter/>
              </a:ln>
            </p:spPr>
            <p:txBody>
              <a:bodyPr rtlCol="0" anchor="ctr"/>
              <a:lstStyle/>
              <a:p>
                <a:endParaRPr lang="da-DK"/>
              </a:p>
            </p:txBody>
          </p:sp>
          <p:sp>
            <p:nvSpPr>
              <p:cNvPr id="157" name="Freeform: Shape 156">
                <a:extLst>
                  <a:ext uri="{FF2B5EF4-FFF2-40B4-BE49-F238E27FC236}">
                    <a16:creationId xmlns:a16="http://schemas.microsoft.com/office/drawing/2014/main" id="{CB3E1891-2EAA-4690-B238-DFB8AC690D41}"/>
                  </a:ext>
                </a:extLst>
              </p:cNvPr>
              <p:cNvSpPr/>
              <p:nvPr/>
            </p:nvSpPr>
            <p:spPr>
              <a:xfrm>
                <a:off x="1550517"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grpFill/>
              <a:ln w="6361" cap="flat">
                <a:noFill/>
                <a:prstDash val="solid"/>
                <a:miter/>
              </a:ln>
            </p:spPr>
            <p:txBody>
              <a:bodyPr rtlCol="0" anchor="ctr"/>
              <a:lstStyle/>
              <a:p>
                <a:endParaRPr lang="da-DK"/>
              </a:p>
            </p:txBody>
          </p:sp>
          <p:sp>
            <p:nvSpPr>
              <p:cNvPr id="158" name="Freeform: Shape 157">
                <a:extLst>
                  <a:ext uri="{FF2B5EF4-FFF2-40B4-BE49-F238E27FC236}">
                    <a16:creationId xmlns:a16="http://schemas.microsoft.com/office/drawing/2014/main" id="{D232F6BC-AD42-4C4E-943C-ECC6A1D3B561}"/>
                  </a:ext>
                </a:extLst>
              </p:cNvPr>
              <p:cNvSpPr/>
              <p:nvPr/>
            </p:nvSpPr>
            <p:spPr>
              <a:xfrm>
                <a:off x="1587546" y="3457567"/>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59" name="Freeform: Shape 158">
                <a:extLst>
                  <a:ext uri="{FF2B5EF4-FFF2-40B4-BE49-F238E27FC236}">
                    <a16:creationId xmlns:a16="http://schemas.microsoft.com/office/drawing/2014/main" id="{47408FE1-D8D1-45F6-A7BD-A1D4F55A94D8}"/>
                  </a:ext>
                </a:extLst>
              </p:cNvPr>
              <p:cNvSpPr/>
              <p:nvPr/>
            </p:nvSpPr>
            <p:spPr>
              <a:xfrm>
                <a:off x="1601862"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grpFill/>
              <a:ln w="6361" cap="flat">
                <a:noFill/>
                <a:prstDash val="solid"/>
                <a:miter/>
              </a:ln>
            </p:spPr>
            <p:txBody>
              <a:bodyPr rtlCol="0" anchor="ctr"/>
              <a:lstStyle/>
              <a:p>
                <a:endParaRPr lang="da-DK"/>
              </a:p>
            </p:txBody>
          </p:sp>
          <p:sp>
            <p:nvSpPr>
              <p:cNvPr id="160" name="Freeform: Shape 159">
                <a:extLst>
                  <a:ext uri="{FF2B5EF4-FFF2-40B4-BE49-F238E27FC236}">
                    <a16:creationId xmlns:a16="http://schemas.microsoft.com/office/drawing/2014/main" id="{525216FA-05BC-48D8-A059-F0C4AAB0EBA0}"/>
                  </a:ext>
                </a:extLst>
              </p:cNvPr>
              <p:cNvSpPr/>
              <p:nvPr/>
            </p:nvSpPr>
            <p:spPr>
              <a:xfrm>
                <a:off x="1612614" y="3470100"/>
                <a:ext cx="30221" cy="33020"/>
              </a:xfrm>
              <a:custGeom>
                <a:avLst/>
                <a:gdLst>
                  <a:gd name="connsiteX0" fmla="*/ 12534 w 30221"/>
                  <a:gd name="connsiteY0" fmla="*/ 33021 h 33020"/>
                  <a:gd name="connsiteX1" fmla="*/ 0 w 30221"/>
                  <a:gd name="connsiteY1" fmla="*/ 0 h 33020"/>
                  <a:gd name="connsiteX2" fmla="*/ 5917 w 30221"/>
                  <a:gd name="connsiteY2" fmla="*/ 0 h 33020"/>
                  <a:gd name="connsiteX3" fmla="*/ 12979 w 30221"/>
                  <a:gd name="connsiteY3" fmla="*/ 19787 h 33020"/>
                  <a:gd name="connsiteX4" fmla="*/ 15079 w 30221"/>
                  <a:gd name="connsiteY4" fmla="*/ 26404 h 33020"/>
                  <a:gd name="connsiteX5" fmla="*/ 17178 w 30221"/>
                  <a:gd name="connsiteY5" fmla="*/ 20105 h 33020"/>
                  <a:gd name="connsiteX6" fmla="*/ 24495 w 30221"/>
                  <a:gd name="connsiteY6" fmla="*/ 0 h 33020"/>
                  <a:gd name="connsiteX7" fmla="*/ 30221 w 30221"/>
                  <a:gd name="connsiteY7" fmla="*/ 0 h 33020"/>
                  <a:gd name="connsiteX8" fmla="*/ 17751 w 30221"/>
                  <a:gd name="connsiteY8" fmla="*/ 33021 h 33020"/>
                  <a:gd name="connsiteX9" fmla="*/ 12534 w 30221"/>
                  <a:gd name="connsiteY9" fmla="*/ 33021 h 3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21" h="33020">
                    <a:moveTo>
                      <a:pt x="12534" y="33021"/>
                    </a:moveTo>
                    <a:lnTo>
                      <a:pt x="0" y="0"/>
                    </a:lnTo>
                    <a:lnTo>
                      <a:pt x="5917" y="0"/>
                    </a:lnTo>
                    <a:lnTo>
                      <a:pt x="12979" y="19787"/>
                    </a:lnTo>
                    <a:cubicBezTo>
                      <a:pt x="13743" y="21887"/>
                      <a:pt x="14443" y="24114"/>
                      <a:pt x="15079" y="26404"/>
                    </a:cubicBezTo>
                    <a:cubicBezTo>
                      <a:pt x="15588" y="24686"/>
                      <a:pt x="16288" y="22587"/>
                      <a:pt x="17178" y="20105"/>
                    </a:cubicBezTo>
                    <a:lnTo>
                      <a:pt x="24495" y="0"/>
                    </a:lnTo>
                    <a:lnTo>
                      <a:pt x="30221" y="0"/>
                    </a:lnTo>
                    <a:lnTo>
                      <a:pt x="17751" y="33021"/>
                    </a:lnTo>
                    <a:lnTo>
                      <a:pt x="12534" y="33021"/>
                    </a:lnTo>
                    <a:close/>
                  </a:path>
                </a:pathLst>
              </a:custGeom>
              <a:grpFill/>
              <a:ln w="6361" cap="flat">
                <a:noFill/>
                <a:prstDash val="solid"/>
                <a:miter/>
              </a:ln>
            </p:spPr>
            <p:txBody>
              <a:bodyPr rtlCol="0" anchor="ctr"/>
              <a:lstStyle/>
              <a:p>
                <a:endParaRPr lang="da-DK"/>
              </a:p>
            </p:txBody>
          </p:sp>
          <p:sp>
            <p:nvSpPr>
              <p:cNvPr id="161" name="Freeform: Shape 160">
                <a:extLst>
                  <a:ext uri="{FF2B5EF4-FFF2-40B4-BE49-F238E27FC236}">
                    <a16:creationId xmlns:a16="http://schemas.microsoft.com/office/drawing/2014/main" id="{F45ADB97-3D03-4D39-805A-7339A56E584A}"/>
                  </a:ext>
                </a:extLst>
              </p:cNvPr>
              <p:cNvSpPr/>
              <p:nvPr/>
            </p:nvSpPr>
            <p:spPr>
              <a:xfrm>
                <a:off x="1644617" y="3496759"/>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grpFill/>
              <a:ln w="6361" cap="flat">
                <a:noFill/>
                <a:prstDash val="solid"/>
                <a:miter/>
              </a:ln>
            </p:spPr>
            <p:txBody>
              <a:bodyPr rtlCol="0" anchor="ctr"/>
              <a:lstStyle/>
              <a:p>
                <a:endParaRPr lang="da-DK"/>
              </a:p>
            </p:txBody>
          </p:sp>
          <p:sp>
            <p:nvSpPr>
              <p:cNvPr id="162" name="Freeform: Shape 161">
                <a:extLst>
                  <a:ext uri="{FF2B5EF4-FFF2-40B4-BE49-F238E27FC236}">
                    <a16:creationId xmlns:a16="http://schemas.microsoft.com/office/drawing/2014/main" id="{95853541-D172-461B-AEDC-3B68A48B70BA}"/>
                  </a:ext>
                </a:extLst>
              </p:cNvPr>
              <p:cNvSpPr/>
              <p:nvPr/>
            </p:nvSpPr>
            <p:spPr>
              <a:xfrm>
                <a:off x="1203194" y="3540278"/>
                <a:ext cx="30730" cy="45554"/>
              </a:xfrm>
              <a:custGeom>
                <a:avLst/>
                <a:gdLst>
                  <a:gd name="connsiteX0" fmla="*/ 0 w 30730"/>
                  <a:gd name="connsiteY0" fmla="*/ 45555 h 45554"/>
                  <a:gd name="connsiteX1" fmla="*/ 0 w 30730"/>
                  <a:gd name="connsiteY1" fmla="*/ 0 h 45554"/>
                  <a:gd name="connsiteX2" fmla="*/ 30730 w 30730"/>
                  <a:gd name="connsiteY2" fmla="*/ 0 h 45554"/>
                  <a:gd name="connsiteX3" fmla="*/ 30730 w 30730"/>
                  <a:gd name="connsiteY3" fmla="*/ 5344 h 45554"/>
                  <a:gd name="connsiteX4" fmla="*/ 6044 w 30730"/>
                  <a:gd name="connsiteY4" fmla="*/ 5344 h 45554"/>
                  <a:gd name="connsiteX5" fmla="*/ 6044 w 30730"/>
                  <a:gd name="connsiteY5" fmla="*/ 19469 h 45554"/>
                  <a:gd name="connsiteX6" fmla="*/ 27422 w 30730"/>
                  <a:gd name="connsiteY6" fmla="*/ 19469 h 45554"/>
                  <a:gd name="connsiteX7" fmla="*/ 27422 w 30730"/>
                  <a:gd name="connsiteY7" fmla="*/ 24813 h 45554"/>
                  <a:gd name="connsiteX8" fmla="*/ 6044 w 30730"/>
                  <a:gd name="connsiteY8" fmla="*/ 24813 h 45554"/>
                  <a:gd name="connsiteX9" fmla="*/ 6044 w 30730"/>
                  <a:gd name="connsiteY9" fmla="*/ 45491 h 45554"/>
                  <a:gd name="connsiteX10" fmla="*/ 0 w 30730"/>
                  <a:gd name="connsiteY10"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30" h="45554">
                    <a:moveTo>
                      <a:pt x="0" y="45555"/>
                    </a:moveTo>
                    <a:lnTo>
                      <a:pt x="0" y="0"/>
                    </a:lnTo>
                    <a:lnTo>
                      <a:pt x="30730" y="0"/>
                    </a:lnTo>
                    <a:lnTo>
                      <a:pt x="30730" y="5344"/>
                    </a:lnTo>
                    <a:lnTo>
                      <a:pt x="6044" y="5344"/>
                    </a:lnTo>
                    <a:lnTo>
                      <a:pt x="6044" y="19469"/>
                    </a:lnTo>
                    <a:lnTo>
                      <a:pt x="27422" y="19469"/>
                    </a:lnTo>
                    <a:lnTo>
                      <a:pt x="27422" y="24813"/>
                    </a:lnTo>
                    <a:lnTo>
                      <a:pt x="6044" y="24813"/>
                    </a:lnTo>
                    <a:lnTo>
                      <a:pt x="6044" y="45491"/>
                    </a:lnTo>
                    <a:lnTo>
                      <a:pt x="0" y="45491"/>
                    </a:lnTo>
                    <a:close/>
                  </a:path>
                </a:pathLst>
              </a:custGeom>
              <a:grpFill/>
              <a:ln w="6361" cap="flat">
                <a:noFill/>
                <a:prstDash val="solid"/>
                <a:miter/>
              </a:ln>
            </p:spPr>
            <p:txBody>
              <a:bodyPr rtlCol="0" anchor="ctr"/>
              <a:lstStyle/>
              <a:p>
                <a:endParaRPr lang="da-DK"/>
              </a:p>
            </p:txBody>
          </p:sp>
          <p:sp>
            <p:nvSpPr>
              <p:cNvPr id="163" name="Freeform: Shape 162">
                <a:extLst>
                  <a:ext uri="{FF2B5EF4-FFF2-40B4-BE49-F238E27FC236}">
                    <a16:creationId xmlns:a16="http://schemas.microsoft.com/office/drawing/2014/main" id="{F179A4C9-9B31-4D29-AA2F-B1B8EAA90777}"/>
                  </a:ext>
                </a:extLst>
              </p:cNvPr>
              <p:cNvSpPr/>
              <p:nvPr/>
            </p:nvSpPr>
            <p:spPr>
              <a:xfrm>
                <a:off x="1238824" y="3551921"/>
                <a:ext cx="51853" cy="34611"/>
              </a:xfrm>
              <a:custGeom>
                <a:avLst/>
                <a:gdLst>
                  <a:gd name="connsiteX0" fmla="*/ 51853 w 51853"/>
                  <a:gd name="connsiteY0" fmla="*/ 23795 h 34611"/>
                  <a:gd name="connsiteX1" fmla="*/ 46573 w 51853"/>
                  <a:gd name="connsiteY1" fmla="*/ 31812 h 34611"/>
                  <a:gd name="connsiteX2" fmla="*/ 37284 w 51853"/>
                  <a:gd name="connsiteY2" fmla="*/ 34611 h 34611"/>
                  <a:gd name="connsiteX3" fmla="*/ 30349 w 51853"/>
                  <a:gd name="connsiteY3" fmla="*/ 33148 h 34611"/>
                  <a:gd name="connsiteX4" fmla="*/ 25004 w 51853"/>
                  <a:gd name="connsiteY4" fmla="*/ 28503 h 34611"/>
                  <a:gd name="connsiteX5" fmla="*/ 18451 w 51853"/>
                  <a:gd name="connsiteY5" fmla="*/ 33148 h 34611"/>
                  <a:gd name="connsiteX6" fmla="*/ 11325 w 51853"/>
                  <a:gd name="connsiteY6" fmla="*/ 34611 h 34611"/>
                  <a:gd name="connsiteX7" fmla="*/ 2990 w 51853"/>
                  <a:gd name="connsiteY7" fmla="*/ 31875 h 34611"/>
                  <a:gd name="connsiteX8" fmla="*/ 0 w 51853"/>
                  <a:gd name="connsiteY8" fmla="*/ 25195 h 34611"/>
                  <a:gd name="connsiteX9" fmla="*/ 1527 w 51853"/>
                  <a:gd name="connsiteY9" fmla="*/ 20169 h 34611"/>
                  <a:gd name="connsiteX10" fmla="*/ 5790 w 51853"/>
                  <a:gd name="connsiteY10" fmla="*/ 16606 h 34611"/>
                  <a:gd name="connsiteX11" fmla="*/ 14570 w 51853"/>
                  <a:gd name="connsiteY11" fmla="*/ 14633 h 34611"/>
                  <a:gd name="connsiteX12" fmla="*/ 22396 w 51853"/>
                  <a:gd name="connsiteY12" fmla="*/ 13107 h 34611"/>
                  <a:gd name="connsiteX13" fmla="*/ 22459 w 51853"/>
                  <a:gd name="connsiteY13" fmla="*/ 11834 h 34611"/>
                  <a:gd name="connsiteX14" fmla="*/ 20805 w 51853"/>
                  <a:gd name="connsiteY14" fmla="*/ 6362 h 34611"/>
                  <a:gd name="connsiteX15" fmla="*/ 15079 w 51853"/>
                  <a:gd name="connsiteY15" fmla="*/ 4772 h 34611"/>
                  <a:gd name="connsiteX16" fmla="*/ 10498 w 51853"/>
                  <a:gd name="connsiteY16" fmla="*/ 5408 h 34611"/>
                  <a:gd name="connsiteX17" fmla="*/ 7762 w 51853"/>
                  <a:gd name="connsiteY17" fmla="*/ 7253 h 34611"/>
                  <a:gd name="connsiteX18" fmla="*/ 6299 w 51853"/>
                  <a:gd name="connsiteY18" fmla="*/ 11070 h 34611"/>
                  <a:gd name="connsiteX19" fmla="*/ 891 w 51853"/>
                  <a:gd name="connsiteY19" fmla="*/ 10434 h 34611"/>
                  <a:gd name="connsiteX20" fmla="*/ 3372 w 51853"/>
                  <a:gd name="connsiteY20" fmla="*/ 4644 h 34611"/>
                  <a:gd name="connsiteX21" fmla="*/ 8017 w 51853"/>
                  <a:gd name="connsiteY21" fmla="*/ 1272 h 34611"/>
                  <a:gd name="connsiteX22" fmla="*/ 15142 w 51853"/>
                  <a:gd name="connsiteY22" fmla="*/ 63 h 34611"/>
                  <a:gd name="connsiteX23" fmla="*/ 23477 w 51853"/>
                  <a:gd name="connsiteY23" fmla="*/ 1591 h 34611"/>
                  <a:gd name="connsiteX24" fmla="*/ 26531 w 51853"/>
                  <a:gd name="connsiteY24" fmla="*/ 4454 h 34611"/>
                  <a:gd name="connsiteX25" fmla="*/ 31048 w 51853"/>
                  <a:gd name="connsiteY25" fmla="*/ 1145 h 34611"/>
                  <a:gd name="connsiteX26" fmla="*/ 37156 w 51853"/>
                  <a:gd name="connsiteY26" fmla="*/ 0 h 34611"/>
                  <a:gd name="connsiteX27" fmla="*/ 45491 w 51853"/>
                  <a:gd name="connsiteY27" fmla="*/ 2418 h 34611"/>
                  <a:gd name="connsiteX28" fmla="*/ 50326 w 51853"/>
                  <a:gd name="connsiteY28" fmla="*/ 8844 h 34611"/>
                  <a:gd name="connsiteX29" fmla="*/ 51853 w 51853"/>
                  <a:gd name="connsiteY29" fmla="*/ 16733 h 34611"/>
                  <a:gd name="connsiteX30" fmla="*/ 51790 w 51853"/>
                  <a:gd name="connsiteY30" fmla="*/ 18642 h 34611"/>
                  <a:gd name="connsiteX31" fmla="*/ 28122 w 51853"/>
                  <a:gd name="connsiteY31" fmla="*/ 18642 h 34611"/>
                  <a:gd name="connsiteX32" fmla="*/ 29203 w 51853"/>
                  <a:gd name="connsiteY32" fmla="*/ 25131 h 34611"/>
                  <a:gd name="connsiteX33" fmla="*/ 32512 w 51853"/>
                  <a:gd name="connsiteY33" fmla="*/ 28503 h 34611"/>
                  <a:gd name="connsiteX34" fmla="*/ 37538 w 51853"/>
                  <a:gd name="connsiteY34" fmla="*/ 29840 h 34611"/>
                  <a:gd name="connsiteX35" fmla="*/ 42946 w 51853"/>
                  <a:gd name="connsiteY35" fmla="*/ 27994 h 34611"/>
                  <a:gd name="connsiteX36" fmla="*/ 46000 w 51853"/>
                  <a:gd name="connsiteY36" fmla="*/ 22841 h 34611"/>
                  <a:gd name="connsiteX37" fmla="*/ 51853 w 51853"/>
                  <a:gd name="connsiteY37" fmla="*/ 23795 h 34611"/>
                  <a:gd name="connsiteX38" fmla="*/ 22650 w 51853"/>
                  <a:gd name="connsiteY38" fmla="*/ 17306 h 34611"/>
                  <a:gd name="connsiteX39" fmla="*/ 12661 w 51853"/>
                  <a:gd name="connsiteY39" fmla="*/ 19596 h 34611"/>
                  <a:gd name="connsiteX40" fmla="*/ 7889 w 51853"/>
                  <a:gd name="connsiteY40" fmla="*/ 21187 h 34611"/>
                  <a:gd name="connsiteX41" fmla="*/ 6044 w 51853"/>
                  <a:gd name="connsiteY41" fmla="*/ 25004 h 34611"/>
                  <a:gd name="connsiteX42" fmla="*/ 7698 w 51853"/>
                  <a:gd name="connsiteY42" fmla="*/ 28694 h 34611"/>
                  <a:gd name="connsiteX43" fmla="*/ 12470 w 51853"/>
                  <a:gd name="connsiteY43" fmla="*/ 30221 h 34611"/>
                  <a:gd name="connsiteX44" fmla="*/ 18705 w 51853"/>
                  <a:gd name="connsiteY44" fmla="*/ 28440 h 34611"/>
                  <a:gd name="connsiteX45" fmla="*/ 22141 w 51853"/>
                  <a:gd name="connsiteY45" fmla="*/ 24050 h 34611"/>
                  <a:gd name="connsiteX46" fmla="*/ 22650 w 51853"/>
                  <a:gd name="connsiteY46" fmla="*/ 17306 h 34611"/>
                  <a:gd name="connsiteX47" fmla="*/ 28122 w 51853"/>
                  <a:gd name="connsiteY47" fmla="*/ 14188 h 34611"/>
                  <a:gd name="connsiteX48" fmla="*/ 46255 w 51853"/>
                  <a:gd name="connsiteY48" fmla="*/ 14188 h 34611"/>
                  <a:gd name="connsiteX49" fmla="*/ 43455 w 51853"/>
                  <a:gd name="connsiteY49" fmla="*/ 6999 h 34611"/>
                  <a:gd name="connsiteX50" fmla="*/ 37284 w 51853"/>
                  <a:gd name="connsiteY50" fmla="*/ 4708 h 34611"/>
                  <a:gd name="connsiteX51" fmla="*/ 30858 w 51853"/>
                  <a:gd name="connsiteY51" fmla="*/ 7190 h 34611"/>
                  <a:gd name="connsiteX52" fmla="*/ 28122 w 51853"/>
                  <a:gd name="connsiteY52" fmla="*/ 14188 h 3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853" h="34611">
                    <a:moveTo>
                      <a:pt x="51853" y="23795"/>
                    </a:moveTo>
                    <a:cubicBezTo>
                      <a:pt x="50835" y="27231"/>
                      <a:pt x="49054" y="29903"/>
                      <a:pt x="46573" y="31812"/>
                    </a:cubicBezTo>
                    <a:cubicBezTo>
                      <a:pt x="44091" y="33721"/>
                      <a:pt x="40974" y="34611"/>
                      <a:pt x="37284" y="34611"/>
                    </a:cubicBezTo>
                    <a:cubicBezTo>
                      <a:pt x="34675" y="34611"/>
                      <a:pt x="32321" y="34102"/>
                      <a:pt x="30349" y="33148"/>
                    </a:cubicBezTo>
                    <a:cubicBezTo>
                      <a:pt x="28376" y="32194"/>
                      <a:pt x="26595" y="30603"/>
                      <a:pt x="25004" y="28503"/>
                    </a:cubicBezTo>
                    <a:cubicBezTo>
                      <a:pt x="22841" y="30603"/>
                      <a:pt x="20678" y="32194"/>
                      <a:pt x="18451" y="33148"/>
                    </a:cubicBezTo>
                    <a:cubicBezTo>
                      <a:pt x="16224" y="34102"/>
                      <a:pt x="13870" y="34611"/>
                      <a:pt x="11325" y="34611"/>
                    </a:cubicBezTo>
                    <a:cubicBezTo>
                      <a:pt x="7762" y="34611"/>
                      <a:pt x="4963" y="33721"/>
                      <a:pt x="2990" y="31875"/>
                    </a:cubicBezTo>
                    <a:cubicBezTo>
                      <a:pt x="1018" y="30030"/>
                      <a:pt x="0" y="27804"/>
                      <a:pt x="0" y="25195"/>
                    </a:cubicBezTo>
                    <a:cubicBezTo>
                      <a:pt x="0" y="23414"/>
                      <a:pt x="509" y="21759"/>
                      <a:pt x="1527" y="20169"/>
                    </a:cubicBezTo>
                    <a:cubicBezTo>
                      <a:pt x="2545" y="18578"/>
                      <a:pt x="4008" y="17433"/>
                      <a:pt x="5790" y="16606"/>
                    </a:cubicBezTo>
                    <a:cubicBezTo>
                      <a:pt x="7571" y="15779"/>
                      <a:pt x="10562" y="15143"/>
                      <a:pt x="14570" y="14633"/>
                    </a:cubicBezTo>
                    <a:cubicBezTo>
                      <a:pt x="17687" y="14188"/>
                      <a:pt x="20296" y="13679"/>
                      <a:pt x="22396" y="13107"/>
                    </a:cubicBezTo>
                    <a:cubicBezTo>
                      <a:pt x="22396" y="12597"/>
                      <a:pt x="22459" y="12152"/>
                      <a:pt x="22459" y="11834"/>
                    </a:cubicBezTo>
                    <a:cubicBezTo>
                      <a:pt x="22459" y="9225"/>
                      <a:pt x="21887" y="7380"/>
                      <a:pt x="20805" y="6362"/>
                    </a:cubicBezTo>
                    <a:cubicBezTo>
                      <a:pt x="19723" y="5344"/>
                      <a:pt x="17815" y="4772"/>
                      <a:pt x="15079" y="4772"/>
                    </a:cubicBezTo>
                    <a:cubicBezTo>
                      <a:pt x="13297" y="4772"/>
                      <a:pt x="11770" y="4963"/>
                      <a:pt x="10498" y="5408"/>
                    </a:cubicBezTo>
                    <a:cubicBezTo>
                      <a:pt x="9225" y="5853"/>
                      <a:pt x="8335" y="6490"/>
                      <a:pt x="7762" y="7253"/>
                    </a:cubicBezTo>
                    <a:cubicBezTo>
                      <a:pt x="7189" y="8080"/>
                      <a:pt x="6680" y="9353"/>
                      <a:pt x="6299" y="11070"/>
                    </a:cubicBezTo>
                    <a:lnTo>
                      <a:pt x="891" y="10434"/>
                    </a:lnTo>
                    <a:cubicBezTo>
                      <a:pt x="1463" y="8016"/>
                      <a:pt x="2290" y="6108"/>
                      <a:pt x="3372" y="4644"/>
                    </a:cubicBezTo>
                    <a:cubicBezTo>
                      <a:pt x="4454" y="3245"/>
                      <a:pt x="6044" y="2100"/>
                      <a:pt x="8017" y="1272"/>
                    </a:cubicBezTo>
                    <a:cubicBezTo>
                      <a:pt x="10053" y="445"/>
                      <a:pt x="12407" y="63"/>
                      <a:pt x="15142" y="63"/>
                    </a:cubicBezTo>
                    <a:cubicBezTo>
                      <a:pt x="18578" y="63"/>
                      <a:pt x="21378" y="573"/>
                      <a:pt x="23477" y="1591"/>
                    </a:cubicBezTo>
                    <a:cubicBezTo>
                      <a:pt x="24686" y="2163"/>
                      <a:pt x="25704" y="3181"/>
                      <a:pt x="26531" y="4454"/>
                    </a:cubicBezTo>
                    <a:cubicBezTo>
                      <a:pt x="27867" y="2990"/>
                      <a:pt x="29331" y="1909"/>
                      <a:pt x="31048" y="1145"/>
                    </a:cubicBezTo>
                    <a:cubicBezTo>
                      <a:pt x="32703" y="382"/>
                      <a:pt x="34739" y="0"/>
                      <a:pt x="37156" y="0"/>
                    </a:cubicBezTo>
                    <a:cubicBezTo>
                      <a:pt x="40528" y="0"/>
                      <a:pt x="43264" y="827"/>
                      <a:pt x="45491" y="2418"/>
                    </a:cubicBezTo>
                    <a:cubicBezTo>
                      <a:pt x="47718" y="4008"/>
                      <a:pt x="49309" y="6172"/>
                      <a:pt x="50326" y="8844"/>
                    </a:cubicBezTo>
                    <a:cubicBezTo>
                      <a:pt x="51344" y="11516"/>
                      <a:pt x="51853" y="14125"/>
                      <a:pt x="51853" y="16733"/>
                    </a:cubicBezTo>
                    <a:cubicBezTo>
                      <a:pt x="51853" y="17115"/>
                      <a:pt x="51853" y="17751"/>
                      <a:pt x="51790" y="18642"/>
                    </a:cubicBezTo>
                    <a:lnTo>
                      <a:pt x="28122" y="18642"/>
                    </a:lnTo>
                    <a:cubicBezTo>
                      <a:pt x="28185" y="21632"/>
                      <a:pt x="28503" y="23795"/>
                      <a:pt x="29203" y="25131"/>
                    </a:cubicBezTo>
                    <a:cubicBezTo>
                      <a:pt x="29903" y="26468"/>
                      <a:pt x="30985" y="27613"/>
                      <a:pt x="32512" y="28503"/>
                    </a:cubicBezTo>
                    <a:cubicBezTo>
                      <a:pt x="34039" y="29394"/>
                      <a:pt x="35693" y="29840"/>
                      <a:pt x="37538" y="29840"/>
                    </a:cubicBezTo>
                    <a:cubicBezTo>
                      <a:pt x="39638" y="29840"/>
                      <a:pt x="41483" y="29203"/>
                      <a:pt x="42946" y="27994"/>
                    </a:cubicBezTo>
                    <a:cubicBezTo>
                      <a:pt x="44409" y="26786"/>
                      <a:pt x="45427" y="25068"/>
                      <a:pt x="46000" y="22841"/>
                    </a:cubicBezTo>
                    <a:lnTo>
                      <a:pt x="51853" y="23795"/>
                    </a:lnTo>
                    <a:close/>
                    <a:moveTo>
                      <a:pt x="22650" y="17306"/>
                    </a:moveTo>
                    <a:cubicBezTo>
                      <a:pt x="20996" y="18005"/>
                      <a:pt x="17687" y="18769"/>
                      <a:pt x="12661" y="19596"/>
                    </a:cubicBezTo>
                    <a:cubicBezTo>
                      <a:pt x="10371" y="19978"/>
                      <a:pt x="8844" y="20487"/>
                      <a:pt x="7889" y="21187"/>
                    </a:cubicBezTo>
                    <a:cubicBezTo>
                      <a:pt x="6680" y="22141"/>
                      <a:pt x="6044" y="23414"/>
                      <a:pt x="6044" y="25004"/>
                    </a:cubicBezTo>
                    <a:cubicBezTo>
                      <a:pt x="6044" y="26468"/>
                      <a:pt x="6617" y="27740"/>
                      <a:pt x="7698" y="28694"/>
                    </a:cubicBezTo>
                    <a:cubicBezTo>
                      <a:pt x="8780" y="29712"/>
                      <a:pt x="10371" y="30221"/>
                      <a:pt x="12470" y="30221"/>
                    </a:cubicBezTo>
                    <a:cubicBezTo>
                      <a:pt x="14888" y="30221"/>
                      <a:pt x="16924" y="29649"/>
                      <a:pt x="18705" y="28440"/>
                    </a:cubicBezTo>
                    <a:cubicBezTo>
                      <a:pt x="20487" y="27231"/>
                      <a:pt x="21632" y="25768"/>
                      <a:pt x="22141" y="24050"/>
                    </a:cubicBezTo>
                    <a:cubicBezTo>
                      <a:pt x="22459" y="22968"/>
                      <a:pt x="22650" y="20741"/>
                      <a:pt x="22650" y="17306"/>
                    </a:cubicBezTo>
                    <a:close/>
                    <a:moveTo>
                      <a:pt x="28122" y="14188"/>
                    </a:moveTo>
                    <a:lnTo>
                      <a:pt x="46255" y="14188"/>
                    </a:lnTo>
                    <a:cubicBezTo>
                      <a:pt x="45936" y="10943"/>
                      <a:pt x="45046" y="8526"/>
                      <a:pt x="43455" y="6999"/>
                    </a:cubicBezTo>
                    <a:cubicBezTo>
                      <a:pt x="41865" y="5472"/>
                      <a:pt x="39829" y="4708"/>
                      <a:pt x="37284" y="4708"/>
                    </a:cubicBezTo>
                    <a:cubicBezTo>
                      <a:pt x="34675" y="4708"/>
                      <a:pt x="32512" y="5535"/>
                      <a:pt x="30858" y="7190"/>
                    </a:cubicBezTo>
                    <a:cubicBezTo>
                      <a:pt x="29203" y="8844"/>
                      <a:pt x="28313" y="11261"/>
                      <a:pt x="28122" y="14188"/>
                    </a:cubicBezTo>
                    <a:close/>
                  </a:path>
                </a:pathLst>
              </a:custGeom>
              <a:grpFill/>
              <a:ln w="6361" cap="flat">
                <a:noFill/>
                <a:prstDash val="solid"/>
                <a:miter/>
              </a:ln>
            </p:spPr>
            <p:txBody>
              <a:bodyPr rtlCol="0" anchor="ctr"/>
              <a:lstStyle/>
              <a:p>
                <a:endParaRPr lang="da-DK"/>
              </a:p>
            </p:txBody>
          </p:sp>
          <p:sp>
            <p:nvSpPr>
              <p:cNvPr id="164" name="Freeform: Shape 163">
                <a:extLst>
                  <a:ext uri="{FF2B5EF4-FFF2-40B4-BE49-F238E27FC236}">
                    <a16:creationId xmlns:a16="http://schemas.microsoft.com/office/drawing/2014/main" id="{3C4CE17D-5288-4A80-AA09-28B1B6B5A75C}"/>
                  </a:ext>
                </a:extLst>
              </p:cNvPr>
              <p:cNvSpPr/>
              <p:nvPr/>
            </p:nvSpPr>
            <p:spPr>
              <a:xfrm>
                <a:off x="1297485"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65" name="Freeform: Shape 164">
                <a:extLst>
                  <a:ext uri="{FF2B5EF4-FFF2-40B4-BE49-F238E27FC236}">
                    <a16:creationId xmlns:a16="http://schemas.microsoft.com/office/drawing/2014/main" id="{E1411903-F236-484D-AE07-BDF61CAFCA4C}"/>
                  </a:ext>
                </a:extLst>
              </p:cNvPr>
              <p:cNvSpPr/>
              <p:nvPr/>
            </p:nvSpPr>
            <p:spPr>
              <a:xfrm>
                <a:off x="1311609"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66" name="Freeform: Shape 165">
                <a:extLst>
                  <a:ext uri="{FF2B5EF4-FFF2-40B4-BE49-F238E27FC236}">
                    <a16:creationId xmlns:a16="http://schemas.microsoft.com/office/drawing/2014/main" id="{23576E51-A0A3-46B7-9697-C760AF1E323A}"/>
                  </a:ext>
                </a:extLst>
              </p:cNvPr>
              <p:cNvSpPr/>
              <p:nvPr/>
            </p:nvSpPr>
            <p:spPr>
              <a:xfrm>
                <a:off x="1324016" y="3552112"/>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459" y="27167"/>
                      <a:pt x="23604"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grpFill/>
              <a:ln w="6361" cap="flat">
                <a:noFill/>
                <a:prstDash val="solid"/>
                <a:miter/>
              </a:ln>
            </p:spPr>
            <p:txBody>
              <a:bodyPr rtlCol="0" anchor="ctr"/>
              <a:lstStyle/>
              <a:p>
                <a:endParaRPr lang="da-DK"/>
              </a:p>
            </p:txBody>
          </p:sp>
          <p:sp>
            <p:nvSpPr>
              <p:cNvPr id="167" name="Freeform: Shape 166">
                <a:extLst>
                  <a:ext uri="{FF2B5EF4-FFF2-40B4-BE49-F238E27FC236}">
                    <a16:creationId xmlns:a16="http://schemas.microsoft.com/office/drawing/2014/main" id="{FA22C054-CFD4-4CC5-98CD-70EDE80A861E}"/>
                  </a:ext>
                </a:extLst>
              </p:cNvPr>
              <p:cNvSpPr/>
              <p:nvPr/>
            </p:nvSpPr>
            <p:spPr>
              <a:xfrm>
                <a:off x="1359009"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0" y="26976"/>
                      <a:pt x="8144" y="28122"/>
                    </a:cubicBezTo>
                    <a:cubicBezTo>
                      <a:pt x="9607" y="29267"/>
                      <a:pt x="11516" y="29903"/>
                      <a:pt x="14061" y="29903"/>
                    </a:cubicBezTo>
                    <a:cubicBezTo>
                      <a:pt x="16606" y="29903"/>
                      <a:pt x="18515" y="29394"/>
                      <a:pt x="19787" y="28313"/>
                    </a:cubicBezTo>
                    <a:cubicBezTo>
                      <a:pt x="21059" y="27295"/>
                      <a:pt x="21632" y="26022"/>
                      <a:pt x="21632" y="24622"/>
                    </a:cubicBezTo>
                    <a:cubicBezTo>
                      <a:pt x="21632" y="23350"/>
                      <a:pt x="21059"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2" y="12598"/>
                      <a:pt x="891" y="11134"/>
                      <a:pt x="891" y="9480"/>
                    </a:cubicBezTo>
                    <a:cubicBezTo>
                      <a:pt x="891" y="8017"/>
                      <a:pt x="1209" y="6617"/>
                      <a:pt x="1909" y="5408"/>
                    </a:cubicBezTo>
                    <a:cubicBezTo>
                      <a:pt x="2609" y="4136"/>
                      <a:pt x="3499" y="3118"/>
                      <a:pt x="4645" y="2291"/>
                    </a:cubicBezTo>
                    <a:cubicBezTo>
                      <a:pt x="5535" y="1654"/>
                      <a:pt x="6680"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68" name="Freeform: Shape 167">
                <a:extLst>
                  <a:ext uri="{FF2B5EF4-FFF2-40B4-BE49-F238E27FC236}">
                    <a16:creationId xmlns:a16="http://schemas.microsoft.com/office/drawing/2014/main" id="{632C94AB-373F-455A-B2A2-FD43B56FE6AB}"/>
                  </a:ext>
                </a:extLst>
              </p:cNvPr>
              <p:cNvSpPr/>
              <p:nvPr/>
            </p:nvSpPr>
            <p:spPr>
              <a:xfrm>
                <a:off x="1410735" y="3552048"/>
                <a:ext cx="28630" cy="46381"/>
              </a:xfrm>
              <a:custGeom>
                <a:avLst/>
                <a:gdLst>
                  <a:gd name="connsiteX0" fmla="*/ 0 w 28630"/>
                  <a:gd name="connsiteY0" fmla="*/ 46382 h 46381"/>
                  <a:gd name="connsiteX1" fmla="*/ 0 w 28630"/>
                  <a:gd name="connsiteY1" fmla="*/ 763 h 46381"/>
                  <a:gd name="connsiteX2" fmla="*/ 5090 w 28630"/>
                  <a:gd name="connsiteY2" fmla="*/ 763 h 46381"/>
                  <a:gd name="connsiteX3" fmla="*/ 5090 w 28630"/>
                  <a:gd name="connsiteY3" fmla="*/ 5026 h 46381"/>
                  <a:gd name="connsiteX4" fmla="*/ 9162 w 28630"/>
                  <a:gd name="connsiteY4" fmla="*/ 1273 h 46381"/>
                  <a:gd name="connsiteX5" fmla="*/ 14634 w 28630"/>
                  <a:gd name="connsiteY5" fmla="*/ 0 h 46381"/>
                  <a:gd name="connsiteX6" fmla="*/ 22078 w 28630"/>
                  <a:gd name="connsiteY6" fmla="*/ 2163 h 46381"/>
                  <a:gd name="connsiteX7" fmla="*/ 26977 w 28630"/>
                  <a:gd name="connsiteY7" fmla="*/ 8271 h 46381"/>
                  <a:gd name="connsiteX8" fmla="*/ 28631 w 28630"/>
                  <a:gd name="connsiteY8" fmla="*/ 16988 h 46381"/>
                  <a:gd name="connsiteX9" fmla="*/ 26786 w 28630"/>
                  <a:gd name="connsiteY9" fmla="*/ 26086 h 46381"/>
                  <a:gd name="connsiteX10" fmla="*/ 21505 w 28630"/>
                  <a:gd name="connsiteY10" fmla="*/ 32321 h 46381"/>
                  <a:gd name="connsiteX11" fmla="*/ 14252 w 28630"/>
                  <a:gd name="connsiteY11" fmla="*/ 34484 h 46381"/>
                  <a:gd name="connsiteX12" fmla="*/ 9225 w 28630"/>
                  <a:gd name="connsiteY12" fmla="*/ 33275 h 46381"/>
                  <a:gd name="connsiteX13" fmla="*/ 5599 w 28630"/>
                  <a:gd name="connsiteY13" fmla="*/ 30285 h 46381"/>
                  <a:gd name="connsiteX14" fmla="*/ 5599 w 28630"/>
                  <a:gd name="connsiteY14" fmla="*/ 46318 h 46381"/>
                  <a:gd name="connsiteX15" fmla="*/ 0 w 28630"/>
                  <a:gd name="connsiteY15" fmla="*/ 46318 h 46381"/>
                  <a:gd name="connsiteX16" fmla="*/ 5090 w 28630"/>
                  <a:gd name="connsiteY16" fmla="*/ 17433 h 46381"/>
                  <a:gd name="connsiteX17" fmla="*/ 7635 w 28630"/>
                  <a:gd name="connsiteY17" fmla="*/ 26849 h 46381"/>
                  <a:gd name="connsiteX18" fmla="*/ 13870 w 28630"/>
                  <a:gd name="connsiteY18" fmla="*/ 29903 h 46381"/>
                  <a:gd name="connsiteX19" fmla="*/ 20232 w 28630"/>
                  <a:gd name="connsiteY19" fmla="*/ 26722 h 46381"/>
                  <a:gd name="connsiteX20" fmla="*/ 22905 w 28630"/>
                  <a:gd name="connsiteY20" fmla="*/ 16924 h 46381"/>
                  <a:gd name="connsiteX21" fmla="*/ 20296 w 28630"/>
                  <a:gd name="connsiteY21" fmla="*/ 7508 h 46381"/>
                  <a:gd name="connsiteX22" fmla="*/ 14125 w 28630"/>
                  <a:gd name="connsiteY22" fmla="*/ 4390 h 46381"/>
                  <a:gd name="connsiteX23" fmla="*/ 7826 w 28630"/>
                  <a:gd name="connsiteY23" fmla="*/ 7762 h 46381"/>
                  <a:gd name="connsiteX24" fmla="*/ 5090 w 28630"/>
                  <a:gd name="connsiteY24" fmla="*/ 17433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630" h="46381">
                    <a:moveTo>
                      <a:pt x="0" y="46382"/>
                    </a:moveTo>
                    <a:lnTo>
                      <a:pt x="0" y="763"/>
                    </a:lnTo>
                    <a:lnTo>
                      <a:pt x="5090" y="763"/>
                    </a:lnTo>
                    <a:lnTo>
                      <a:pt x="5090" y="5026"/>
                    </a:lnTo>
                    <a:cubicBezTo>
                      <a:pt x="6299" y="3372"/>
                      <a:pt x="7635" y="2100"/>
                      <a:pt x="9162" y="1273"/>
                    </a:cubicBezTo>
                    <a:cubicBezTo>
                      <a:pt x="10689" y="445"/>
                      <a:pt x="12534" y="0"/>
                      <a:pt x="14634" y="0"/>
                    </a:cubicBezTo>
                    <a:cubicBezTo>
                      <a:pt x="17433" y="0"/>
                      <a:pt x="19914" y="700"/>
                      <a:pt x="22078" y="2163"/>
                    </a:cubicBezTo>
                    <a:cubicBezTo>
                      <a:pt x="24241" y="3627"/>
                      <a:pt x="25831" y="5663"/>
                      <a:pt x="26977" y="8271"/>
                    </a:cubicBezTo>
                    <a:cubicBezTo>
                      <a:pt x="28058" y="10943"/>
                      <a:pt x="28631" y="13806"/>
                      <a:pt x="28631" y="16988"/>
                    </a:cubicBezTo>
                    <a:cubicBezTo>
                      <a:pt x="28631" y="20360"/>
                      <a:pt x="28058" y="23414"/>
                      <a:pt x="26786" y="26086"/>
                    </a:cubicBezTo>
                    <a:cubicBezTo>
                      <a:pt x="25577" y="28758"/>
                      <a:pt x="23795" y="30858"/>
                      <a:pt x="21505" y="32321"/>
                    </a:cubicBezTo>
                    <a:cubicBezTo>
                      <a:pt x="19214" y="33784"/>
                      <a:pt x="16797" y="34484"/>
                      <a:pt x="14252" y="34484"/>
                    </a:cubicBezTo>
                    <a:cubicBezTo>
                      <a:pt x="12407" y="34484"/>
                      <a:pt x="10689" y="34103"/>
                      <a:pt x="9225" y="33275"/>
                    </a:cubicBezTo>
                    <a:cubicBezTo>
                      <a:pt x="7762" y="32448"/>
                      <a:pt x="6553" y="31494"/>
                      <a:pt x="5599" y="30285"/>
                    </a:cubicBezTo>
                    <a:lnTo>
                      <a:pt x="5599" y="46318"/>
                    </a:lnTo>
                    <a:lnTo>
                      <a:pt x="0" y="46318"/>
                    </a:lnTo>
                    <a:close/>
                    <a:moveTo>
                      <a:pt x="5090" y="17433"/>
                    </a:moveTo>
                    <a:cubicBezTo>
                      <a:pt x="5090" y="21696"/>
                      <a:pt x="5917" y="24813"/>
                      <a:pt x="7635" y="26849"/>
                    </a:cubicBezTo>
                    <a:cubicBezTo>
                      <a:pt x="9353" y="28885"/>
                      <a:pt x="11452" y="29903"/>
                      <a:pt x="13870" y="29903"/>
                    </a:cubicBezTo>
                    <a:cubicBezTo>
                      <a:pt x="16351" y="29903"/>
                      <a:pt x="18451" y="28822"/>
                      <a:pt x="20232" y="26722"/>
                    </a:cubicBezTo>
                    <a:cubicBezTo>
                      <a:pt x="22014" y="24622"/>
                      <a:pt x="22905" y="21378"/>
                      <a:pt x="22905" y="16924"/>
                    </a:cubicBezTo>
                    <a:cubicBezTo>
                      <a:pt x="22905" y="12725"/>
                      <a:pt x="22078" y="9544"/>
                      <a:pt x="20296" y="7508"/>
                    </a:cubicBezTo>
                    <a:cubicBezTo>
                      <a:pt x="18578" y="5408"/>
                      <a:pt x="16479" y="4390"/>
                      <a:pt x="14125" y="4390"/>
                    </a:cubicBezTo>
                    <a:cubicBezTo>
                      <a:pt x="11707" y="4390"/>
                      <a:pt x="9607" y="5472"/>
                      <a:pt x="7826" y="7762"/>
                    </a:cubicBezTo>
                    <a:cubicBezTo>
                      <a:pt x="5981" y="9989"/>
                      <a:pt x="5090" y="13170"/>
                      <a:pt x="5090" y="17433"/>
                    </a:cubicBezTo>
                    <a:close/>
                  </a:path>
                </a:pathLst>
              </a:custGeom>
              <a:grpFill/>
              <a:ln w="6361" cap="flat">
                <a:noFill/>
                <a:prstDash val="solid"/>
                <a:miter/>
              </a:ln>
            </p:spPr>
            <p:txBody>
              <a:bodyPr rtlCol="0" anchor="ctr"/>
              <a:lstStyle/>
              <a:p>
                <a:endParaRPr lang="da-DK"/>
              </a:p>
            </p:txBody>
          </p:sp>
          <p:sp>
            <p:nvSpPr>
              <p:cNvPr id="169" name="Freeform: Shape 168">
                <a:extLst>
                  <a:ext uri="{FF2B5EF4-FFF2-40B4-BE49-F238E27FC236}">
                    <a16:creationId xmlns:a16="http://schemas.microsoft.com/office/drawing/2014/main" id="{E0EAE2E4-31CA-4F1C-BE65-FC7FA53E9524}"/>
                  </a:ext>
                </a:extLst>
              </p:cNvPr>
              <p:cNvSpPr/>
              <p:nvPr/>
            </p:nvSpPr>
            <p:spPr>
              <a:xfrm>
                <a:off x="144604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70" name="Freeform: Shape 169">
                <a:extLst>
                  <a:ext uri="{FF2B5EF4-FFF2-40B4-BE49-F238E27FC236}">
                    <a16:creationId xmlns:a16="http://schemas.microsoft.com/office/drawing/2014/main" id="{18FEE76F-BFF8-4D5F-AA1B-4D585AFA3358}"/>
                  </a:ext>
                </a:extLst>
              </p:cNvPr>
              <p:cNvSpPr/>
              <p:nvPr/>
            </p:nvSpPr>
            <p:spPr>
              <a:xfrm>
                <a:off x="1465197" y="3552048"/>
                <a:ext cx="30921" cy="34547"/>
              </a:xfrm>
              <a:custGeom>
                <a:avLst/>
                <a:gdLst>
                  <a:gd name="connsiteX0" fmla="*/ 0 w 30921"/>
                  <a:gd name="connsiteY0" fmla="*/ 17242 h 34547"/>
                  <a:gd name="connsiteX1" fmla="*/ 5090 w 30921"/>
                  <a:gd name="connsiteY1" fmla="*/ 3690 h 34547"/>
                  <a:gd name="connsiteX2" fmla="*/ 15461 w 30921"/>
                  <a:gd name="connsiteY2" fmla="*/ 0 h 34547"/>
                  <a:gd name="connsiteX3" fmla="*/ 26595 w 30921"/>
                  <a:gd name="connsiteY3" fmla="*/ 4454 h 34547"/>
                  <a:gd name="connsiteX4" fmla="*/ 30921 w 30921"/>
                  <a:gd name="connsiteY4" fmla="*/ 16797 h 34547"/>
                  <a:gd name="connsiteX5" fmla="*/ 29012 w 30921"/>
                  <a:gd name="connsiteY5" fmla="*/ 26849 h 34547"/>
                  <a:gd name="connsiteX6" fmla="*/ 23477 w 30921"/>
                  <a:gd name="connsiteY6" fmla="*/ 32512 h 34547"/>
                  <a:gd name="connsiteX7" fmla="*/ 15524 w 30921"/>
                  <a:gd name="connsiteY7" fmla="*/ 34548 h 34547"/>
                  <a:gd name="connsiteX8" fmla="*/ 4326 w 30921"/>
                  <a:gd name="connsiteY8" fmla="*/ 30094 h 34547"/>
                  <a:gd name="connsiteX9" fmla="*/ 0 w 30921"/>
                  <a:gd name="connsiteY9" fmla="*/ 17242 h 34547"/>
                  <a:gd name="connsiteX10" fmla="*/ 5790 w 30921"/>
                  <a:gd name="connsiteY10" fmla="*/ 17242 h 34547"/>
                  <a:gd name="connsiteX11" fmla="*/ 8526 w 30921"/>
                  <a:gd name="connsiteY11" fmla="*/ 26722 h 34547"/>
                  <a:gd name="connsiteX12" fmla="*/ 15461 w 30921"/>
                  <a:gd name="connsiteY12" fmla="*/ 29903 h 34547"/>
                  <a:gd name="connsiteX13" fmla="*/ 22396 w 30921"/>
                  <a:gd name="connsiteY13" fmla="*/ 26722 h 34547"/>
                  <a:gd name="connsiteX14" fmla="*/ 25131 w 30921"/>
                  <a:gd name="connsiteY14" fmla="*/ 17051 h 34547"/>
                  <a:gd name="connsiteX15" fmla="*/ 22332 w 30921"/>
                  <a:gd name="connsiteY15" fmla="*/ 7762 h 34547"/>
                  <a:gd name="connsiteX16" fmla="*/ 15397 w 30921"/>
                  <a:gd name="connsiteY16" fmla="*/ 4581 h 34547"/>
                  <a:gd name="connsiteX17" fmla="*/ 8462 w 30921"/>
                  <a:gd name="connsiteY17" fmla="*/ 7698 h 34547"/>
                  <a:gd name="connsiteX18" fmla="*/ 5790 w 30921"/>
                  <a:gd name="connsiteY18" fmla="*/ 17242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921" h="34547">
                    <a:moveTo>
                      <a:pt x="0" y="17242"/>
                    </a:moveTo>
                    <a:cubicBezTo>
                      <a:pt x="0" y="11134"/>
                      <a:pt x="1718" y="6617"/>
                      <a:pt x="5090" y="3690"/>
                    </a:cubicBezTo>
                    <a:cubicBezTo>
                      <a:pt x="7953" y="1273"/>
                      <a:pt x="11389" y="0"/>
                      <a:pt x="15461" y="0"/>
                    </a:cubicBezTo>
                    <a:cubicBezTo>
                      <a:pt x="19978" y="0"/>
                      <a:pt x="23732" y="1463"/>
                      <a:pt x="26595" y="4454"/>
                    </a:cubicBezTo>
                    <a:cubicBezTo>
                      <a:pt x="29458" y="7444"/>
                      <a:pt x="30921" y="11516"/>
                      <a:pt x="30921" y="16797"/>
                    </a:cubicBezTo>
                    <a:cubicBezTo>
                      <a:pt x="30921" y="21059"/>
                      <a:pt x="30285" y="24368"/>
                      <a:pt x="29012" y="26849"/>
                    </a:cubicBezTo>
                    <a:cubicBezTo>
                      <a:pt x="27740" y="29267"/>
                      <a:pt x="25895" y="31176"/>
                      <a:pt x="23477" y="32512"/>
                    </a:cubicBezTo>
                    <a:cubicBezTo>
                      <a:pt x="21059" y="33848"/>
                      <a:pt x="18387" y="34548"/>
                      <a:pt x="15524" y="34548"/>
                    </a:cubicBezTo>
                    <a:cubicBezTo>
                      <a:pt x="10880" y="34548"/>
                      <a:pt x="7189" y="33085"/>
                      <a:pt x="4326" y="30094"/>
                    </a:cubicBezTo>
                    <a:cubicBezTo>
                      <a:pt x="1463" y="27104"/>
                      <a:pt x="0" y="22841"/>
                      <a:pt x="0" y="17242"/>
                    </a:cubicBezTo>
                    <a:close/>
                    <a:moveTo>
                      <a:pt x="5790" y="17242"/>
                    </a:moveTo>
                    <a:cubicBezTo>
                      <a:pt x="5790" y="21441"/>
                      <a:pt x="6681" y="24622"/>
                      <a:pt x="8526" y="26722"/>
                    </a:cubicBezTo>
                    <a:cubicBezTo>
                      <a:pt x="10371" y="28822"/>
                      <a:pt x="12661" y="29903"/>
                      <a:pt x="15461" y="29903"/>
                    </a:cubicBezTo>
                    <a:cubicBezTo>
                      <a:pt x="18260" y="29903"/>
                      <a:pt x="20550" y="28822"/>
                      <a:pt x="22396" y="26722"/>
                    </a:cubicBezTo>
                    <a:cubicBezTo>
                      <a:pt x="24241" y="24622"/>
                      <a:pt x="25131" y="21378"/>
                      <a:pt x="25131" y="17051"/>
                    </a:cubicBezTo>
                    <a:cubicBezTo>
                      <a:pt x="25131" y="12979"/>
                      <a:pt x="24241" y="9862"/>
                      <a:pt x="22332" y="7762"/>
                    </a:cubicBezTo>
                    <a:cubicBezTo>
                      <a:pt x="20487" y="5663"/>
                      <a:pt x="18196" y="4581"/>
                      <a:pt x="15397" y="4581"/>
                    </a:cubicBezTo>
                    <a:cubicBezTo>
                      <a:pt x="12598" y="4581"/>
                      <a:pt x="10307" y="5599"/>
                      <a:pt x="8462" y="7698"/>
                    </a:cubicBezTo>
                    <a:cubicBezTo>
                      <a:pt x="6681" y="9862"/>
                      <a:pt x="5790" y="13043"/>
                      <a:pt x="5790" y="17242"/>
                    </a:cubicBezTo>
                    <a:close/>
                  </a:path>
                </a:pathLst>
              </a:custGeom>
              <a:grpFill/>
              <a:ln w="6361" cap="flat">
                <a:noFill/>
                <a:prstDash val="solid"/>
                <a:miter/>
              </a:ln>
            </p:spPr>
            <p:txBody>
              <a:bodyPr rtlCol="0" anchor="ctr"/>
              <a:lstStyle/>
              <a:p>
                <a:endParaRPr lang="da-DK"/>
              </a:p>
            </p:txBody>
          </p:sp>
          <p:sp>
            <p:nvSpPr>
              <p:cNvPr id="171" name="Freeform: Shape 170">
                <a:extLst>
                  <a:ext uri="{FF2B5EF4-FFF2-40B4-BE49-F238E27FC236}">
                    <a16:creationId xmlns:a16="http://schemas.microsoft.com/office/drawing/2014/main" id="{24BF6996-CA0E-4F83-9EC7-E63DA65D5FE9}"/>
                  </a:ext>
                </a:extLst>
              </p:cNvPr>
              <p:cNvSpPr/>
              <p:nvPr/>
            </p:nvSpPr>
            <p:spPr>
              <a:xfrm>
                <a:off x="1501018" y="3552048"/>
                <a:ext cx="28694" cy="34484"/>
              </a:xfrm>
              <a:custGeom>
                <a:avLst/>
                <a:gdLst>
                  <a:gd name="connsiteX0" fmla="*/ 23223 w 28694"/>
                  <a:gd name="connsiteY0" fmla="*/ 21696 h 34484"/>
                  <a:gd name="connsiteX1" fmla="*/ 28694 w 28694"/>
                  <a:gd name="connsiteY1" fmla="*/ 22396 h 34484"/>
                  <a:gd name="connsiteX2" fmla="*/ 24114 w 28694"/>
                  <a:gd name="connsiteY2" fmla="*/ 31303 h 34484"/>
                  <a:gd name="connsiteX3" fmla="*/ 15015 w 28694"/>
                  <a:gd name="connsiteY3" fmla="*/ 34484 h 34484"/>
                  <a:gd name="connsiteX4" fmla="*/ 4136 w 28694"/>
                  <a:gd name="connsiteY4" fmla="*/ 30030 h 34484"/>
                  <a:gd name="connsiteX5" fmla="*/ 0 w 28694"/>
                  <a:gd name="connsiteY5" fmla="*/ 17369 h 34484"/>
                  <a:gd name="connsiteX6" fmla="*/ 1782 w 28694"/>
                  <a:gd name="connsiteY6" fmla="*/ 8017 h 34484"/>
                  <a:gd name="connsiteX7" fmla="*/ 7190 w 28694"/>
                  <a:gd name="connsiteY7" fmla="*/ 2036 h 34484"/>
                  <a:gd name="connsiteX8" fmla="*/ 15079 w 28694"/>
                  <a:gd name="connsiteY8" fmla="*/ 0 h 34484"/>
                  <a:gd name="connsiteX9" fmla="*/ 23859 w 28694"/>
                  <a:gd name="connsiteY9" fmla="*/ 2736 h 34484"/>
                  <a:gd name="connsiteX10" fmla="*/ 28249 w 28694"/>
                  <a:gd name="connsiteY10" fmla="*/ 10434 h 34484"/>
                  <a:gd name="connsiteX11" fmla="*/ 22777 w 28694"/>
                  <a:gd name="connsiteY11" fmla="*/ 11261 h 34484"/>
                  <a:gd name="connsiteX12" fmla="*/ 20042 w 28694"/>
                  <a:gd name="connsiteY12" fmla="*/ 6235 h 34484"/>
                  <a:gd name="connsiteX13" fmla="*/ 15270 w 28694"/>
                  <a:gd name="connsiteY13" fmla="*/ 4581 h 34484"/>
                  <a:gd name="connsiteX14" fmla="*/ 8398 w 28694"/>
                  <a:gd name="connsiteY14" fmla="*/ 7635 h 34484"/>
                  <a:gd name="connsiteX15" fmla="*/ 5726 w 28694"/>
                  <a:gd name="connsiteY15" fmla="*/ 17242 h 34484"/>
                  <a:gd name="connsiteX16" fmla="*/ 8271 w 28694"/>
                  <a:gd name="connsiteY16" fmla="*/ 26913 h 34484"/>
                  <a:gd name="connsiteX17" fmla="*/ 14888 w 28694"/>
                  <a:gd name="connsiteY17" fmla="*/ 29903 h 34484"/>
                  <a:gd name="connsiteX18" fmla="*/ 20423 w 28694"/>
                  <a:gd name="connsiteY18" fmla="*/ 27867 h 34484"/>
                  <a:gd name="connsiteX19" fmla="*/ 23223 w 28694"/>
                  <a:gd name="connsiteY19" fmla="*/ 21696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694" h="34484">
                    <a:moveTo>
                      <a:pt x="23223" y="21696"/>
                    </a:moveTo>
                    <a:lnTo>
                      <a:pt x="28694" y="22396"/>
                    </a:lnTo>
                    <a:cubicBezTo>
                      <a:pt x="28122" y="26213"/>
                      <a:pt x="26531" y="29140"/>
                      <a:pt x="24114" y="31303"/>
                    </a:cubicBezTo>
                    <a:cubicBezTo>
                      <a:pt x="21632" y="33466"/>
                      <a:pt x="18578" y="34484"/>
                      <a:pt x="15015" y="34484"/>
                    </a:cubicBezTo>
                    <a:cubicBezTo>
                      <a:pt x="10498" y="34484"/>
                      <a:pt x="6871" y="33021"/>
                      <a:pt x="4136" y="30030"/>
                    </a:cubicBezTo>
                    <a:cubicBezTo>
                      <a:pt x="1400" y="27104"/>
                      <a:pt x="0" y="22841"/>
                      <a:pt x="0" y="17369"/>
                    </a:cubicBezTo>
                    <a:cubicBezTo>
                      <a:pt x="0" y="13806"/>
                      <a:pt x="573" y="10689"/>
                      <a:pt x="1782" y="8017"/>
                    </a:cubicBezTo>
                    <a:cubicBezTo>
                      <a:pt x="2990" y="5344"/>
                      <a:pt x="4772" y="3308"/>
                      <a:pt x="7190" y="2036"/>
                    </a:cubicBezTo>
                    <a:cubicBezTo>
                      <a:pt x="9607" y="700"/>
                      <a:pt x="12216" y="0"/>
                      <a:pt x="15079" y="0"/>
                    </a:cubicBezTo>
                    <a:cubicBezTo>
                      <a:pt x="18642" y="0"/>
                      <a:pt x="21569" y="891"/>
                      <a:pt x="23859" y="2736"/>
                    </a:cubicBezTo>
                    <a:cubicBezTo>
                      <a:pt x="26149" y="4581"/>
                      <a:pt x="27613" y="7126"/>
                      <a:pt x="28249" y="10434"/>
                    </a:cubicBezTo>
                    <a:lnTo>
                      <a:pt x="22777" y="11261"/>
                    </a:lnTo>
                    <a:cubicBezTo>
                      <a:pt x="22268" y="9035"/>
                      <a:pt x="21378" y="7380"/>
                      <a:pt x="20042" y="6235"/>
                    </a:cubicBezTo>
                    <a:cubicBezTo>
                      <a:pt x="18705" y="5090"/>
                      <a:pt x="17115" y="4581"/>
                      <a:pt x="15270" y="4581"/>
                    </a:cubicBezTo>
                    <a:cubicBezTo>
                      <a:pt x="12470" y="4581"/>
                      <a:pt x="10180" y="5599"/>
                      <a:pt x="8398" y="7635"/>
                    </a:cubicBezTo>
                    <a:cubicBezTo>
                      <a:pt x="6617" y="9671"/>
                      <a:pt x="5726" y="12852"/>
                      <a:pt x="5726" y="17242"/>
                    </a:cubicBezTo>
                    <a:cubicBezTo>
                      <a:pt x="5726" y="21696"/>
                      <a:pt x="6553" y="24877"/>
                      <a:pt x="8271" y="26913"/>
                    </a:cubicBezTo>
                    <a:cubicBezTo>
                      <a:pt x="9989" y="28949"/>
                      <a:pt x="12216" y="29903"/>
                      <a:pt x="14888" y="29903"/>
                    </a:cubicBezTo>
                    <a:cubicBezTo>
                      <a:pt x="17115" y="29903"/>
                      <a:pt x="18896" y="29203"/>
                      <a:pt x="20423" y="27867"/>
                    </a:cubicBezTo>
                    <a:cubicBezTo>
                      <a:pt x="21887" y="26531"/>
                      <a:pt x="22841" y="24495"/>
                      <a:pt x="23223" y="21696"/>
                    </a:cubicBezTo>
                    <a:close/>
                  </a:path>
                </a:pathLst>
              </a:custGeom>
              <a:grpFill/>
              <a:ln w="6361" cap="flat">
                <a:noFill/>
                <a:prstDash val="solid"/>
                <a:miter/>
              </a:ln>
            </p:spPr>
            <p:txBody>
              <a:bodyPr rtlCol="0" anchor="ctr"/>
              <a:lstStyle/>
              <a:p>
                <a:endParaRPr lang="da-DK"/>
              </a:p>
            </p:txBody>
          </p:sp>
          <p:sp>
            <p:nvSpPr>
              <p:cNvPr id="172" name="Freeform: Shape 171">
                <a:extLst>
                  <a:ext uri="{FF2B5EF4-FFF2-40B4-BE49-F238E27FC236}">
                    <a16:creationId xmlns:a16="http://schemas.microsoft.com/office/drawing/2014/main" id="{22096A5D-05BF-40DB-9875-D4F8204CFC92}"/>
                  </a:ext>
                </a:extLst>
              </p:cNvPr>
              <p:cNvSpPr/>
              <p:nvPr/>
            </p:nvSpPr>
            <p:spPr>
              <a:xfrm>
                <a:off x="1532639" y="3552112"/>
                <a:ext cx="30412" cy="34484"/>
              </a:xfrm>
              <a:custGeom>
                <a:avLst/>
                <a:gdLst>
                  <a:gd name="connsiteX0" fmla="*/ 24432 w 30412"/>
                  <a:gd name="connsiteY0" fmla="*/ 23096 h 34484"/>
                  <a:gd name="connsiteX1" fmla="*/ 30221 w 30412"/>
                  <a:gd name="connsiteY1" fmla="*/ 23795 h 34484"/>
                  <a:gd name="connsiteX2" fmla="*/ 25132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108 w 30412"/>
                  <a:gd name="connsiteY16" fmla="*/ 13997 h 34484"/>
                  <a:gd name="connsiteX17" fmla="*/ 24559 w 30412"/>
                  <a:gd name="connsiteY17" fmla="*/ 13997 h 34484"/>
                  <a:gd name="connsiteX18" fmla="*/ 22459 w 30412"/>
                  <a:gd name="connsiteY18" fmla="*/ 7762 h 34484"/>
                  <a:gd name="connsiteX19" fmla="*/ 15524 w 30412"/>
                  <a:gd name="connsiteY19" fmla="*/ 4517 h 34484"/>
                  <a:gd name="connsiteX20" fmla="*/ 9035 w 30412"/>
                  <a:gd name="connsiteY20" fmla="*/ 7126 h 34484"/>
                  <a:gd name="connsiteX21" fmla="*/ 6108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2"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108" y="13997"/>
                    </a:moveTo>
                    <a:lnTo>
                      <a:pt x="24559" y="13997"/>
                    </a:lnTo>
                    <a:cubicBezTo>
                      <a:pt x="24304" y="11198"/>
                      <a:pt x="23605" y="9162"/>
                      <a:pt x="22459" y="7762"/>
                    </a:cubicBezTo>
                    <a:cubicBezTo>
                      <a:pt x="20678" y="5599"/>
                      <a:pt x="18387" y="4517"/>
                      <a:pt x="15524" y="4517"/>
                    </a:cubicBezTo>
                    <a:cubicBezTo>
                      <a:pt x="12979" y="4517"/>
                      <a:pt x="10816" y="5408"/>
                      <a:pt x="9035" y="7126"/>
                    </a:cubicBezTo>
                    <a:cubicBezTo>
                      <a:pt x="7253" y="8844"/>
                      <a:pt x="6299" y="11134"/>
                      <a:pt x="6108" y="13997"/>
                    </a:cubicBezTo>
                    <a:close/>
                  </a:path>
                </a:pathLst>
              </a:custGeom>
              <a:grpFill/>
              <a:ln w="6361" cap="flat">
                <a:noFill/>
                <a:prstDash val="solid"/>
                <a:miter/>
              </a:ln>
            </p:spPr>
            <p:txBody>
              <a:bodyPr rtlCol="0" anchor="ctr"/>
              <a:lstStyle/>
              <a:p>
                <a:endParaRPr lang="da-DK"/>
              </a:p>
            </p:txBody>
          </p:sp>
          <p:sp>
            <p:nvSpPr>
              <p:cNvPr id="173" name="Freeform: Shape 172">
                <a:extLst>
                  <a:ext uri="{FF2B5EF4-FFF2-40B4-BE49-F238E27FC236}">
                    <a16:creationId xmlns:a16="http://schemas.microsoft.com/office/drawing/2014/main" id="{F56E5AC3-66AE-45D9-A4AD-EE8E26BAB91C}"/>
                  </a:ext>
                </a:extLst>
              </p:cNvPr>
              <p:cNvSpPr/>
              <p:nvPr/>
            </p:nvSpPr>
            <p:spPr>
              <a:xfrm>
                <a:off x="1567632"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74" name="Freeform: Shape 173">
                <a:extLst>
                  <a:ext uri="{FF2B5EF4-FFF2-40B4-BE49-F238E27FC236}">
                    <a16:creationId xmlns:a16="http://schemas.microsoft.com/office/drawing/2014/main" id="{E1ED4843-2AD4-456C-A8C5-ABC53A690DF8}"/>
                  </a:ext>
                </a:extLst>
              </p:cNvPr>
              <p:cNvSpPr/>
              <p:nvPr/>
            </p:nvSpPr>
            <p:spPr>
              <a:xfrm>
                <a:off x="1599444"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75" name="Freeform: Shape 174">
                <a:extLst>
                  <a:ext uri="{FF2B5EF4-FFF2-40B4-BE49-F238E27FC236}">
                    <a16:creationId xmlns:a16="http://schemas.microsoft.com/office/drawing/2014/main" id="{B325332F-0172-4A80-8F8C-0AFB1F2C347F}"/>
                  </a:ext>
                </a:extLst>
              </p:cNvPr>
              <p:cNvSpPr/>
              <p:nvPr/>
            </p:nvSpPr>
            <p:spPr>
              <a:xfrm>
                <a:off x="1631701" y="3552112"/>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grpFill/>
              <a:ln w="6361" cap="flat">
                <a:noFill/>
                <a:prstDash val="solid"/>
                <a:miter/>
              </a:ln>
            </p:spPr>
            <p:txBody>
              <a:bodyPr rtlCol="0" anchor="ctr"/>
              <a:lstStyle/>
              <a:p>
                <a:endParaRPr lang="da-DK"/>
              </a:p>
            </p:txBody>
          </p:sp>
          <p:sp>
            <p:nvSpPr>
              <p:cNvPr id="176" name="Freeform: Shape 175">
                <a:extLst>
                  <a:ext uri="{FF2B5EF4-FFF2-40B4-BE49-F238E27FC236}">
                    <a16:creationId xmlns:a16="http://schemas.microsoft.com/office/drawing/2014/main" id="{BB205720-A851-44CB-9743-647BFCCCF900}"/>
                  </a:ext>
                </a:extLst>
              </p:cNvPr>
              <p:cNvSpPr/>
              <p:nvPr/>
            </p:nvSpPr>
            <p:spPr>
              <a:xfrm>
                <a:off x="166885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544"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77" name="Freeform: Shape 176">
                <a:extLst>
                  <a:ext uri="{FF2B5EF4-FFF2-40B4-BE49-F238E27FC236}">
                    <a16:creationId xmlns:a16="http://schemas.microsoft.com/office/drawing/2014/main" id="{B3404B56-FCC9-4204-83D4-6C53DBE5AA68}"/>
                  </a:ext>
                </a:extLst>
              </p:cNvPr>
              <p:cNvSpPr/>
              <p:nvPr/>
            </p:nvSpPr>
            <p:spPr>
              <a:xfrm>
                <a:off x="1688136" y="3579470"/>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grpFill/>
              <a:ln w="6361" cap="flat">
                <a:noFill/>
                <a:prstDash val="solid"/>
                <a:miter/>
              </a:ln>
            </p:spPr>
            <p:txBody>
              <a:bodyPr rtlCol="0" anchor="ctr"/>
              <a:lstStyle/>
              <a:p>
                <a:endParaRPr lang="da-DK"/>
              </a:p>
            </p:txBody>
          </p:sp>
          <p:sp>
            <p:nvSpPr>
              <p:cNvPr id="178" name="Freeform: Shape 177">
                <a:extLst>
                  <a:ext uri="{FF2B5EF4-FFF2-40B4-BE49-F238E27FC236}">
                    <a16:creationId xmlns:a16="http://schemas.microsoft.com/office/drawing/2014/main" id="{0AFCA0E1-AA66-4182-8188-AB0C3A69953A}"/>
                  </a:ext>
                </a:extLst>
              </p:cNvPr>
              <p:cNvSpPr/>
              <p:nvPr/>
            </p:nvSpPr>
            <p:spPr>
              <a:xfrm>
                <a:off x="1202812" y="3622989"/>
                <a:ext cx="35883" cy="45554"/>
              </a:xfrm>
              <a:custGeom>
                <a:avLst/>
                <a:gdLst>
                  <a:gd name="connsiteX0" fmla="*/ 0 w 35883"/>
                  <a:gd name="connsiteY0" fmla="*/ 45555 h 45554"/>
                  <a:gd name="connsiteX1" fmla="*/ 0 w 35883"/>
                  <a:gd name="connsiteY1" fmla="*/ 0 h 45554"/>
                  <a:gd name="connsiteX2" fmla="*/ 6172 w 35883"/>
                  <a:gd name="connsiteY2" fmla="*/ 0 h 45554"/>
                  <a:gd name="connsiteX3" fmla="*/ 30094 w 35883"/>
                  <a:gd name="connsiteY3" fmla="*/ 35757 h 45554"/>
                  <a:gd name="connsiteX4" fmla="*/ 30094 w 35883"/>
                  <a:gd name="connsiteY4" fmla="*/ 0 h 45554"/>
                  <a:gd name="connsiteX5" fmla="*/ 35884 w 35883"/>
                  <a:gd name="connsiteY5" fmla="*/ 0 h 45554"/>
                  <a:gd name="connsiteX6" fmla="*/ 35884 w 35883"/>
                  <a:gd name="connsiteY6" fmla="*/ 45555 h 45554"/>
                  <a:gd name="connsiteX7" fmla="*/ 29712 w 35883"/>
                  <a:gd name="connsiteY7" fmla="*/ 45555 h 45554"/>
                  <a:gd name="connsiteX8" fmla="*/ 5790 w 35883"/>
                  <a:gd name="connsiteY8" fmla="*/ 9798 h 45554"/>
                  <a:gd name="connsiteX9" fmla="*/ 5790 w 35883"/>
                  <a:gd name="connsiteY9" fmla="*/ 45555 h 45554"/>
                  <a:gd name="connsiteX10" fmla="*/ 0 w 35883"/>
                  <a:gd name="connsiteY10"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83" h="45554">
                    <a:moveTo>
                      <a:pt x="0" y="45555"/>
                    </a:moveTo>
                    <a:lnTo>
                      <a:pt x="0" y="0"/>
                    </a:lnTo>
                    <a:lnTo>
                      <a:pt x="6172" y="0"/>
                    </a:lnTo>
                    <a:lnTo>
                      <a:pt x="30094" y="35757"/>
                    </a:lnTo>
                    <a:lnTo>
                      <a:pt x="30094" y="0"/>
                    </a:lnTo>
                    <a:lnTo>
                      <a:pt x="35884" y="0"/>
                    </a:lnTo>
                    <a:lnTo>
                      <a:pt x="35884" y="45555"/>
                    </a:lnTo>
                    <a:lnTo>
                      <a:pt x="29712" y="45555"/>
                    </a:lnTo>
                    <a:lnTo>
                      <a:pt x="5790" y="9798"/>
                    </a:lnTo>
                    <a:lnTo>
                      <a:pt x="5790" y="45555"/>
                    </a:lnTo>
                    <a:lnTo>
                      <a:pt x="0" y="45555"/>
                    </a:lnTo>
                    <a:close/>
                  </a:path>
                </a:pathLst>
              </a:custGeom>
              <a:grpFill/>
              <a:ln w="6361" cap="flat">
                <a:noFill/>
                <a:prstDash val="solid"/>
                <a:miter/>
              </a:ln>
            </p:spPr>
            <p:txBody>
              <a:bodyPr rtlCol="0" anchor="ctr"/>
              <a:lstStyle/>
              <a:p>
                <a:endParaRPr lang="da-DK"/>
              </a:p>
            </p:txBody>
          </p:sp>
          <p:sp>
            <p:nvSpPr>
              <p:cNvPr id="179" name="Freeform: Shape 178">
                <a:extLst>
                  <a:ext uri="{FF2B5EF4-FFF2-40B4-BE49-F238E27FC236}">
                    <a16:creationId xmlns:a16="http://schemas.microsoft.com/office/drawing/2014/main" id="{4F12784C-FB28-4005-AB5A-186DA1B34556}"/>
                  </a:ext>
                </a:extLst>
              </p:cNvPr>
              <p:cNvSpPr/>
              <p:nvPr/>
            </p:nvSpPr>
            <p:spPr>
              <a:xfrm>
                <a:off x="1244931" y="3635523"/>
                <a:ext cx="30284" cy="46381"/>
              </a:xfrm>
              <a:custGeom>
                <a:avLst/>
                <a:gdLst>
                  <a:gd name="connsiteX0" fmla="*/ 2927 w 30284"/>
                  <a:gd name="connsiteY0" fmla="*/ 45682 h 46381"/>
                  <a:gd name="connsiteX1" fmla="*/ 2290 w 30284"/>
                  <a:gd name="connsiteY1" fmla="*/ 40401 h 46381"/>
                  <a:gd name="connsiteX2" fmla="*/ 5472 w 30284"/>
                  <a:gd name="connsiteY2" fmla="*/ 40910 h 46381"/>
                  <a:gd name="connsiteX3" fmla="*/ 8462 w 30284"/>
                  <a:gd name="connsiteY3" fmla="*/ 40274 h 46381"/>
                  <a:gd name="connsiteX4" fmla="*/ 10307 w 30284"/>
                  <a:gd name="connsiteY4" fmla="*/ 38556 h 46381"/>
                  <a:gd name="connsiteX5" fmla="*/ 12025 w 30284"/>
                  <a:gd name="connsiteY5" fmla="*/ 34421 h 46381"/>
                  <a:gd name="connsiteX6" fmla="*/ 12534 w 30284"/>
                  <a:gd name="connsiteY6" fmla="*/ 33085 h 46381"/>
                  <a:gd name="connsiteX7" fmla="*/ 0 w 30284"/>
                  <a:gd name="connsiteY7" fmla="*/ 0 h 46381"/>
                  <a:gd name="connsiteX8" fmla="*/ 6044 w 30284"/>
                  <a:gd name="connsiteY8" fmla="*/ 0 h 46381"/>
                  <a:gd name="connsiteX9" fmla="*/ 12916 w 30284"/>
                  <a:gd name="connsiteY9" fmla="*/ 19087 h 46381"/>
                  <a:gd name="connsiteX10" fmla="*/ 15333 w 30284"/>
                  <a:gd name="connsiteY10" fmla="*/ 26722 h 46381"/>
                  <a:gd name="connsiteX11" fmla="*/ 17624 w 30284"/>
                  <a:gd name="connsiteY11" fmla="*/ 19215 h 46381"/>
                  <a:gd name="connsiteX12" fmla="*/ 24686 w 30284"/>
                  <a:gd name="connsiteY12" fmla="*/ 0 h 46381"/>
                  <a:gd name="connsiteX13" fmla="*/ 30285 w 30284"/>
                  <a:gd name="connsiteY13" fmla="*/ 0 h 46381"/>
                  <a:gd name="connsiteX14" fmla="*/ 17751 w 30284"/>
                  <a:gd name="connsiteY14" fmla="*/ 33530 h 46381"/>
                  <a:gd name="connsiteX15" fmla="*/ 14633 w 30284"/>
                  <a:gd name="connsiteY15" fmla="*/ 41037 h 46381"/>
                  <a:gd name="connsiteX16" fmla="*/ 11198 w 30284"/>
                  <a:gd name="connsiteY16" fmla="*/ 45109 h 46381"/>
                  <a:gd name="connsiteX17" fmla="*/ 6617 w 30284"/>
                  <a:gd name="connsiteY17" fmla="*/ 46382 h 46381"/>
                  <a:gd name="connsiteX18" fmla="*/ 2927 w 30284"/>
                  <a:gd name="connsiteY18" fmla="*/ 45682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284" h="46381">
                    <a:moveTo>
                      <a:pt x="2927" y="45682"/>
                    </a:moveTo>
                    <a:lnTo>
                      <a:pt x="2290" y="40401"/>
                    </a:lnTo>
                    <a:cubicBezTo>
                      <a:pt x="3499" y="40719"/>
                      <a:pt x="4581" y="40910"/>
                      <a:pt x="5472" y="40910"/>
                    </a:cubicBezTo>
                    <a:cubicBezTo>
                      <a:pt x="6744" y="40910"/>
                      <a:pt x="7698" y="40719"/>
                      <a:pt x="8462" y="40274"/>
                    </a:cubicBezTo>
                    <a:cubicBezTo>
                      <a:pt x="9225" y="39829"/>
                      <a:pt x="9798" y="39256"/>
                      <a:pt x="10307" y="38556"/>
                    </a:cubicBezTo>
                    <a:cubicBezTo>
                      <a:pt x="10625" y="37983"/>
                      <a:pt x="11198" y="36584"/>
                      <a:pt x="12025" y="34421"/>
                    </a:cubicBezTo>
                    <a:cubicBezTo>
                      <a:pt x="12152" y="34103"/>
                      <a:pt x="12279" y="33657"/>
                      <a:pt x="12534" y="33085"/>
                    </a:cubicBezTo>
                    <a:lnTo>
                      <a:pt x="0" y="0"/>
                    </a:lnTo>
                    <a:lnTo>
                      <a:pt x="6044" y="0"/>
                    </a:lnTo>
                    <a:lnTo>
                      <a:pt x="12916" y="19087"/>
                    </a:lnTo>
                    <a:cubicBezTo>
                      <a:pt x="13806" y="21505"/>
                      <a:pt x="14633" y="24050"/>
                      <a:pt x="15333" y="26722"/>
                    </a:cubicBezTo>
                    <a:cubicBezTo>
                      <a:pt x="15970" y="24177"/>
                      <a:pt x="16733" y="21632"/>
                      <a:pt x="17624" y="19215"/>
                    </a:cubicBezTo>
                    <a:lnTo>
                      <a:pt x="24686" y="0"/>
                    </a:lnTo>
                    <a:lnTo>
                      <a:pt x="30285" y="0"/>
                    </a:lnTo>
                    <a:lnTo>
                      <a:pt x="17751" y="33530"/>
                    </a:lnTo>
                    <a:cubicBezTo>
                      <a:pt x="16415" y="37156"/>
                      <a:pt x="15333" y="39638"/>
                      <a:pt x="14633" y="41037"/>
                    </a:cubicBezTo>
                    <a:cubicBezTo>
                      <a:pt x="13616" y="42883"/>
                      <a:pt x="12470" y="44219"/>
                      <a:pt x="11198" y="45109"/>
                    </a:cubicBezTo>
                    <a:cubicBezTo>
                      <a:pt x="9925" y="46000"/>
                      <a:pt x="8398" y="46382"/>
                      <a:pt x="6617" y="46382"/>
                    </a:cubicBezTo>
                    <a:cubicBezTo>
                      <a:pt x="5472" y="46382"/>
                      <a:pt x="4263" y="46127"/>
                      <a:pt x="2927" y="45682"/>
                    </a:cubicBezTo>
                    <a:close/>
                  </a:path>
                </a:pathLst>
              </a:custGeom>
              <a:grpFill/>
              <a:ln w="6361" cap="flat">
                <a:noFill/>
                <a:prstDash val="solid"/>
                <a:miter/>
              </a:ln>
            </p:spPr>
            <p:txBody>
              <a:bodyPr rtlCol="0" anchor="ctr"/>
              <a:lstStyle/>
              <a:p>
                <a:endParaRPr lang="da-DK"/>
              </a:p>
            </p:txBody>
          </p:sp>
          <p:sp>
            <p:nvSpPr>
              <p:cNvPr id="180" name="Freeform: Shape 179">
                <a:extLst>
                  <a:ext uri="{FF2B5EF4-FFF2-40B4-BE49-F238E27FC236}">
                    <a16:creationId xmlns:a16="http://schemas.microsoft.com/office/drawing/2014/main" id="{E0A23AED-0C03-4E50-B63C-B66E9B8C2062}"/>
                  </a:ext>
                </a:extLst>
              </p:cNvPr>
              <p:cNvSpPr/>
              <p:nvPr/>
            </p:nvSpPr>
            <p:spPr>
              <a:xfrm>
                <a:off x="1278143" y="3634823"/>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96"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grpFill/>
              <a:ln w="6361" cap="flat">
                <a:noFill/>
                <a:prstDash val="solid"/>
                <a:miter/>
              </a:ln>
            </p:spPr>
            <p:txBody>
              <a:bodyPr rtlCol="0" anchor="ctr"/>
              <a:lstStyle/>
              <a:p>
                <a:endParaRPr lang="da-DK"/>
              </a:p>
            </p:txBody>
          </p:sp>
          <p:sp>
            <p:nvSpPr>
              <p:cNvPr id="181" name="Freeform: Shape 180">
                <a:extLst>
                  <a:ext uri="{FF2B5EF4-FFF2-40B4-BE49-F238E27FC236}">
                    <a16:creationId xmlns:a16="http://schemas.microsoft.com/office/drawing/2014/main" id="{5BFE4EC5-2926-4F58-9D9E-8EAE8D121BEA}"/>
                  </a:ext>
                </a:extLst>
              </p:cNvPr>
              <p:cNvSpPr/>
              <p:nvPr/>
            </p:nvSpPr>
            <p:spPr>
              <a:xfrm>
                <a:off x="1332987" y="3634823"/>
                <a:ext cx="44727" cy="33784"/>
              </a:xfrm>
              <a:custGeom>
                <a:avLst/>
                <a:gdLst>
                  <a:gd name="connsiteX0" fmla="*/ 0 w 44727"/>
                  <a:gd name="connsiteY0" fmla="*/ 33721 h 33784"/>
                  <a:gd name="connsiteX1" fmla="*/ 0 w 44727"/>
                  <a:gd name="connsiteY1" fmla="*/ 700 h 33784"/>
                  <a:gd name="connsiteX2" fmla="*/ 5026 w 44727"/>
                  <a:gd name="connsiteY2" fmla="*/ 700 h 33784"/>
                  <a:gd name="connsiteX3" fmla="*/ 5026 w 44727"/>
                  <a:gd name="connsiteY3" fmla="*/ 5344 h 33784"/>
                  <a:gd name="connsiteX4" fmla="*/ 9162 w 44727"/>
                  <a:gd name="connsiteY4" fmla="*/ 1463 h 33784"/>
                  <a:gd name="connsiteX5" fmla="*/ 15015 w 44727"/>
                  <a:gd name="connsiteY5" fmla="*/ 0 h 33784"/>
                  <a:gd name="connsiteX6" fmla="*/ 21060 w 44727"/>
                  <a:gd name="connsiteY6" fmla="*/ 1527 h 33784"/>
                  <a:gd name="connsiteX7" fmla="*/ 24368 w 44727"/>
                  <a:gd name="connsiteY7" fmla="*/ 5790 h 33784"/>
                  <a:gd name="connsiteX8" fmla="*/ 34548 w 44727"/>
                  <a:gd name="connsiteY8" fmla="*/ 0 h 33784"/>
                  <a:gd name="connsiteX9" fmla="*/ 42119 w 44727"/>
                  <a:gd name="connsiteY9" fmla="*/ 2736 h 33784"/>
                  <a:gd name="connsiteX10" fmla="*/ 44728 w 44727"/>
                  <a:gd name="connsiteY10" fmla="*/ 11134 h 33784"/>
                  <a:gd name="connsiteX11" fmla="*/ 44728 w 44727"/>
                  <a:gd name="connsiteY11" fmla="*/ 33784 h 33784"/>
                  <a:gd name="connsiteX12" fmla="*/ 39192 w 44727"/>
                  <a:gd name="connsiteY12" fmla="*/ 33784 h 33784"/>
                  <a:gd name="connsiteX13" fmla="*/ 39192 w 44727"/>
                  <a:gd name="connsiteY13" fmla="*/ 12979 h 33784"/>
                  <a:gd name="connsiteX14" fmla="*/ 38620 w 44727"/>
                  <a:gd name="connsiteY14" fmla="*/ 8144 h 33784"/>
                  <a:gd name="connsiteX15" fmla="*/ 36647 w 44727"/>
                  <a:gd name="connsiteY15" fmla="*/ 5790 h 33784"/>
                  <a:gd name="connsiteX16" fmla="*/ 33275 w 44727"/>
                  <a:gd name="connsiteY16" fmla="*/ 4899 h 33784"/>
                  <a:gd name="connsiteX17" fmla="*/ 27486 w 44727"/>
                  <a:gd name="connsiteY17" fmla="*/ 7190 h 33784"/>
                  <a:gd name="connsiteX18" fmla="*/ 25195 w 44727"/>
                  <a:gd name="connsiteY18" fmla="*/ 14570 h 33784"/>
                  <a:gd name="connsiteX19" fmla="*/ 25195 w 44727"/>
                  <a:gd name="connsiteY19" fmla="*/ 33721 h 33784"/>
                  <a:gd name="connsiteX20" fmla="*/ 19596 w 44727"/>
                  <a:gd name="connsiteY20" fmla="*/ 33721 h 33784"/>
                  <a:gd name="connsiteX21" fmla="*/ 19596 w 44727"/>
                  <a:gd name="connsiteY21" fmla="*/ 12279 h 33784"/>
                  <a:gd name="connsiteX22" fmla="*/ 18260 w 44727"/>
                  <a:gd name="connsiteY22" fmla="*/ 6680 h 33784"/>
                  <a:gd name="connsiteX23" fmla="*/ 13806 w 44727"/>
                  <a:gd name="connsiteY23" fmla="*/ 4835 h 33784"/>
                  <a:gd name="connsiteX24" fmla="*/ 9416 w 44727"/>
                  <a:gd name="connsiteY24" fmla="*/ 6108 h 33784"/>
                  <a:gd name="connsiteX25" fmla="*/ 6490 w 44727"/>
                  <a:gd name="connsiteY25" fmla="*/ 9734 h 33784"/>
                  <a:gd name="connsiteX26" fmla="*/ 5599 w 44727"/>
                  <a:gd name="connsiteY26" fmla="*/ 16606 h 33784"/>
                  <a:gd name="connsiteX27" fmla="*/ 5599 w 44727"/>
                  <a:gd name="connsiteY27" fmla="*/ 33721 h 33784"/>
                  <a:gd name="connsiteX28" fmla="*/ 0 w 44727"/>
                  <a:gd name="connsiteY28"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727" h="33784">
                    <a:moveTo>
                      <a:pt x="0" y="33721"/>
                    </a:moveTo>
                    <a:lnTo>
                      <a:pt x="0" y="700"/>
                    </a:lnTo>
                    <a:lnTo>
                      <a:pt x="5026" y="700"/>
                    </a:lnTo>
                    <a:lnTo>
                      <a:pt x="5026" y="5344"/>
                    </a:lnTo>
                    <a:cubicBezTo>
                      <a:pt x="6044" y="3754"/>
                      <a:pt x="7444" y="2418"/>
                      <a:pt x="9162" y="1463"/>
                    </a:cubicBezTo>
                    <a:cubicBezTo>
                      <a:pt x="10880" y="509"/>
                      <a:pt x="12852" y="0"/>
                      <a:pt x="15015" y="0"/>
                    </a:cubicBezTo>
                    <a:cubicBezTo>
                      <a:pt x="17433" y="0"/>
                      <a:pt x="19469" y="509"/>
                      <a:pt x="21060" y="1527"/>
                    </a:cubicBezTo>
                    <a:cubicBezTo>
                      <a:pt x="22650" y="2545"/>
                      <a:pt x="23732" y="3945"/>
                      <a:pt x="24368" y="5790"/>
                    </a:cubicBezTo>
                    <a:cubicBezTo>
                      <a:pt x="26977" y="1909"/>
                      <a:pt x="30349" y="0"/>
                      <a:pt x="34548" y="0"/>
                    </a:cubicBezTo>
                    <a:cubicBezTo>
                      <a:pt x="37793" y="0"/>
                      <a:pt x="40338" y="891"/>
                      <a:pt x="42119" y="2736"/>
                    </a:cubicBezTo>
                    <a:cubicBezTo>
                      <a:pt x="43901" y="4581"/>
                      <a:pt x="44728" y="7317"/>
                      <a:pt x="44728" y="11134"/>
                    </a:cubicBezTo>
                    <a:lnTo>
                      <a:pt x="44728" y="33784"/>
                    </a:lnTo>
                    <a:lnTo>
                      <a:pt x="39192" y="33784"/>
                    </a:lnTo>
                    <a:lnTo>
                      <a:pt x="39192" y="12979"/>
                    </a:lnTo>
                    <a:cubicBezTo>
                      <a:pt x="39192" y="10752"/>
                      <a:pt x="39001" y="9162"/>
                      <a:pt x="38620" y="8144"/>
                    </a:cubicBezTo>
                    <a:cubicBezTo>
                      <a:pt x="38238" y="7190"/>
                      <a:pt x="37602" y="6362"/>
                      <a:pt x="36647" y="5790"/>
                    </a:cubicBezTo>
                    <a:cubicBezTo>
                      <a:pt x="35693" y="5217"/>
                      <a:pt x="34548" y="4899"/>
                      <a:pt x="33275" y="4899"/>
                    </a:cubicBezTo>
                    <a:cubicBezTo>
                      <a:pt x="30985" y="4899"/>
                      <a:pt x="29013" y="5662"/>
                      <a:pt x="27486" y="7190"/>
                    </a:cubicBezTo>
                    <a:cubicBezTo>
                      <a:pt x="25959" y="8716"/>
                      <a:pt x="25195" y="11198"/>
                      <a:pt x="25195" y="14570"/>
                    </a:cubicBezTo>
                    <a:lnTo>
                      <a:pt x="25195" y="33721"/>
                    </a:lnTo>
                    <a:lnTo>
                      <a:pt x="19596" y="33721"/>
                    </a:lnTo>
                    <a:lnTo>
                      <a:pt x="19596" y="12279"/>
                    </a:lnTo>
                    <a:cubicBezTo>
                      <a:pt x="19596" y="9798"/>
                      <a:pt x="19151" y="7953"/>
                      <a:pt x="18260" y="6680"/>
                    </a:cubicBezTo>
                    <a:cubicBezTo>
                      <a:pt x="17369" y="5408"/>
                      <a:pt x="15842" y="4835"/>
                      <a:pt x="13806" y="4835"/>
                    </a:cubicBezTo>
                    <a:cubicBezTo>
                      <a:pt x="12216" y="4835"/>
                      <a:pt x="10752" y="5281"/>
                      <a:pt x="9416" y="6108"/>
                    </a:cubicBezTo>
                    <a:cubicBezTo>
                      <a:pt x="8080" y="6935"/>
                      <a:pt x="7126" y="8144"/>
                      <a:pt x="6490" y="9734"/>
                    </a:cubicBezTo>
                    <a:cubicBezTo>
                      <a:pt x="5917" y="11325"/>
                      <a:pt x="5599" y="13615"/>
                      <a:pt x="5599" y="16606"/>
                    </a:cubicBezTo>
                    <a:lnTo>
                      <a:pt x="5599" y="33721"/>
                    </a:lnTo>
                    <a:lnTo>
                      <a:pt x="0" y="33721"/>
                    </a:lnTo>
                    <a:close/>
                  </a:path>
                </a:pathLst>
              </a:custGeom>
              <a:grpFill/>
              <a:ln w="6361" cap="flat">
                <a:noFill/>
                <a:prstDash val="solid"/>
                <a:miter/>
              </a:ln>
            </p:spPr>
            <p:txBody>
              <a:bodyPr rtlCol="0" anchor="ctr"/>
              <a:lstStyle/>
              <a:p>
                <a:endParaRPr lang="da-DK"/>
              </a:p>
            </p:txBody>
          </p:sp>
          <p:sp>
            <p:nvSpPr>
              <p:cNvPr id="182" name="Freeform: Shape 181">
                <a:extLst>
                  <a:ext uri="{FF2B5EF4-FFF2-40B4-BE49-F238E27FC236}">
                    <a16:creationId xmlns:a16="http://schemas.microsoft.com/office/drawing/2014/main" id="{10F8E27E-7A5F-40F5-BD9B-777F60704844}"/>
                  </a:ext>
                </a:extLst>
              </p:cNvPr>
              <p:cNvSpPr/>
              <p:nvPr/>
            </p:nvSpPr>
            <p:spPr>
              <a:xfrm>
                <a:off x="1385858" y="3635586"/>
                <a:ext cx="26658" cy="33720"/>
              </a:xfrm>
              <a:custGeom>
                <a:avLst/>
                <a:gdLst>
                  <a:gd name="connsiteX0" fmla="*/ 21759 w 26658"/>
                  <a:gd name="connsiteY0" fmla="*/ 32957 h 33720"/>
                  <a:gd name="connsiteX1" fmla="*/ 21759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759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759" y="32957"/>
                    </a:moveTo>
                    <a:lnTo>
                      <a:pt x="21759" y="28122"/>
                    </a:lnTo>
                    <a:cubicBezTo>
                      <a:pt x="19214" y="31876"/>
                      <a:pt x="15715"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99" y="25704"/>
                      <a:pt x="6999" y="26849"/>
                      <a:pt x="8144" y="27676"/>
                    </a:cubicBezTo>
                    <a:cubicBezTo>
                      <a:pt x="9289" y="28504"/>
                      <a:pt x="10689" y="28949"/>
                      <a:pt x="12343" y="28949"/>
                    </a:cubicBezTo>
                    <a:cubicBezTo>
                      <a:pt x="13997" y="28949"/>
                      <a:pt x="15588" y="28504"/>
                      <a:pt x="17051" y="27676"/>
                    </a:cubicBezTo>
                    <a:cubicBezTo>
                      <a:pt x="18515" y="26849"/>
                      <a:pt x="19533" y="25640"/>
                      <a:pt x="20169" y="24177"/>
                    </a:cubicBezTo>
                    <a:cubicBezTo>
                      <a:pt x="20805" y="22714"/>
                      <a:pt x="21059" y="20551"/>
                      <a:pt x="21059" y="17751"/>
                    </a:cubicBezTo>
                    <a:lnTo>
                      <a:pt x="21059" y="64"/>
                    </a:lnTo>
                    <a:lnTo>
                      <a:pt x="26658" y="64"/>
                    </a:lnTo>
                    <a:lnTo>
                      <a:pt x="26658" y="33085"/>
                    </a:lnTo>
                    <a:lnTo>
                      <a:pt x="21759" y="33085"/>
                    </a:lnTo>
                    <a:close/>
                  </a:path>
                </a:pathLst>
              </a:custGeom>
              <a:grpFill/>
              <a:ln w="6361" cap="flat">
                <a:noFill/>
                <a:prstDash val="solid"/>
                <a:miter/>
              </a:ln>
            </p:spPr>
            <p:txBody>
              <a:bodyPr rtlCol="0" anchor="ctr"/>
              <a:lstStyle/>
              <a:p>
                <a:endParaRPr lang="da-DK"/>
              </a:p>
            </p:txBody>
          </p:sp>
          <p:sp>
            <p:nvSpPr>
              <p:cNvPr id="183" name="Freeform: Shape 182">
                <a:extLst>
                  <a:ext uri="{FF2B5EF4-FFF2-40B4-BE49-F238E27FC236}">
                    <a16:creationId xmlns:a16="http://schemas.microsoft.com/office/drawing/2014/main" id="{913A9B5A-BCF6-4FE7-97DB-91FC4C11EA71}"/>
                  </a:ext>
                </a:extLst>
              </p:cNvPr>
              <p:cNvSpPr/>
              <p:nvPr/>
            </p:nvSpPr>
            <p:spPr>
              <a:xfrm>
                <a:off x="1421233" y="3622989"/>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84" name="Freeform: Shape 183">
                <a:extLst>
                  <a:ext uri="{FF2B5EF4-FFF2-40B4-BE49-F238E27FC236}">
                    <a16:creationId xmlns:a16="http://schemas.microsoft.com/office/drawing/2014/main" id="{75E9F50F-D132-4C4E-8C08-21442FC0C00D}"/>
                  </a:ext>
                </a:extLst>
              </p:cNvPr>
              <p:cNvSpPr/>
              <p:nvPr/>
            </p:nvSpPr>
            <p:spPr>
              <a:xfrm>
                <a:off x="1435549" y="3622989"/>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grpFill/>
              <a:ln w="6361" cap="flat">
                <a:noFill/>
                <a:prstDash val="solid"/>
                <a:miter/>
              </a:ln>
            </p:spPr>
            <p:txBody>
              <a:bodyPr rtlCol="0" anchor="ctr"/>
              <a:lstStyle/>
              <a:p>
                <a:endParaRPr lang="da-DK"/>
              </a:p>
            </p:txBody>
          </p:sp>
          <p:sp>
            <p:nvSpPr>
              <p:cNvPr id="185" name="Freeform: Shape 184">
                <a:extLst>
                  <a:ext uri="{FF2B5EF4-FFF2-40B4-BE49-F238E27FC236}">
                    <a16:creationId xmlns:a16="http://schemas.microsoft.com/office/drawing/2014/main" id="{32A7B1DB-7D11-4A36-97AD-7F19ADA4668C}"/>
                  </a:ext>
                </a:extLst>
              </p:cNvPr>
              <p:cNvSpPr/>
              <p:nvPr/>
            </p:nvSpPr>
            <p:spPr>
              <a:xfrm>
                <a:off x="1447383" y="3634823"/>
                <a:ext cx="29076" cy="47145"/>
              </a:xfrm>
              <a:custGeom>
                <a:avLst/>
                <a:gdLst>
                  <a:gd name="connsiteX0" fmla="*/ 1209 w 29076"/>
                  <a:gd name="connsiteY0" fmla="*/ 36393 h 47145"/>
                  <a:gd name="connsiteX1" fmla="*/ 6617 w 29076"/>
                  <a:gd name="connsiteY1" fmla="*/ 37220 h 47145"/>
                  <a:gd name="connsiteX2" fmla="*/ 8526 w 29076"/>
                  <a:gd name="connsiteY2" fmla="*/ 40910 h 47145"/>
                  <a:gd name="connsiteX3" fmla="*/ 14188 w 29076"/>
                  <a:gd name="connsiteY3" fmla="*/ 42437 h 47145"/>
                  <a:gd name="connsiteX4" fmla="*/ 20169 w 29076"/>
                  <a:gd name="connsiteY4" fmla="*/ 40910 h 47145"/>
                  <a:gd name="connsiteX5" fmla="*/ 23032 w 29076"/>
                  <a:gd name="connsiteY5" fmla="*/ 36584 h 47145"/>
                  <a:gd name="connsiteX6" fmla="*/ 23414 w 29076"/>
                  <a:gd name="connsiteY6" fmla="*/ 29394 h 47145"/>
                  <a:gd name="connsiteX7" fmla="*/ 14252 w 29076"/>
                  <a:gd name="connsiteY7" fmla="*/ 33721 h 47145"/>
                  <a:gd name="connsiteX8" fmla="*/ 3754 w 29076"/>
                  <a:gd name="connsiteY8" fmla="*/ 28822 h 47145"/>
                  <a:gd name="connsiteX9" fmla="*/ 0 w 29076"/>
                  <a:gd name="connsiteY9" fmla="*/ 17051 h 47145"/>
                  <a:gd name="connsiteX10" fmla="*/ 1718 w 29076"/>
                  <a:gd name="connsiteY10" fmla="*/ 8335 h 47145"/>
                  <a:gd name="connsiteX11" fmla="*/ 6681 w 29076"/>
                  <a:gd name="connsiteY11" fmla="*/ 2163 h 47145"/>
                  <a:gd name="connsiteX12" fmla="*/ 14315 w 29076"/>
                  <a:gd name="connsiteY12" fmla="*/ 0 h 47145"/>
                  <a:gd name="connsiteX13" fmla="*/ 23923 w 29076"/>
                  <a:gd name="connsiteY13" fmla="*/ 4708 h 47145"/>
                  <a:gd name="connsiteX14" fmla="*/ 23923 w 29076"/>
                  <a:gd name="connsiteY14" fmla="*/ 763 h 47145"/>
                  <a:gd name="connsiteX15" fmla="*/ 29076 w 29076"/>
                  <a:gd name="connsiteY15" fmla="*/ 763 h 47145"/>
                  <a:gd name="connsiteX16" fmla="*/ 29076 w 29076"/>
                  <a:gd name="connsiteY16" fmla="*/ 29267 h 47145"/>
                  <a:gd name="connsiteX17" fmla="*/ 27485 w 29076"/>
                  <a:gd name="connsiteY17" fmla="*/ 40210 h 47145"/>
                  <a:gd name="connsiteX18" fmla="*/ 22523 w 29076"/>
                  <a:gd name="connsiteY18" fmla="*/ 45300 h 47145"/>
                  <a:gd name="connsiteX19" fmla="*/ 14125 w 29076"/>
                  <a:gd name="connsiteY19" fmla="*/ 47145 h 47145"/>
                  <a:gd name="connsiteX20" fmla="*/ 4581 w 29076"/>
                  <a:gd name="connsiteY20" fmla="*/ 44473 h 47145"/>
                  <a:gd name="connsiteX21" fmla="*/ 1209 w 29076"/>
                  <a:gd name="connsiteY21" fmla="*/ 36393 h 47145"/>
                  <a:gd name="connsiteX22" fmla="*/ 5853 w 29076"/>
                  <a:gd name="connsiteY22" fmla="*/ 16606 h 47145"/>
                  <a:gd name="connsiteX23" fmla="*/ 8462 w 29076"/>
                  <a:gd name="connsiteY23" fmla="*/ 26086 h 47145"/>
                  <a:gd name="connsiteX24" fmla="*/ 14952 w 29076"/>
                  <a:gd name="connsiteY24" fmla="*/ 29076 h 47145"/>
                  <a:gd name="connsiteX25" fmla="*/ 21441 w 29076"/>
                  <a:gd name="connsiteY25" fmla="*/ 26086 h 47145"/>
                  <a:gd name="connsiteX26" fmla="*/ 24050 w 29076"/>
                  <a:gd name="connsiteY26" fmla="*/ 16797 h 47145"/>
                  <a:gd name="connsiteX27" fmla="*/ 21378 w 29076"/>
                  <a:gd name="connsiteY27" fmla="*/ 7635 h 47145"/>
                  <a:gd name="connsiteX28" fmla="*/ 14888 w 29076"/>
                  <a:gd name="connsiteY28" fmla="*/ 4581 h 47145"/>
                  <a:gd name="connsiteX29" fmla="*/ 8526 w 29076"/>
                  <a:gd name="connsiteY29" fmla="*/ 7635 h 47145"/>
                  <a:gd name="connsiteX30" fmla="*/ 5853 w 29076"/>
                  <a:gd name="connsiteY30" fmla="*/ 16606 h 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076" h="47145">
                    <a:moveTo>
                      <a:pt x="1209" y="36393"/>
                    </a:moveTo>
                    <a:lnTo>
                      <a:pt x="6617" y="37220"/>
                    </a:lnTo>
                    <a:cubicBezTo>
                      <a:pt x="6871" y="38874"/>
                      <a:pt x="7508" y="40147"/>
                      <a:pt x="8526" y="40910"/>
                    </a:cubicBezTo>
                    <a:cubicBezTo>
                      <a:pt x="9925" y="41928"/>
                      <a:pt x="11834" y="42437"/>
                      <a:pt x="14188" y="42437"/>
                    </a:cubicBezTo>
                    <a:cubicBezTo>
                      <a:pt x="16797" y="42437"/>
                      <a:pt x="18769" y="41928"/>
                      <a:pt x="20169" y="40910"/>
                    </a:cubicBezTo>
                    <a:cubicBezTo>
                      <a:pt x="21569" y="39892"/>
                      <a:pt x="22523" y="38429"/>
                      <a:pt x="23032" y="36584"/>
                    </a:cubicBezTo>
                    <a:cubicBezTo>
                      <a:pt x="23286" y="35439"/>
                      <a:pt x="23477" y="33021"/>
                      <a:pt x="23414" y="29394"/>
                    </a:cubicBezTo>
                    <a:cubicBezTo>
                      <a:pt x="20996" y="32257"/>
                      <a:pt x="17942" y="33721"/>
                      <a:pt x="14252" y="33721"/>
                    </a:cubicBezTo>
                    <a:cubicBezTo>
                      <a:pt x="9734" y="33721"/>
                      <a:pt x="6235" y="32066"/>
                      <a:pt x="3754" y="28822"/>
                    </a:cubicBezTo>
                    <a:cubicBezTo>
                      <a:pt x="1272" y="25577"/>
                      <a:pt x="0" y="21632"/>
                      <a:pt x="0" y="17051"/>
                    </a:cubicBezTo>
                    <a:cubicBezTo>
                      <a:pt x="0" y="13934"/>
                      <a:pt x="573" y="11007"/>
                      <a:pt x="1718" y="8335"/>
                    </a:cubicBezTo>
                    <a:cubicBezTo>
                      <a:pt x="2863" y="5662"/>
                      <a:pt x="4517" y="3627"/>
                      <a:pt x="6681" y="2163"/>
                    </a:cubicBezTo>
                    <a:cubicBezTo>
                      <a:pt x="8844" y="700"/>
                      <a:pt x="11389" y="0"/>
                      <a:pt x="14315" y="0"/>
                    </a:cubicBezTo>
                    <a:cubicBezTo>
                      <a:pt x="18196" y="0"/>
                      <a:pt x="21441" y="1591"/>
                      <a:pt x="23923" y="4708"/>
                    </a:cubicBezTo>
                    <a:lnTo>
                      <a:pt x="23923" y="763"/>
                    </a:lnTo>
                    <a:lnTo>
                      <a:pt x="29076" y="763"/>
                    </a:lnTo>
                    <a:lnTo>
                      <a:pt x="29076" y="29267"/>
                    </a:lnTo>
                    <a:cubicBezTo>
                      <a:pt x="29076" y="34421"/>
                      <a:pt x="28567" y="38047"/>
                      <a:pt x="27485" y="40210"/>
                    </a:cubicBezTo>
                    <a:cubicBezTo>
                      <a:pt x="26404" y="42374"/>
                      <a:pt x="24813" y="44028"/>
                      <a:pt x="22523" y="45300"/>
                    </a:cubicBezTo>
                    <a:cubicBezTo>
                      <a:pt x="20232" y="46573"/>
                      <a:pt x="17497" y="47145"/>
                      <a:pt x="14125" y="47145"/>
                    </a:cubicBezTo>
                    <a:cubicBezTo>
                      <a:pt x="10180" y="47145"/>
                      <a:pt x="6999" y="46255"/>
                      <a:pt x="4581" y="44473"/>
                    </a:cubicBezTo>
                    <a:cubicBezTo>
                      <a:pt x="2290" y="42628"/>
                      <a:pt x="1145" y="39956"/>
                      <a:pt x="1209" y="36393"/>
                    </a:cubicBezTo>
                    <a:close/>
                    <a:moveTo>
                      <a:pt x="5853" y="16606"/>
                    </a:moveTo>
                    <a:cubicBezTo>
                      <a:pt x="5853" y="20932"/>
                      <a:pt x="6744" y="24114"/>
                      <a:pt x="8462" y="26086"/>
                    </a:cubicBezTo>
                    <a:cubicBezTo>
                      <a:pt x="10180" y="28058"/>
                      <a:pt x="12343" y="29076"/>
                      <a:pt x="14952" y="29076"/>
                    </a:cubicBezTo>
                    <a:cubicBezTo>
                      <a:pt x="17497" y="29076"/>
                      <a:pt x="19660" y="28058"/>
                      <a:pt x="21441" y="26086"/>
                    </a:cubicBezTo>
                    <a:cubicBezTo>
                      <a:pt x="23159" y="24114"/>
                      <a:pt x="24050" y="20996"/>
                      <a:pt x="24050" y="16797"/>
                    </a:cubicBezTo>
                    <a:cubicBezTo>
                      <a:pt x="24050" y="12788"/>
                      <a:pt x="23159" y="9734"/>
                      <a:pt x="21378" y="7635"/>
                    </a:cubicBezTo>
                    <a:cubicBezTo>
                      <a:pt x="19596" y="5535"/>
                      <a:pt x="17433" y="4581"/>
                      <a:pt x="14888" y="4581"/>
                    </a:cubicBezTo>
                    <a:cubicBezTo>
                      <a:pt x="12407" y="4581"/>
                      <a:pt x="10307" y="5599"/>
                      <a:pt x="8526" y="7635"/>
                    </a:cubicBezTo>
                    <a:cubicBezTo>
                      <a:pt x="6744" y="9607"/>
                      <a:pt x="5853" y="12597"/>
                      <a:pt x="5853" y="16606"/>
                    </a:cubicBezTo>
                    <a:close/>
                  </a:path>
                </a:pathLst>
              </a:custGeom>
              <a:grpFill/>
              <a:ln w="6361" cap="flat">
                <a:noFill/>
                <a:prstDash val="solid"/>
                <a:miter/>
              </a:ln>
            </p:spPr>
            <p:txBody>
              <a:bodyPr rtlCol="0" anchor="ctr"/>
              <a:lstStyle/>
              <a:p>
                <a:endParaRPr lang="da-DK"/>
              </a:p>
            </p:txBody>
          </p:sp>
          <p:sp>
            <p:nvSpPr>
              <p:cNvPr id="186" name="Freeform: Shape 185">
                <a:extLst>
                  <a:ext uri="{FF2B5EF4-FFF2-40B4-BE49-F238E27FC236}">
                    <a16:creationId xmlns:a16="http://schemas.microsoft.com/office/drawing/2014/main" id="{25F4D439-369F-49BC-945F-BDEFBFC405BB}"/>
                  </a:ext>
                </a:extLst>
              </p:cNvPr>
              <p:cNvSpPr/>
              <p:nvPr/>
            </p:nvSpPr>
            <p:spPr>
              <a:xfrm>
                <a:off x="1485048" y="3622989"/>
                <a:ext cx="26849" cy="45618"/>
              </a:xfrm>
              <a:custGeom>
                <a:avLst/>
                <a:gdLst>
                  <a:gd name="connsiteX0" fmla="*/ 0 w 26849"/>
                  <a:gd name="connsiteY0" fmla="*/ 45555 h 45618"/>
                  <a:gd name="connsiteX1" fmla="*/ 0 w 26849"/>
                  <a:gd name="connsiteY1" fmla="*/ 0 h 45618"/>
                  <a:gd name="connsiteX2" fmla="*/ 5599 w 26849"/>
                  <a:gd name="connsiteY2" fmla="*/ 0 h 45618"/>
                  <a:gd name="connsiteX3" fmla="*/ 5599 w 26849"/>
                  <a:gd name="connsiteY3" fmla="*/ 16351 h 45618"/>
                  <a:gd name="connsiteX4" fmla="*/ 15461 w 26849"/>
                  <a:gd name="connsiteY4" fmla="*/ 11834 h 45618"/>
                  <a:gd name="connsiteX5" fmla="*/ 21823 w 26849"/>
                  <a:gd name="connsiteY5" fmla="*/ 13297 h 45618"/>
                  <a:gd name="connsiteX6" fmla="*/ 25704 w 26849"/>
                  <a:gd name="connsiteY6" fmla="*/ 17306 h 45618"/>
                  <a:gd name="connsiteX7" fmla="*/ 26849 w 26849"/>
                  <a:gd name="connsiteY7" fmla="*/ 24686 h 45618"/>
                  <a:gd name="connsiteX8" fmla="*/ 26849 w 26849"/>
                  <a:gd name="connsiteY8" fmla="*/ 45618 h 45618"/>
                  <a:gd name="connsiteX9" fmla="*/ 21250 w 26849"/>
                  <a:gd name="connsiteY9" fmla="*/ 45618 h 45618"/>
                  <a:gd name="connsiteX10" fmla="*/ 21250 w 26849"/>
                  <a:gd name="connsiteY10" fmla="*/ 24686 h 45618"/>
                  <a:gd name="connsiteX11" fmla="*/ 19405 w 26849"/>
                  <a:gd name="connsiteY11" fmla="*/ 18578 h 45618"/>
                  <a:gd name="connsiteX12" fmla="*/ 14252 w 26849"/>
                  <a:gd name="connsiteY12" fmla="*/ 16669 h 45618"/>
                  <a:gd name="connsiteX13" fmla="*/ 9607 w 26849"/>
                  <a:gd name="connsiteY13" fmla="*/ 17942 h 45618"/>
                  <a:gd name="connsiteX14" fmla="*/ 6490 w 26849"/>
                  <a:gd name="connsiteY14" fmla="*/ 21441 h 45618"/>
                  <a:gd name="connsiteX15" fmla="*/ 5535 w 26849"/>
                  <a:gd name="connsiteY15" fmla="*/ 27549 h 45618"/>
                  <a:gd name="connsiteX16" fmla="*/ 5535 w 26849"/>
                  <a:gd name="connsiteY16" fmla="*/ 45618 h 45618"/>
                  <a:gd name="connsiteX17" fmla="*/ 0 w 26849"/>
                  <a:gd name="connsiteY17" fmla="*/ 45618 h 4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49" h="45618">
                    <a:moveTo>
                      <a:pt x="0" y="45555"/>
                    </a:moveTo>
                    <a:lnTo>
                      <a:pt x="0" y="0"/>
                    </a:lnTo>
                    <a:lnTo>
                      <a:pt x="5599" y="0"/>
                    </a:lnTo>
                    <a:lnTo>
                      <a:pt x="5599" y="16351"/>
                    </a:lnTo>
                    <a:cubicBezTo>
                      <a:pt x="8208" y="13297"/>
                      <a:pt x="11516" y="11834"/>
                      <a:pt x="15461" y="11834"/>
                    </a:cubicBezTo>
                    <a:cubicBezTo>
                      <a:pt x="17878" y="11834"/>
                      <a:pt x="20041" y="12343"/>
                      <a:pt x="21823" y="13297"/>
                    </a:cubicBezTo>
                    <a:cubicBezTo>
                      <a:pt x="23605" y="14252"/>
                      <a:pt x="24941" y="15588"/>
                      <a:pt x="25704" y="17306"/>
                    </a:cubicBezTo>
                    <a:cubicBezTo>
                      <a:pt x="26468" y="19024"/>
                      <a:pt x="26849" y="21441"/>
                      <a:pt x="26849" y="24686"/>
                    </a:cubicBezTo>
                    <a:lnTo>
                      <a:pt x="26849" y="45618"/>
                    </a:lnTo>
                    <a:lnTo>
                      <a:pt x="21250" y="45618"/>
                    </a:lnTo>
                    <a:lnTo>
                      <a:pt x="21250" y="24686"/>
                    </a:lnTo>
                    <a:cubicBezTo>
                      <a:pt x="21250" y="21887"/>
                      <a:pt x="20678" y="19851"/>
                      <a:pt x="19405" y="18578"/>
                    </a:cubicBezTo>
                    <a:cubicBezTo>
                      <a:pt x="18196" y="17306"/>
                      <a:pt x="16479" y="16669"/>
                      <a:pt x="14252" y="16669"/>
                    </a:cubicBezTo>
                    <a:cubicBezTo>
                      <a:pt x="12598" y="16669"/>
                      <a:pt x="11071" y="17115"/>
                      <a:pt x="9607" y="17942"/>
                    </a:cubicBezTo>
                    <a:cubicBezTo>
                      <a:pt x="8144" y="18769"/>
                      <a:pt x="7126" y="19978"/>
                      <a:pt x="6490" y="21441"/>
                    </a:cubicBezTo>
                    <a:cubicBezTo>
                      <a:pt x="5853" y="22905"/>
                      <a:pt x="5535" y="24941"/>
                      <a:pt x="5535" y="27549"/>
                    </a:cubicBezTo>
                    <a:lnTo>
                      <a:pt x="5535" y="45618"/>
                    </a:lnTo>
                    <a:lnTo>
                      <a:pt x="0" y="45618"/>
                    </a:lnTo>
                    <a:close/>
                  </a:path>
                </a:pathLst>
              </a:custGeom>
              <a:grpFill/>
              <a:ln w="6361" cap="flat">
                <a:noFill/>
                <a:prstDash val="solid"/>
                <a:miter/>
              </a:ln>
            </p:spPr>
            <p:txBody>
              <a:bodyPr rtlCol="0" anchor="ctr"/>
              <a:lstStyle/>
              <a:p>
                <a:endParaRPr lang="da-DK"/>
              </a:p>
            </p:txBody>
          </p:sp>
          <p:sp>
            <p:nvSpPr>
              <p:cNvPr id="187" name="Freeform: Shape 186">
                <a:extLst>
                  <a:ext uri="{FF2B5EF4-FFF2-40B4-BE49-F238E27FC236}">
                    <a16:creationId xmlns:a16="http://schemas.microsoft.com/office/drawing/2014/main" id="{67F05509-5CDB-4B8E-BBD0-B1F462A22FE9}"/>
                  </a:ext>
                </a:extLst>
              </p:cNvPr>
              <p:cNvSpPr/>
              <p:nvPr/>
            </p:nvSpPr>
            <p:spPr>
              <a:xfrm>
                <a:off x="151857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grpFill/>
              <a:ln w="6361" cap="flat">
                <a:noFill/>
                <a:prstDash val="solid"/>
                <a:miter/>
              </a:ln>
            </p:spPr>
            <p:txBody>
              <a:bodyPr rtlCol="0" anchor="ctr"/>
              <a:lstStyle/>
              <a:p>
                <a:endParaRPr lang="da-DK"/>
              </a:p>
            </p:txBody>
          </p:sp>
          <p:sp>
            <p:nvSpPr>
              <p:cNvPr id="188" name="Freeform: Shape 187">
                <a:extLst>
                  <a:ext uri="{FF2B5EF4-FFF2-40B4-BE49-F238E27FC236}">
                    <a16:creationId xmlns:a16="http://schemas.microsoft.com/office/drawing/2014/main" id="{8AC7977D-64D4-45E6-AF54-96F91CBE639A}"/>
                  </a:ext>
                </a:extLst>
              </p:cNvPr>
              <p:cNvSpPr/>
              <p:nvPr/>
            </p:nvSpPr>
            <p:spPr>
              <a:xfrm>
                <a:off x="1553698" y="3622989"/>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7"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grpFill/>
              <a:ln w="6361" cap="flat">
                <a:noFill/>
                <a:prstDash val="solid"/>
                <a:miter/>
              </a:ln>
            </p:spPr>
            <p:txBody>
              <a:bodyPr rtlCol="0" anchor="ctr"/>
              <a:lstStyle/>
              <a:p>
                <a:endParaRPr lang="da-DK"/>
              </a:p>
            </p:txBody>
          </p:sp>
          <p:sp>
            <p:nvSpPr>
              <p:cNvPr id="189" name="Freeform: Shape 188">
                <a:extLst>
                  <a:ext uri="{FF2B5EF4-FFF2-40B4-BE49-F238E27FC236}">
                    <a16:creationId xmlns:a16="http://schemas.microsoft.com/office/drawing/2014/main" id="{EDBD697C-9004-4B71-BABE-92E1C4D7BEAF}"/>
                  </a:ext>
                </a:extLst>
              </p:cNvPr>
              <p:cNvSpPr/>
              <p:nvPr/>
            </p:nvSpPr>
            <p:spPr>
              <a:xfrm>
                <a:off x="158932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90" y="8844"/>
                      <a:pt x="6235" y="11134"/>
                      <a:pt x="6044" y="13997"/>
                    </a:cubicBezTo>
                    <a:close/>
                  </a:path>
                </a:pathLst>
              </a:custGeom>
              <a:grpFill/>
              <a:ln w="6361" cap="flat">
                <a:noFill/>
                <a:prstDash val="solid"/>
                <a:miter/>
              </a:ln>
            </p:spPr>
            <p:txBody>
              <a:bodyPr rtlCol="0" anchor="ctr"/>
              <a:lstStyle/>
              <a:p>
                <a:endParaRPr lang="da-DK"/>
              </a:p>
            </p:txBody>
          </p:sp>
          <p:sp>
            <p:nvSpPr>
              <p:cNvPr id="190" name="Freeform: Shape 189">
                <a:extLst>
                  <a:ext uri="{FF2B5EF4-FFF2-40B4-BE49-F238E27FC236}">
                    <a16:creationId xmlns:a16="http://schemas.microsoft.com/office/drawing/2014/main" id="{9CAA5D5B-442B-4488-B2B7-609FDD66E536}"/>
                  </a:ext>
                </a:extLst>
              </p:cNvPr>
              <p:cNvSpPr/>
              <p:nvPr/>
            </p:nvSpPr>
            <p:spPr>
              <a:xfrm>
                <a:off x="1626484" y="3634759"/>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91" name="Freeform: Shape 190">
                <a:extLst>
                  <a:ext uri="{FF2B5EF4-FFF2-40B4-BE49-F238E27FC236}">
                    <a16:creationId xmlns:a16="http://schemas.microsoft.com/office/drawing/2014/main" id="{1462162E-DA6D-4F56-AC6F-BA6579639EF8}"/>
                  </a:ext>
                </a:extLst>
              </p:cNvPr>
              <p:cNvSpPr/>
              <p:nvPr/>
            </p:nvSpPr>
            <p:spPr>
              <a:xfrm>
                <a:off x="1645826" y="3662181"/>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grpFill/>
              <a:ln w="6361" cap="flat">
                <a:noFill/>
                <a:prstDash val="solid"/>
                <a:miter/>
              </a:ln>
            </p:spPr>
            <p:txBody>
              <a:bodyPr rtlCol="0" anchor="ctr"/>
              <a:lstStyle/>
              <a:p>
                <a:endParaRPr lang="da-DK"/>
              </a:p>
            </p:txBody>
          </p:sp>
        </p:grpSp>
        <p:grpSp>
          <p:nvGrpSpPr>
            <p:cNvPr id="137" name="Graphic 5">
              <a:extLst>
                <a:ext uri="{FF2B5EF4-FFF2-40B4-BE49-F238E27FC236}">
                  <a16:creationId xmlns:a16="http://schemas.microsoft.com/office/drawing/2014/main" id="{B9195075-A9ED-41EA-B376-D9EE0E60292C}"/>
                </a:ext>
              </a:extLst>
            </p:cNvPr>
            <p:cNvGrpSpPr/>
            <p:nvPr/>
          </p:nvGrpSpPr>
          <p:grpSpPr>
            <a:xfrm>
              <a:off x="632997" y="3239655"/>
              <a:ext cx="440022" cy="431242"/>
              <a:chOff x="632997" y="3239655"/>
              <a:chExt cx="440022" cy="431242"/>
            </a:xfrm>
            <a:grpFill/>
          </p:grpSpPr>
          <p:sp>
            <p:nvSpPr>
              <p:cNvPr id="138" name="Freeform: Shape 137">
                <a:extLst>
                  <a:ext uri="{FF2B5EF4-FFF2-40B4-BE49-F238E27FC236}">
                    <a16:creationId xmlns:a16="http://schemas.microsoft.com/office/drawing/2014/main" id="{B95A73A7-18DD-48CB-B50C-8EE0BD518EA7}"/>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39" name="Freeform: Shape 138">
                <a:extLst>
                  <a:ext uri="{FF2B5EF4-FFF2-40B4-BE49-F238E27FC236}">
                    <a16:creationId xmlns:a16="http://schemas.microsoft.com/office/drawing/2014/main" id="{C69C8BC2-51D4-4F38-9792-5FD10EFBC212}"/>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0" name="Freeform: Shape 139">
                <a:extLst>
                  <a:ext uri="{FF2B5EF4-FFF2-40B4-BE49-F238E27FC236}">
                    <a16:creationId xmlns:a16="http://schemas.microsoft.com/office/drawing/2014/main" id="{541FCB7B-9B45-4E59-8514-9B47AD510C19}"/>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1" name="Freeform: Shape 140">
                <a:extLst>
                  <a:ext uri="{FF2B5EF4-FFF2-40B4-BE49-F238E27FC236}">
                    <a16:creationId xmlns:a16="http://schemas.microsoft.com/office/drawing/2014/main" id="{B164C0AC-F6C5-4E7C-8D4F-13C8C892E12C}"/>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2" name="Freeform: Shape 141">
                <a:extLst>
                  <a:ext uri="{FF2B5EF4-FFF2-40B4-BE49-F238E27FC236}">
                    <a16:creationId xmlns:a16="http://schemas.microsoft.com/office/drawing/2014/main" id="{D1BBB65F-0047-4783-9BEA-68449A1C52F6}"/>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3" name="Freeform: Shape 142">
                <a:extLst>
                  <a:ext uri="{FF2B5EF4-FFF2-40B4-BE49-F238E27FC236}">
                    <a16:creationId xmlns:a16="http://schemas.microsoft.com/office/drawing/2014/main" id="{B8015861-32E7-4CC0-BCE1-2CD142E15D48}"/>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4" name="Freeform: Shape 143">
                <a:extLst>
                  <a:ext uri="{FF2B5EF4-FFF2-40B4-BE49-F238E27FC236}">
                    <a16:creationId xmlns:a16="http://schemas.microsoft.com/office/drawing/2014/main" id="{53EDAD37-F12F-44DB-B3D1-B0ED9B485612}"/>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grpSp>
      </p:grpSp>
    </p:spTree>
    <p:extLst>
      <p:ext uri="{BB962C8B-B14F-4D97-AF65-F5344CB8AC3E}">
        <p14:creationId xmlns:p14="http://schemas.microsoft.com/office/powerpoint/2010/main" val="367552279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B0751AEF-1843-451A-9418-F0E0C3DC69E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0248BF5A-3EA4-44A2-85A9-D816B038DD0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343031274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05658C06-E668-41FD-BC8E-10BED683B81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D2F70ACF-A56D-4728-A5F0-F1701EF89A04}"/>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122868482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2F94B-372B-44FF-85CE-284E468B95F6}"/>
              </a:ext>
            </a:extLst>
          </p:cNvPr>
          <p:cNvSpPr>
            <a:spLocks noGrp="1"/>
          </p:cNvSpPr>
          <p:nvPr>
            <p:ph type="title"/>
          </p:nvPr>
        </p:nvSpPr>
        <p:spPr>
          <a:xfrm>
            <a:off x="831850" y="1089251"/>
            <a:ext cx="10565494" cy="2852737"/>
          </a:xfrm>
          <a:prstGeom prst="rect">
            <a:avLst/>
          </a:prstGeom>
        </p:spPr>
        <p:txBody>
          <a:bodyPr anchor="b"/>
          <a:lstStyle>
            <a:lvl1pPr>
              <a:defRPr sz="6000"/>
            </a:lvl1pPr>
          </a:lstStyle>
          <a:p>
            <a:r>
              <a:rPr lang="da-DK"/>
              <a:t>Klik for at redigere titeltypografien i masteren</a:t>
            </a:r>
          </a:p>
        </p:txBody>
      </p:sp>
      <p:sp>
        <p:nvSpPr>
          <p:cNvPr id="3" name="Text Placeholder 2">
            <a:extLst>
              <a:ext uri="{FF2B5EF4-FFF2-40B4-BE49-F238E27FC236}">
                <a16:creationId xmlns:a16="http://schemas.microsoft.com/office/drawing/2014/main" id="{37C17825-7FA2-4B73-BC87-EECC0ED07FE5}"/>
              </a:ext>
            </a:extLst>
          </p:cNvPr>
          <p:cNvSpPr>
            <a:spLocks noGrp="1"/>
          </p:cNvSpPr>
          <p:nvPr>
            <p:ph type="body" idx="1"/>
          </p:nvPr>
        </p:nvSpPr>
        <p:spPr>
          <a:xfrm>
            <a:off x="831850" y="4045176"/>
            <a:ext cx="10565494"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cxnSp>
        <p:nvCxnSpPr>
          <p:cNvPr id="14" name="Straight Connector 13">
            <a:extLst>
              <a:ext uri="{FF2B5EF4-FFF2-40B4-BE49-F238E27FC236}">
                <a16:creationId xmlns:a16="http://schemas.microsoft.com/office/drawing/2014/main" id="{A5B5FD55-0E05-49F6-82D8-C722792197BB}"/>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4D78D4F0-8246-432B-AE2E-DF98A507D1D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5FFD3951-4B8E-457A-AF38-BA4B4322B66D}"/>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75525642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14F577-AB74-4B32-B9FE-A92FDE34CD8C}"/>
              </a:ext>
            </a:extLst>
          </p:cNvPr>
          <p:cNvSpPr>
            <a:spLocks noGrp="1"/>
          </p:cNvSpPr>
          <p:nvPr>
            <p:ph sz="half" idx="1"/>
          </p:nvPr>
        </p:nvSpPr>
        <p:spPr>
          <a:xfrm>
            <a:off x="838201" y="1219200"/>
            <a:ext cx="4931229" cy="479469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Content Placeholder 3">
            <a:extLst>
              <a:ext uri="{FF2B5EF4-FFF2-40B4-BE49-F238E27FC236}">
                <a16:creationId xmlns:a16="http://schemas.microsoft.com/office/drawing/2014/main" id="{2DF8F4A2-3EF1-4703-BAE5-6CE954858890}"/>
              </a:ext>
            </a:extLst>
          </p:cNvPr>
          <p:cNvSpPr>
            <a:spLocks noGrp="1"/>
          </p:cNvSpPr>
          <p:nvPr>
            <p:ph sz="half" idx="2"/>
          </p:nvPr>
        </p:nvSpPr>
        <p:spPr>
          <a:xfrm>
            <a:off x="6466115" y="1219200"/>
            <a:ext cx="4931229" cy="479469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12" name="Straight Connector 11">
            <a:extLst>
              <a:ext uri="{FF2B5EF4-FFF2-40B4-BE49-F238E27FC236}">
                <a16:creationId xmlns:a16="http://schemas.microsoft.com/office/drawing/2014/main" id="{D25423A8-0B2D-41DE-BC82-01AAAD4D7DBE}"/>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AABA8C7C-84AF-4117-A127-4FC88A318BA2}"/>
              </a:ext>
            </a:extLst>
          </p:cNvPr>
          <p:cNvSpPr txBox="1">
            <a:spLocks/>
          </p:cNvSpPr>
          <p:nvPr userDrawn="1"/>
        </p:nvSpPr>
        <p:spPr>
          <a:xfrm>
            <a:off x="764059" y="248496"/>
            <a:ext cx="10633284" cy="6944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91ABE20C-0416-4896-B824-0B67F848B576}"/>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DDD2AEA9-AF89-4ECB-9839-2DB54B767289}"/>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6728010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7" name="Slide Number Placeholder 5">
            <a:extLst>
              <a:ext uri="{FF2B5EF4-FFF2-40B4-BE49-F238E27FC236}">
                <a16:creationId xmlns:a16="http://schemas.microsoft.com/office/drawing/2014/main" id="{74A2011A-AB7A-4D6D-BCAB-42396622677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9" name="Date Placeholder 2">
            <a:extLst>
              <a:ext uri="{FF2B5EF4-FFF2-40B4-BE49-F238E27FC236}">
                <a16:creationId xmlns:a16="http://schemas.microsoft.com/office/drawing/2014/main" id="{CEEF95ED-1387-4C95-AA19-9C1626DE619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35038860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verskrift og bille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400"/>
            </a:lvl1pPr>
          </a:lstStyle>
          <a:p>
            <a:r>
              <a:rPr lang="da-DK"/>
              <a:t>Vælg pladsholderen og indsæt billede via Templafy/Skyfish eller ikon eller logo via Templafy/Billeder</a:t>
            </a:r>
          </a:p>
        </p:txBody>
      </p:sp>
      <p:sp>
        <p:nvSpPr>
          <p:cNvPr id="17" name="Date Placeholder 14">
            <a:extLst>
              <a:ext uri="{FF2B5EF4-FFF2-40B4-BE49-F238E27FC236}">
                <a16:creationId xmlns:a16="http://schemas.microsoft.com/office/drawing/2014/main" id="{360EC57D-D72D-43A3-90BC-3ACC9F8BC95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2-05-2025</a:t>
            </a:fld>
            <a:endParaRPr lang="da-DK"/>
          </a:p>
        </p:txBody>
      </p:sp>
      <p:sp>
        <p:nvSpPr>
          <p:cNvPr id="18" name="Date Placeholder 14">
            <a:extLst>
              <a:ext uri="{FF2B5EF4-FFF2-40B4-BE49-F238E27FC236}">
                <a16:creationId xmlns:a16="http://schemas.microsoft.com/office/drawing/2014/main" id="{36B2A848-B2AD-472A-AC10-0002D162D52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3" name="Footer Placeholder 2">
            <a:extLst>
              <a:ext uri="{FF2B5EF4-FFF2-40B4-BE49-F238E27FC236}">
                <a16:creationId xmlns:a16="http://schemas.microsoft.com/office/drawing/2014/main" id="{2920C039-324F-433E-90A2-B9FAD2872EC2}"/>
              </a:ext>
            </a:extLst>
          </p:cNvPr>
          <p:cNvSpPr>
            <a:spLocks noGrp="1"/>
          </p:cNvSpPr>
          <p:nvPr>
            <p:ph type="ftr" sz="quarter" idx="15"/>
          </p:nvPr>
        </p:nvSpPr>
        <p:spPr/>
        <p:txBody>
          <a:bodyPr/>
          <a:lstStyle/>
          <a:p>
            <a:endParaRPr lang="da-DK"/>
          </a:p>
        </p:txBody>
      </p:sp>
      <p:sp>
        <p:nvSpPr>
          <p:cNvPr id="4" name="Slide Number Placeholder 3">
            <a:extLst>
              <a:ext uri="{FF2B5EF4-FFF2-40B4-BE49-F238E27FC236}">
                <a16:creationId xmlns:a16="http://schemas.microsoft.com/office/drawing/2014/main" id="{417D6F82-73FC-4F13-BFEC-9200E77E1527}"/>
              </a:ext>
            </a:extLst>
          </p:cNvPr>
          <p:cNvSpPr>
            <a:spLocks noGrp="1"/>
          </p:cNvSpPr>
          <p:nvPr>
            <p:ph type="sldNum" sz="quarter" idx="16"/>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2963157051"/>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2519537-D7FE-4352-8267-4691F584EC0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37175440-D7DA-48D2-9FC9-CE4D7225957B}"/>
              </a:ext>
            </a:extLst>
          </p:cNvPr>
          <p:cNvSpPr>
            <a:spLocks noGrp="1"/>
          </p:cNvSpPr>
          <p:nvPr>
            <p:ph type="title"/>
          </p:nvPr>
        </p:nvSpPr>
        <p:spPr>
          <a:xfrm>
            <a:off x="764058" y="248496"/>
            <a:ext cx="10633285"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7" name="Slide Number Placeholder 5">
            <a:extLst>
              <a:ext uri="{FF2B5EF4-FFF2-40B4-BE49-F238E27FC236}">
                <a16:creationId xmlns:a16="http://schemas.microsoft.com/office/drawing/2014/main" id="{9EF8FF89-C031-404F-A69A-F265A665D5A3}"/>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C52E4480-EDC2-4C02-8A47-AD6173F2043E}"/>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187341753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6B3A-3DAB-4961-8328-45F435A6CB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da-DK"/>
              <a:t>Klik for at redigere titeltypografien i masteren</a:t>
            </a:r>
          </a:p>
        </p:txBody>
      </p:sp>
      <p:sp>
        <p:nvSpPr>
          <p:cNvPr id="3" name="Content Placeholder 2">
            <a:extLst>
              <a:ext uri="{FF2B5EF4-FFF2-40B4-BE49-F238E27FC236}">
                <a16:creationId xmlns:a16="http://schemas.microsoft.com/office/drawing/2014/main" id="{439C56CF-41E9-4178-A748-B254988BA39A}"/>
              </a:ext>
            </a:extLst>
          </p:cNvPr>
          <p:cNvSpPr>
            <a:spLocks noGrp="1"/>
          </p:cNvSpPr>
          <p:nvPr>
            <p:ph idx="1"/>
          </p:nvPr>
        </p:nvSpPr>
        <p:spPr>
          <a:xfrm>
            <a:off x="5183188" y="987425"/>
            <a:ext cx="6214156"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Text Placeholder 3">
            <a:extLst>
              <a:ext uri="{FF2B5EF4-FFF2-40B4-BE49-F238E27FC236}">
                <a16:creationId xmlns:a16="http://schemas.microsoft.com/office/drawing/2014/main" id="{817FBD2E-7C5B-4900-A7A6-470F504C1D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cxnSp>
        <p:nvCxnSpPr>
          <p:cNvPr id="10" name="Straight Connector 9">
            <a:extLst>
              <a:ext uri="{FF2B5EF4-FFF2-40B4-BE49-F238E27FC236}">
                <a16:creationId xmlns:a16="http://schemas.microsoft.com/office/drawing/2014/main" id="{F4F248CA-28F5-4EF0-AC29-D8C0D431219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B074A1A1-8396-45AD-8519-9892BB82D02F}"/>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1" name="Date Placeholder 2">
            <a:extLst>
              <a:ext uri="{FF2B5EF4-FFF2-40B4-BE49-F238E27FC236}">
                <a16:creationId xmlns:a16="http://schemas.microsoft.com/office/drawing/2014/main" id="{05F6E847-EF2D-4AE6-AD34-50A73E56962B}"/>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103595338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8C621-0B97-4C7C-B6C0-830F755612E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da-DK"/>
              <a:t>Klik for at redigere titeltypografien i masteren</a:t>
            </a:r>
          </a:p>
        </p:txBody>
      </p:sp>
      <p:sp>
        <p:nvSpPr>
          <p:cNvPr id="3" name="Picture Placeholder 2">
            <a:extLst>
              <a:ext uri="{FF2B5EF4-FFF2-40B4-BE49-F238E27FC236}">
                <a16:creationId xmlns:a16="http://schemas.microsoft.com/office/drawing/2014/main" id="{46BE7B75-9BF4-4401-B191-BB3908E1EBE2}"/>
              </a:ext>
            </a:extLst>
          </p:cNvPr>
          <p:cNvSpPr>
            <a:spLocks noGrp="1"/>
          </p:cNvSpPr>
          <p:nvPr>
            <p:ph type="pic" idx="1"/>
          </p:nvPr>
        </p:nvSpPr>
        <p:spPr>
          <a:xfrm>
            <a:off x="5183188" y="987425"/>
            <a:ext cx="6214156"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p>
        </p:txBody>
      </p:sp>
      <p:sp>
        <p:nvSpPr>
          <p:cNvPr id="4" name="Text Placeholder 3">
            <a:extLst>
              <a:ext uri="{FF2B5EF4-FFF2-40B4-BE49-F238E27FC236}">
                <a16:creationId xmlns:a16="http://schemas.microsoft.com/office/drawing/2014/main" id="{00233DD2-FA4D-47F9-8892-625CA25DF5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cxnSp>
        <p:nvCxnSpPr>
          <p:cNvPr id="10" name="Straight Connector 9">
            <a:extLst>
              <a:ext uri="{FF2B5EF4-FFF2-40B4-BE49-F238E27FC236}">
                <a16:creationId xmlns:a16="http://schemas.microsoft.com/office/drawing/2014/main" id="{EFE0AF08-08E3-45E3-9742-C8B6E2926BB4}"/>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A7C20CAB-C827-4D9D-89DA-EAD5E03067D0}"/>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1" name="Date Placeholder 2">
            <a:extLst>
              <a:ext uri="{FF2B5EF4-FFF2-40B4-BE49-F238E27FC236}">
                <a16:creationId xmlns:a16="http://schemas.microsoft.com/office/drawing/2014/main" id="{FEE037F5-F845-4A59-BC5A-B8D3EB4A5DBD}"/>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297171537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el og lodret teks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ED3B1CA5-2BDE-4BB5-BBA0-411DD54C830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9" name="Straight Connector 8">
            <a:extLst>
              <a:ext uri="{FF2B5EF4-FFF2-40B4-BE49-F238E27FC236}">
                <a16:creationId xmlns:a16="http://schemas.microsoft.com/office/drawing/2014/main" id="{88905425-0F8F-42E7-9785-D1DE2BD25732}"/>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B402CF81-21B2-4C69-99B5-B2D2CE00F43F}"/>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8" name="Slide Number Placeholder 5">
            <a:extLst>
              <a:ext uri="{FF2B5EF4-FFF2-40B4-BE49-F238E27FC236}">
                <a16:creationId xmlns:a16="http://schemas.microsoft.com/office/drawing/2014/main" id="{0CAEEB8D-63C0-4BD3-953D-EB1951D55AA9}"/>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FC9D9886-C887-4D2E-882D-C8DA2BAAE279}"/>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199059495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FFFE99-DDD3-44D9-A560-AD74CB3A9BAF}"/>
              </a:ext>
            </a:extLst>
          </p:cNvPr>
          <p:cNvSpPr>
            <a:spLocks noGrp="1"/>
          </p:cNvSpPr>
          <p:nvPr>
            <p:ph type="title" orient="vert"/>
          </p:nvPr>
        </p:nvSpPr>
        <p:spPr>
          <a:xfrm>
            <a:off x="8904515" y="365125"/>
            <a:ext cx="2492829" cy="5648766"/>
          </a:xfrm>
          <a:prstGeom prst="rect">
            <a:avLst/>
          </a:prstGeom>
        </p:spPr>
        <p:txBody>
          <a:bodyPr vert="eaVert"/>
          <a:lstStyle/>
          <a:p>
            <a:r>
              <a:rPr lang="da-DK"/>
              <a:t>Klik for at redigere titeltypografien i masteren</a:t>
            </a:r>
          </a:p>
        </p:txBody>
      </p:sp>
      <p:sp>
        <p:nvSpPr>
          <p:cNvPr id="3" name="Vertical Text Placeholder 2">
            <a:extLst>
              <a:ext uri="{FF2B5EF4-FFF2-40B4-BE49-F238E27FC236}">
                <a16:creationId xmlns:a16="http://schemas.microsoft.com/office/drawing/2014/main" id="{1B66AEED-6426-46ED-A5C0-2ED3B3105DF7}"/>
              </a:ext>
            </a:extLst>
          </p:cNvPr>
          <p:cNvSpPr>
            <a:spLocks noGrp="1"/>
          </p:cNvSpPr>
          <p:nvPr>
            <p:ph type="body" orient="vert" idx="1"/>
          </p:nvPr>
        </p:nvSpPr>
        <p:spPr>
          <a:xfrm>
            <a:off x="764060" y="365125"/>
            <a:ext cx="7900970" cy="5648766"/>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9" name="Straight Connector 8">
            <a:extLst>
              <a:ext uri="{FF2B5EF4-FFF2-40B4-BE49-F238E27FC236}">
                <a16:creationId xmlns:a16="http://schemas.microsoft.com/office/drawing/2014/main" id="{DF473211-8EE3-4C93-9983-0F126719DF94}"/>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99058BE5-B828-449D-9426-FEBF833BF12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54DC5E31-E833-4DD4-97C6-EE22EA26A52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314750986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7D645976-D738-4A9C-AFF5-7C4855F7030B}"/>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5DA2D0FD-D62A-492E-B8A9-6B72B5866822}"/>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83969515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14F577-AB74-4B32-B9FE-A92FDE34CD8C}"/>
              </a:ext>
            </a:extLst>
          </p:cNvPr>
          <p:cNvSpPr>
            <a:spLocks noGrp="1"/>
          </p:cNvSpPr>
          <p:nvPr>
            <p:ph sz="half" idx="1"/>
          </p:nvPr>
        </p:nvSpPr>
        <p:spPr>
          <a:xfrm>
            <a:off x="838201" y="1219200"/>
            <a:ext cx="4931229" cy="479469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Content Placeholder 3">
            <a:extLst>
              <a:ext uri="{FF2B5EF4-FFF2-40B4-BE49-F238E27FC236}">
                <a16:creationId xmlns:a16="http://schemas.microsoft.com/office/drawing/2014/main" id="{2DF8F4A2-3EF1-4703-BAE5-6CE954858890}"/>
              </a:ext>
            </a:extLst>
          </p:cNvPr>
          <p:cNvSpPr>
            <a:spLocks noGrp="1"/>
          </p:cNvSpPr>
          <p:nvPr>
            <p:ph sz="half" idx="2"/>
          </p:nvPr>
        </p:nvSpPr>
        <p:spPr>
          <a:xfrm>
            <a:off x="6466115" y="1219200"/>
            <a:ext cx="4931229" cy="479469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12" name="Straight Connector 11">
            <a:extLst>
              <a:ext uri="{FF2B5EF4-FFF2-40B4-BE49-F238E27FC236}">
                <a16:creationId xmlns:a16="http://schemas.microsoft.com/office/drawing/2014/main" id="{D25423A8-0B2D-41DE-BC82-01AAAD4D7DBE}"/>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AABA8C7C-84AF-4117-A127-4FC88A318BA2}"/>
              </a:ext>
            </a:extLst>
          </p:cNvPr>
          <p:cNvSpPr txBox="1">
            <a:spLocks/>
          </p:cNvSpPr>
          <p:nvPr userDrawn="1"/>
        </p:nvSpPr>
        <p:spPr>
          <a:xfrm>
            <a:off x="764059" y="248496"/>
            <a:ext cx="10633284" cy="6944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F9D1606C-BA04-4D3A-BAFF-E0C25CF9826A}"/>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FFABB0F3-1BAC-4448-9DFB-1368B9A3843E}"/>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415474465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7" name="Slide Number Placeholder 5">
            <a:extLst>
              <a:ext uri="{FF2B5EF4-FFF2-40B4-BE49-F238E27FC236}">
                <a16:creationId xmlns:a16="http://schemas.microsoft.com/office/drawing/2014/main" id="{4CFFA4C1-CA99-4FA5-A71B-F2B578C7C7DC}"/>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9" name="Date Placeholder 2">
            <a:extLst>
              <a:ext uri="{FF2B5EF4-FFF2-40B4-BE49-F238E27FC236}">
                <a16:creationId xmlns:a16="http://schemas.microsoft.com/office/drawing/2014/main" id="{E5E4B20D-78C3-4B72-A9C4-520915C8FF3E}"/>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426807027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2519537-D7FE-4352-8267-4691F584EC0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37175440-D7DA-48D2-9FC9-CE4D7225957B}"/>
              </a:ext>
            </a:extLst>
          </p:cNvPr>
          <p:cNvSpPr>
            <a:spLocks noGrp="1"/>
          </p:cNvSpPr>
          <p:nvPr>
            <p:ph type="title"/>
          </p:nvPr>
        </p:nvSpPr>
        <p:spPr>
          <a:xfrm>
            <a:off x="764058" y="248496"/>
            <a:ext cx="10633285"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7" name="Slide Number Placeholder 5">
            <a:extLst>
              <a:ext uri="{FF2B5EF4-FFF2-40B4-BE49-F238E27FC236}">
                <a16:creationId xmlns:a16="http://schemas.microsoft.com/office/drawing/2014/main" id="{CA3EBB37-854C-4911-9771-10C10A54138D}"/>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C0CBC1D3-FCB2-44FC-BE4D-0FB505EB94F2}"/>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341720543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ED3B1CA5-2BDE-4BB5-BBA0-411DD54C830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9" name="Straight Connector 8">
            <a:extLst>
              <a:ext uri="{FF2B5EF4-FFF2-40B4-BE49-F238E27FC236}">
                <a16:creationId xmlns:a16="http://schemas.microsoft.com/office/drawing/2014/main" id="{88905425-0F8F-42E7-9785-D1DE2BD25732}"/>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B402CF81-21B2-4C69-99B5-B2D2CE00F43F}"/>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8" name="Slide Number Placeholder 5">
            <a:extLst>
              <a:ext uri="{FF2B5EF4-FFF2-40B4-BE49-F238E27FC236}">
                <a16:creationId xmlns:a16="http://schemas.microsoft.com/office/drawing/2014/main" id="{D4E92CEF-CD07-4B6F-AB03-84B0EA80A493}"/>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6030B449-287A-456D-ACD0-FDF0A212E0A8}"/>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14310138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re ikoner">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FA71C01-3350-42F9-9392-0F3379095A93}"/>
              </a:ext>
            </a:extLst>
          </p:cNvPr>
          <p:cNvSpPr>
            <a:spLocks noGrp="1"/>
          </p:cNvSpPr>
          <p:nvPr>
            <p:ph sz="quarter" idx="13" hasCustomPrompt="1"/>
          </p:nvPr>
        </p:nvSpPr>
        <p:spPr>
          <a:xfrm>
            <a:off x="2932902" y="1700213"/>
            <a:ext cx="936000" cy="936000"/>
          </a:xfrm>
        </p:spPr>
        <p:txBody>
          <a:bodyPr wrap="none"/>
          <a:lstStyle>
            <a:lvl1pPr marL="0" indent="0">
              <a:buNone/>
              <a:defRPr sz="1000"/>
            </a:lvl1pPr>
          </a:lstStyle>
          <a:p>
            <a:pPr lvl="0"/>
            <a:r>
              <a:rPr lang="da-DK"/>
              <a:t>Indsæt logo: Vælg pladsholderen, indsæt logo via Templafy/Billeder</a:t>
            </a:r>
          </a:p>
        </p:txBody>
      </p:sp>
      <p:sp>
        <p:nvSpPr>
          <p:cNvPr id="11" name="Text Placeholder 10">
            <a:extLst>
              <a:ext uri="{FF2B5EF4-FFF2-40B4-BE49-F238E27FC236}">
                <a16:creationId xmlns:a16="http://schemas.microsoft.com/office/drawing/2014/main" id="{C0A09C85-3CCC-44AB-A808-AA96845B1281}"/>
              </a:ext>
            </a:extLst>
          </p:cNvPr>
          <p:cNvSpPr>
            <a:spLocks noGrp="1"/>
          </p:cNvSpPr>
          <p:nvPr>
            <p:ph type="body" sz="quarter" idx="14" hasCustomPrompt="1"/>
          </p:nvPr>
        </p:nvSpPr>
        <p:spPr>
          <a:xfrm>
            <a:off x="2932902" y="2733129"/>
            <a:ext cx="3564000" cy="756000"/>
          </a:xfrm>
        </p:spPr>
        <p:txBody>
          <a:bodyPr/>
          <a:lstStyle>
            <a:lvl1pPr marL="0" indent="0">
              <a:buFont typeface="Arial" panose="020B0604020202020204" pitchFamily="34" charset="0"/>
              <a:buChar char="​"/>
              <a:defRPr sz="21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13" name="Content Placeholder 12">
            <a:extLst>
              <a:ext uri="{FF2B5EF4-FFF2-40B4-BE49-F238E27FC236}">
                <a16:creationId xmlns:a16="http://schemas.microsoft.com/office/drawing/2014/main" id="{3F35B7FD-E0E2-4581-BAC7-8858E530AFEA}"/>
              </a:ext>
            </a:extLst>
          </p:cNvPr>
          <p:cNvSpPr>
            <a:spLocks noGrp="1"/>
          </p:cNvSpPr>
          <p:nvPr>
            <p:ph sz="quarter" idx="15" hasCustomPrompt="1"/>
          </p:nvPr>
        </p:nvSpPr>
        <p:spPr>
          <a:xfrm>
            <a:off x="2934000"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15" name="Text Placeholder 14">
            <a:extLst>
              <a:ext uri="{FF2B5EF4-FFF2-40B4-BE49-F238E27FC236}">
                <a16:creationId xmlns:a16="http://schemas.microsoft.com/office/drawing/2014/main" id="{52C92166-E723-47D5-9A87-3354EB28C43E}"/>
              </a:ext>
            </a:extLst>
          </p:cNvPr>
          <p:cNvSpPr>
            <a:spLocks noGrp="1"/>
          </p:cNvSpPr>
          <p:nvPr>
            <p:ph type="body" sz="quarter" idx="16" hasCustomPrompt="1"/>
          </p:nvPr>
        </p:nvSpPr>
        <p:spPr>
          <a:xfrm>
            <a:off x="2932112" y="5093240"/>
            <a:ext cx="3564000" cy="756000"/>
          </a:xfrm>
        </p:spPr>
        <p:txBody>
          <a:bodyPr/>
          <a:lstStyle>
            <a:lvl1pPr marL="0" indent="0">
              <a:buFont typeface="Arial" panose="020B0604020202020204" pitchFamily="34" charset="0"/>
              <a:buChar char="​"/>
              <a:defRPr sz="2000" b="1"/>
            </a:lvl1pPr>
            <a:lvl2pPr marL="252000">
              <a:defRPr/>
            </a:lvl2pPr>
            <a:lvl3pPr marL="252000" indent="0">
              <a:buNone/>
              <a:defRPr/>
            </a:lvl3pPr>
          </a:lstStyle>
          <a:p>
            <a:pPr lvl="0"/>
            <a:r>
              <a:rPr lang="da-DK"/>
              <a:t>Klik for at tilføje overskrift</a:t>
            </a:r>
          </a:p>
          <a:p>
            <a:pPr lvl="1"/>
            <a:r>
              <a:rPr lang="da-DK"/>
              <a:t>Second level</a:t>
            </a:r>
          </a:p>
        </p:txBody>
      </p:sp>
      <p:sp>
        <p:nvSpPr>
          <p:cNvPr id="17" name="Content Placeholder 16">
            <a:extLst>
              <a:ext uri="{FF2B5EF4-FFF2-40B4-BE49-F238E27FC236}">
                <a16:creationId xmlns:a16="http://schemas.microsoft.com/office/drawing/2014/main" id="{AE23DA26-37CC-4CA7-8253-FD9AB459D2EF}"/>
              </a:ext>
            </a:extLst>
          </p:cNvPr>
          <p:cNvSpPr>
            <a:spLocks noGrp="1"/>
          </p:cNvSpPr>
          <p:nvPr>
            <p:ph sz="quarter" idx="17" hasCustomPrompt="1"/>
          </p:nvPr>
        </p:nvSpPr>
        <p:spPr>
          <a:xfrm>
            <a:off x="7474740" y="1700213"/>
            <a:ext cx="936000" cy="936000"/>
          </a:xfrm>
        </p:spPr>
        <p:txBody>
          <a:bodyPr wrap="none"/>
          <a:lstStyle>
            <a:lvl1pPr marL="0" indent="0">
              <a:buNone/>
              <a:defRPr sz="1000"/>
            </a:lvl1pPr>
            <a:lvl2pPr marL="252000" indent="0">
              <a:buNone/>
              <a:defRPr sz="1000"/>
            </a:lvl2pPr>
          </a:lstStyle>
          <a:p>
            <a:pPr lvl="0"/>
            <a:r>
              <a:rPr lang="da-DK"/>
              <a:t>Indsæt logo: Vælg pladsholderen, indsæt logo via Templafy/Billeder</a:t>
            </a:r>
          </a:p>
        </p:txBody>
      </p:sp>
      <p:sp>
        <p:nvSpPr>
          <p:cNvPr id="19" name="Text Placeholder 18">
            <a:extLst>
              <a:ext uri="{FF2B5EF4-FFF2-40B4-BE49-F238E27FC236}">
                <a16:creationId xmlns:a16="http://schemas.microsoft.com/office/drawing/2014/main" id="{62682726-03AB-4490-8664-993881FA0BB1}"/>
              </a:ext>
            </a:extLst>
          </p:cNvPr>
          <p:cNvSpPr>
            <a:spLocks noGrp="1"/>
          </p:cNvSpPr>
          <p:nvPr>
            <p:ph type="body" sz="quarter" idx="18" hasCustomPrompt="1"/>
          </p:nvPr>
        </p:nvSpPr>
        <p:spPr>
          <a:xfrm>
            <a:off x="7459663" y="273240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21" name="Content Placeholder 20">
            <a:extLst>
              <a:ext uri="{FF2B5EF4-FFF2-40B4-BE49-F238E27FC236}">
                <a16:creationId xmlns:a16="http://schemas.microsoft.com/office/drawing/2014/main" id="{762625AB-198B-4F37-9382-C78FD9118D5A}"/>
              </a:ext>
            </a:extLst>
          </p:cNvPr>
          <p:cNvSpPr>
            <a:spLocks noGrp="1"/>
          </p:cNvSpPr>
          <p:nvPr>
            <p:ph sz="quarter" idx="19" hasCustomPrompt="1"/>
          </p:nvPr>
        </p:nvSpPr>
        <p:spPr>
          <a:xfrm>
            <a:off x="7459663"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23" name="Text Placeholder 22">
            <a:extLst>
              <a:ext uri="{FF2B5EF4-FFF2-40B4-BE49-F238E27FC236}">
                <a16:creationId xmlns:a16="http://schemas.microsoft.com/office/drawing/2014/main" id="{D8AE7F93-F2C6-4199-8D16-CFB4D977F63E}"/>
              </a:ext>
            </a:extLst>
          </p:cNvPr>
          <p:cNvSpPr>
            <a:spLocks noGrp="1"/>
          </p:cNvSpPr>
          <p:nvPr>
            <p:ph type="body" sz="quarter" idx="20" hasCustomPrompt="1"/>
          </p:nvPr>
        </p:nvSpPr>
        <p:spPr>
          <a:xfrm>
            <a:off x="7473948" y="509324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p:txBody>
      </p:sp>
      <p:sp>
        <p:nvSpPr>
          <p:cNvPr id="3" name="Footer Placeholder 2">
            <a:extLst>
              <a:ext uri="{FF2B5EF4-FFF2-40B4-BE49-F238E27FC236}">
                <a16:creationId xmlns:a16="http://schemas.microsoft.com/office/drawing/2014/main" id="{0C4D261F-AFF9-422D-9FB3-5AE92F19507E}"/>
              </a:ext>
            </a:extLst>
          </p:cNvPr>
          <p:cNvSpPr>
            <a:spLocks noGrp="1"/>
          </p:cNvSpPr>
          <p:nvPr>
            <p:ph type="ftr" sz="quarter" idx="10"/>
          </p:nvPr>
        </p:nvSpPr>
        <p:spPr/>
        <p:txBody>
          <a:bodyPr/>
          <a:lstStyle/>
          <a:p>
            <a:endParaRPr lang="da-DK"/>
          </a:p>
        </p:txBody>
      </p:sp>
      <p:sp>
        <p:nvSpPr>
          <p:cNvPr id="4" name="Date Placeholder 3">
            <a:extLst>
              <a:ext uri="{FF2B5EF4-FFF2-40B4-BE49-F238E27FC236}">
                <a16:creationId xmlns:a16="http://schemas.microsoft.com/office/drawing/2014/main" id="{21133E6A-A4F4-491B-846E-1DACC83D9BB7}"/>
              </a:ext>
            </a:extLst>
          </p:cNvPr>
          <p:cNvSpPr>
            <a:spLocks noGrp="1"/>
          </p:cNvSpPr>
          <p:nvPr>
            <p:ph type="dt" sz="half" idx="11"/>
          </p:nvPr>
        </p:nvSpPr>
        <p:spPr/>
        <p:txBody>
          <a:bodyPr/>
          <a:lstStyle/>
          <a:p>
            <a:fld id="{F1A13B18-F5ED-4611-8DBB-F05123AFBA22}" type="datetimeFigureOut">
              <a:rPr lang="da-DK" smtClean="0"/>
              <a:pPr/>
              <a:t>02-05-2025</a:t>
            </a:fld>
            <a:endParaRPr lang="da-DK"/>
          </a:p>
        </p:txBody>
      </p:sp>
      <p:sp>
        <p:nvSpPr>
          <p:cNvPr id="5" name="Slide Number Placeholder 4">
            <a:extLst>
              <a:ext uri="{FF2B5EF4-FFF2-40B4-BE49-F238E27FC236}">
                <a16:creationId xmlns:a16="http://schemas.microsoft.com/office/drawing/2014/main" id="{6C38E8B2-EC82-4BE1-85C6-8F272596913A}"/>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96376520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1_Kun ti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5D3E055-40BF-48B3-B8C1-EC9B8DBA2790}"/>
              </a:ext>
            </a:extLst>
          </p:cNvPr>
          <p:cNvGraphicFramePr>
            <a:graphicFrameLocks noChangeAspect="1"/>
          </p:cNvGraphicFramePr>
          <p:nvPr userDrawn="1">
            <p:custDataLst>
              <p:tags r:id="rId1"/>
            </p:custDataLst>
            <p:extLst>
              <p:ext uri="{D42A27DB-BD31-4B8C-83A1-F6EECF244321}">
                <p14:modId xmlns:p14="http://schemas.microsoft.com/office/powerpoint/2010/main" val="2581934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2" progId="TCLayout.ActiveDocument.1">
                  <p:embed/>
                </p:oleObj>
              </mc:Choice>
              <mc:Fallback>
                <p:oleObj name="think-cell Slide" r:id="rId3" imgW="411" imgH="412" progId="TCLayout.ActiveDocument.1">
                  <p:embed/>
                  <p:pic>
                    <p:nvPicPr>
                      <p:cNvPr id="4" name="Object 3" hidden="1">
                        <a:extLst>
                          <a:ext uri="{FF2B5EF4-FFF2-40B4-BE49-F238E27FC236}">
                            <a16:creationId xmlns:a16="http://schemas.microsoft.com/office/drawing/2014/main" id="{D5D3E055-40BF-48B3-B8C1-EC9B8DBA27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04686B77-7F7A-487B-9C03-EF8005BF1087}"/>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E38228DE-5C82-4F5E-A806-FEFDDA9CDAC0}"/>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8" name="Slide Number Placeholder 5">
            <a:extLst>
              <a:ext uri="{FF2B5EF4-FFF2-40B4-BE49-F238E27FC236}">
                <a16:creationId xmlns:a16="http://schemas.microsoft.com/office/drawing/2014/main" id="{231BDB71-E03E-471F-84F4-20FE22BB04F9}"/>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AB7E9653-8A75-4014-BB69-2E38E02395EF}"/>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1028390373"/>
      </p:ext>
    </p:extLst>
  </p:cSld>
  <p:clrMapOvr>
    <a:masterClrMapping/>
  </p:clrMapOvr>
  <p:extLst>
    <p:ext uri="{DCECCB84-F9BA-43D5-87BE-67443E8EF086}">
      <p15:sldGuideLst xmlns:p15="http://schemas.microsoft.com/office/powerpoint/2012/main">
        <p15:guide id="1" pos="1117">
          <p15:clr>
            <a:srgbClr val="F26B43"/>
          </p15:clr>
        </p15:guide>
        <p15:guide id="2" pos="6984">
          <p15:clr>
            <a:srgbClr val="F26B43"/>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Hvid for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tx1"/>
                </a:solidFill>
              </a:defRPr>
            </a:lvl1pPr>
          </a:lstStyle>
          <a:p>
            <a:r>
              <a:rPr lang="da-DK"/>
              <a:t>Klik for at tilføje overskrift</a:t>
            </a:r>
          </a:p>
        </p:txBody>
      </p:sp>
      <p:sp>
        <p:nvSpPr>
          <p:cNvPr id="13" name="Date Placeholder 14">
            <a:extLst>
              <a:ext uri="{FF2B5EF4-FFF2-40B4-BE49-F238E27FC236}">
                <a16:creationId xmlns:a16="http://schemas.microsoft.com/office/drawing/2014/main" id="{5161ABAB-6DB4-433A-ACC8-A0EC0AACAD0C}"/>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4" name="Date Placeholder 14">
            <a:extLst>
              <a:ext uri="{FF2B5EF4-FFF2-40B4-BE49-F238E27FC236}">
                <a16:creationId xmlns:a16="http://schemas.microsoft.com/office/drawing/2014/main" id="{BC3A8B03-9EA5-416E-BD54-B87E6C4A6781}"/>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Tree>
    <p:extLst>
      <p:ext uri="{BB962C8B-B14F-4D97-AF65-F5344CB8AC3E}">
        <p14:creationId xmlns:p14="http://schemas.microsoft.com/office/powerpoint/2010/main" val="354731639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Overskrift og indhold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10962000" cy="671967"/>
          </a:xfrm>
        </p:spPr>
        <p:txBody>
          <a:bodyPr/>
          <a:lstStyle>
            <a:lvl1pPr>
              <a:defRPr/>
            </a:lvl1pPr>
          </a:lstStyle>
          <a:p>
            <a:r>
              <a:rPr lang="da-DK"/>
              <a:t>Klik for at tilføje overskrift</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411163" y="1989138"/>
            <a:ext cx="10961237" cy="38644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339089217"/>
      </p:ext>
    </p:extLst>
  </p:cSld>
  <p:clrMapOvr>
    <a:masterClrMapping/>
  </p:clrMapOvr>
  <p:extLst>
    <p:ext uri="{DCECCB84-F9BA-43D5-87BE-67443E8EF086}">
      <p15:sldGuideLst xmlns:p15="http://schemas.microsoft.com/office/powerpoint/2012/main">
        <p15:guide id="1" orient="horz" pos="640">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7" name="Slide Number Placeholder 5">
            <a:extLst>
              <a:ext uri="{FF2B5EF4-FFF2-40B4-BE49-F238E27FC236}">
                <a16:creationId xmlns:a16="http://schemas.microsoft.com/office/drawing/2014/main" id="{74A2011A-AB7A-4D6D-BCAB-42396622677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9" name="Date Placeholder 2">
            <a:extLst>
              <a:ext uri="{FF2B5EF4-FFF2-40B4-BE49-F238E27FC236}">
                <a16:creationId xmlns:a16="http://schemas.microsoft.com/office/drawing/2014/main" id="{CEEF95ED-1387-4C95-AA19-9C1626DE619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47093259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verskrift og log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6F8A6A9-890A-4EA2-8FA4-EA834B1A12F4}"/>
              </a:ext>
            </a:extLst>
          </p:cNvPr>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1" name="Date Placeholder 14">
            <a:extLst>
              <a:ext uri="{FF2B5EF4-FFF2-40B4-BE49-F238E27FC236}">
                <a16:creationId xmlns:a16="http://schemas.microsoft.com/office/drawing/2014/main" id="{705F52FC-7E26-46C0-8E8B-4445D500B9C7}"/>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7" name="Date Placeholder 6">
            <a:extLst>
              <a:ext uri="{FF2B5EF4-FFF2-40B4-BE49-F238E27FC236}">
                <a16:creationId xmlns:a16="http://schemas.microsoft.com/office/drawing/2014/main" id="{D01B1D99-4B52-4731-AEC4-C722464A7D1B}"/>
              </a:ext>
            </a:extLst>
          </p:cNvPr>
          <p:cNvSpPr>
            <a:spLocks noGrp="1"/>
          </p:cNvSpPr>
          <p:nvPr>
            <p:ph type="dt" sz="half" idx="10"/>
          </p:nvPr>
        </p:nvSpPr>
        <p:spPr/>
        <p:txBody>
          <a:bodyPr/>
          <a:lstStyle/>
          <a:p>
            <a:fld id="{F1A13B18-F5ED-4611-8DBB-F05123AFBA22}" type="datetimeFigureOut">
              <a:rPr lang="da-DK" smtClean="0"/>
              <a:pPr/>
              <a:t>02-05-2025</a:t>
            </a:fld>
            <a:endParaRPr lang="da-DK"/>
          </a:p>
        </p:txBody>
      </p:sp>
      <p:sp>
        <p:nvSpPr>
          <p:cNvPr id="9" name="Footer Placeholder 8">
            <a:extLst>
              <a:ext uri="{FF2B5EF4-FFF2-40B4-BE49-F238E27FC236}">
                <a16:creationId xmlns:a16="http://schemas.microsoft.com/office/drawing/2014/main" id="{F5FCEDFC-AE26-4F9F-9153-1837190678EF}"/>
              </a:ext>
            </a:extLst>
          </p:cNvPr>
          <p:cNvSpPr>
            <a:spLocks noGrp="1"/>
          </p:cNvSpPr>
          <p:nvPr>
            <p:ph type="ftr" sz="quarter" idx="11"/>
          </p:nvPr>
        </p:nvSpPr>
        <p:spPr/>
        <p:txBody>
          <a:bodyPr/>
          <a:lstStyle/>
          <a:p>
            <a:endParaRPr lang="da-DK"/>
          </a:p>
        </p:txBody>
      </p:sp>
      <p:sp>
        <p:nvSpPr>
          <p:cNvPr id="12" name="Slide Number Placeholder 11">
            <a:extLst>
              <a:ext uri="{FF2B5EF4-FFF2-40B4-BE49-F238E27FC236}">
                <a16:creationId xmlns:a16="http://schemas.microsoft.com/office/drawing/2014/main" id="{4B452C39-88DE-4155-8ED8-643714B1A9FE}"/>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0388789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o indholdsobjekter">
    <p:bg>
      <p:bgPr>
        <a:solidFill>
          <a:schemeClr val="tx1">
            <a:lumMod val="95000"/>
          </a:schemeClr>
        </a:solidFill>
        <a:effectLst/>
      </p:bgPr>
    </p:bg>
    <p:spTree>
      <p:nvGrpSpPr>
        <p:cNvPr id="1" name=""/>
        <p:cNvGrpSpPr/>
        <p:nvPr/>
      </p:nvGrpSpPr>
      <p:grpSpPr>
        <a:xfrm>
          <a:off x="0" y="0"/>
          <a:ext cx="0" cy="0"/>
          <a:chOff x="0" y="0"/>
          <a:chExt cx="0" cy="0"/>
        </a:xfrm>
      </p:grpSpPr>
      <p:sp>
        <p:nvSpPr>
          <p:cNvPr id="8" name="Pladsholder til tekst 1">
            <a:extLst>
              <a:ext uri="{FF2B5EF4-FFF2-40B4-BE49-F238E27FC236}">
                <a16:creationId xmlns:a16="http://schemas.microsoft.com/office/drawing/2014/main" id="{F6BEDF15-6186-47CE-A9E7-621E7E54D759}"/>
              </a:ext>
            </a:extLst>
          </p:cNvPr>
          <p:cNvSpPr>
            <a:spLocks noGrp="1"/>
          </p:cNvSpPr>
          <p:nvPr>
            <p:ph type="body" sz="quarter" idx="4294967295"/>
          </p:nvPr>
        </p:nvSpPr>
        <p:spPr>
          <a:xfrm>
            <a:off x="730250" y="1876425"/>
            <a:ext cx="7092950" cy="4038600"/>
          </a:xfrm>
        </p:spPr>
        <p:txBody>
          <a:bodyPr/>
          <a:lstStyle>
            <a:lvl1pPr>
              <a:defRPr>
                <a:solidFill>
                  <a:schemeClr val="tx2">
                    <a:lumMod val="50000"/>
                  </a:schemeClr>
                </a:solidFill>
              </a:defRPr>
            </a:lvl1pPr>
          </a:lstStyle>
          <a:p>
            <a:pPr lvl="0"/>
            <a:r>
              <a:rPr lang="da-DK"/>
              <a:t>Rediger typografien i masterens</a:t>
            </a:r>
          </a:p>
        </p:txBody>
      </p:sp>
      <p:sp>
        <p:nvSpPr>
          <p:cNvPr id="9" name="Titel 5">
            <a:extLst>
              <a:ext uri="{FF2B5EF4-FFF2-40B4-BE49-F238E27FC236}">
                <a16:creationId xmlns:a16="http://schemas.microsoft.com/office/drawing/2014/main" id="{2B8DD9F0-0E2B-4094-BFB6-72800557111E}"/>
              </a:ext>
            </a:extLst>
          </p:cNvPr>
          <p:cNvSpPr>
            <a:spLocks noGrp="1"/>
          </p:cNvSpPr>
          <p:nvPr>
            <p:ph type="title"/>
          </p:nvPr>
        </p:nvSpPr>
        <p:spPr>
          <a:xfrm>
            <a:off x="731520" y="516468"/>
            <a:ext cx="10728960" cy="934890"/>
          </a:xfrm>
        </p:spPr>
        <p:txBody>
          <a:bodyPr/>
          <a:lstStyle>
            <a:lvl1pPr>
              <a:defRPr>
                <a:solidFill>
                  <a:schemeClr val="tx2">
                    <a:lumMod val="50000"/>
                  </a:schemeClr>
                </a:solidFill>
              </a:defRPr>
            </a:lvl1pPr>
          </a:lstStyle>
          <a:p>
            <a:r>
              <a:rPr lang="da-DK"/>
              <a:t>Klik for at redigere i master</a:t>
            </a:r>
          </a:p>
        </p:txBody>
      </p:sp>
    </p:spTree>
    <p:extLst>
      <p:ext uri="{BB962C8B-B14F-4D97-AF65-F5344CB8AC3E}">
        <p14:creationId xmlns:p14="http://schemas.microsoft.com/office/powerpoint/2010/main" val="29151282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1558716" y="125143"/>
            <a:ext cx="767672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Footer Placeholder 4">
            <a:extLst>
              <a:ext uri="{FF2B5EF4-FFF2-40B4-BE49-F238E27FC236}">
                <a16:creationId xmlns:a16="http://schemas.microsoft.com/office/drawing/2014/main" id="{345B4137-1DAF-46A8-B209-AC1FD44E9FFC}"/>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2" name="Slide Number Placeholder 5">
            <a:extLst>
              <a:ext uri="{FF2B5EF4-FFF2-40B4-BE49-F238E27FC236}">
                <a16:creationId xmlns:a16="http://schemas.microsoft.com/office/drawing/2014/main" id="{F335B9EE-7146-4559-A6A9-CE1CB99D9C35}"/>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CA8E0E6D-23D9-4234-A780-CA6F6EB4D91F}"/>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B997A535-D0D4-43B5-AD8A-8D9F9278F202}" type="datetime1">
              <a:rPr lang="da-DK" smtClean="0"/>
              <a:t>02-05-2025</a:t>
            </a:fld>
            <a:endParaRPr lang="da-DK"/>
          </a:p>
        </p:txBody>
      </p:sp>
    </p:spTree>
    <p:extLst>
      <p:ext uri="{BB962C8B-B14F-4D97-AF65-F5344CB8AC3E}">
        <p14:creationId xmlns:p14="http://schemas.microsoft.com/office/powerpoint/2010/main" val="8159853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1_Overskrift og indhold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10962000" cy="671967"/>
          </a:xfrm>
        </p:spPr>
        <p:txBody>
          <a:bodyPr/>
          <a:lstStyle>
            <a:lvl1pPr>
              <a:defRPr/>
            </a:lvl1pPr>
          </a:lstStyle>
          <a:p>
            <a:r>
              <a:rPr lang="da-DK"/>
              <a:t>Klik for at tilføje overskrift</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411163" y="1989138"/>
            <a:ext cx="10961237" cy="38644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pic>
        <p:nvPicPr>
          <p:cNvPr id="22" name="Logo black">
            <a:extLst>
              <a:ext uri="{FF2B5EF4-FFF2-40B4-BE49-F238E27FC236}">
                <a16:creationId xmlns:a16="http://schemas.microsoft.com/office/drawing/2014/main" id="{CAAF367F-3818-457C-9EE1-320E9050AEB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02-05-2025</a:t>
            </a:fld>
            <a:endParaRPr lang="da-DK"/>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7" name="text" descr="{&quot;templafy&quot;:{&quot;id&quot;:&quot;a7037dd6-4c16-4e06-b652-51b40047493d&quot;}}" title="UserProfile.Institut.InstituteDCU_{{DocumentLanguage}}">
            <a:extLst>
              <a:ext uri="{FF2B5EF4-FFF2-40B4-BE49-F238E27FC236}">
                <a16:creationId xmlns:a16="http://schemas.microsoft.com/office/drawing/2014/main" id="{B15EA452-05B4-A751-51B4-E13FBF8D2D74}"/>
              </a:ext>
            </a:extLst>
          </p:cNvPr>
          <p:cNvSpPr txBox="1">
            <a:spLocks/>
          </p:cNvSpPr>
          <p:nvPr userDrawn="1"/>
        </p:nvSpPr>
        <p:spPr>
          <a:xfrm>
            <a:off x="410400" y="347204"/>
            <a:ext cx="5064938"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GB" sz="1400"/>
              <a:t>SDU Uddannelse</a:t>
            </a:r>
          </a:p>
        </p:txBody>
      </p:sp>
    </p:spTree>
    <p:extLst>
      <p:ext uri="{BB962C8B-B14F-4D97-AF65-F5344CB8AC3E}">
        <p14:creationId xmlns:p14="http://schemas.microsoft.com/office/powerpoint/2010/main" val="2620601414"/>
      </p:ext>
    </p:extLst>
  </p:cSld>
  <p:clrMapOvr>
    <a:masterClrMapping/>
  </p:clrMapOvr>
  <p:hf hdr="0"/>
  <p:extLst>
    <p:ext uri="{DCECCB84-F9BA-43D5-87BE-67443E8EF086}">
      <p15:sldGuideLst xmlns:p15="http://schemas.microsoft.com/office/powerpoint/2012/main">
        <p15:guide id="1" orient="horz" pos="64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Titelslide">
    <p:bg>
      <p:bgPr>
        <a:solidFill>
          <a:srgbClr val="376466"/>
        </a:solidFill>
        <a:effectLst/>
      </p:bgPr>
    </p:bg>
    <p:spTree>
      <p:nvGrpSpPr>
        <p:cNvPr id="1" name=""/>
        <p:cNvGrpSpPr/>
        <p:nvPr/>
      </p:nvGrpSpPr>
      <p:grpSpPr>
        <a:xfrm>
          <a:off x="0" y="0"/>
          <a:ext cx="0" cy="0"/>
          <a:chOff x="0" y="0"/>
          <a:chExt cx="0" cy="0"/>
        </a:xfrm>
      </p:grpSpPr>
      <p:sp>
        <p:nvSpPr>
          <p:cNvPr id="7" name="Right Triangle 6">
            <a:extLst>
              <a:ext uri="{FF2B5EF4-FFF2-40B4-BE49-F238E27FC236}">
                <a16:creationId xmlns:a16="http://schemas.microsoft.com/office/drawing/2014/main" id="{6EB01F05-665F-4F78-8955-335836BECF6E}"/>
              </a:ext>
            </a:extLst>
          </p:cNvPr>
          <p:cNvSpPr/>
          <p:nvPr userDrawn="1"/>
        </p:nvSpPr>
        <p:spPr bwMode="auto">
          <a:xfrm flipH="1" flipV="1">
            <a:off x="7200" y="9756"/>
            <a:ext cx="12184800" cy="5191125"/>
          </a:xfrm>
          <a:prstGeom prst="rtTriangle">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a:ln>
                <a:noFill/>
              </a:ln>
              <a:solidFill>
                <a:srgbClr val="FFFFFF"/>
              </a:solidFill>
              <a:effectLst/>
              <a:latin typeface="+mn-lt"/>
              <a:ea typeface="ＭＳ Ｐゴシック" pitchFamily="-80" charset="-128"/>
            </a:endParaRPr>
          </a:p>
        </p:txBody>
      </p:sp>
      <p:sp>
        <p:nvSpPr>
          <p:cNvPr id="9" name="Right Triangle 8">
            <a:extLst>
              <a:ext uri="{FF2B5EF4-FFF2-40B4-BE49-F238E27FC236}">
                <a16:creationId xmlns:a16="http://schemas.microsoft.com/office/drawing/2014/main" id="{3EE0F563-E6D6-4387-9EB4-0C775BEF9471}"/>
              </a:ext>
            </a:extLst>
          </p:cNvPr>
          <p:cNvSpPr/>
          <p:nvPr userDrawn="1"/>
        </p:nvSpPr>
        <p:spPr bwMode="auto">
          <a:xfrm flipV="1">
            <a:off x="0" y="-3395"/>
            <a:ext cx="7505700" cy="1581150"/>
          </a:xfrm>
          <a:prstGeom prst="rtTriangle">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ts val="432"/>
              </a:spcBef>
              <a:spcAft>
                <a:spcPct val="0"/>
              </a:spcAft>
              <a:buClrTx/>
              <a:buSzTx/>
              <a:buFontTx/>
              <a:buNone/>
              <a:tabLst/>
            </a:pPr>
            <a:endParaRPr kumimoji="0" lang="da-DK" sz="1600" b="0" i="0" u="none" strike="noStrike" cap="none" normalizeH="0" baseline="0">
              <a:ln>
                <a:noFill/>
              </a:ln>
              <a:solidFill>
                <a:srgbClr val="FFFFFF"/>
              </a:solidFill>
              <a:effectLst/>
              <a:latin typeface="+mn-lt"/>
              <a:ea typeface="ＭＳ Ｐゴシック" pitchFamily="-80" charset="-128"/>
            </a:endParaRPr>
          </a:p>
        </p:txBody>
      </p:sp>
      <p:sp>
        <p:nvSpPr>
          <p:cNvPr id="2" name="Title 1">
            <a:extLst>
              <a:ext uri="{FF2B5EF4-FFF2-40B4-BE49-F238E27FC236}">
                <a16:creationId xmlns:a16="http://schemas.microsoft.com/office/drawing/2014/main" id="{68FB7B03-3CDB-4B56-A60E-D736CC8F2B17}"/>
              </a:ext>
            </a:extLst>
          </p:cNvPr>
          <p:cNvSpPr>
            <a:spLocks noGrp="1"/>
          </p:cNvSpPr>
          <p:nvPr>
            <p:ph type="ctrTitle"/>
          </p:nvPr>
        </p:nvSpPr>
        <p:spPr>
          <a:xfrm>
            <a:off x="1524000" y="2734591"/>
            <a:ext cx="9144000" cy="2387600"/>
          </a:xfrm>
          <a:prstGeom prst="rect">
            <a:avLst/>
          </a:prstGeom>
        </p:spPr>
        <p:txBody>
          <a:bodyPr anchor="b"/>
          <a:lstStyle>
            <a:lvl1pPr algn="ctr">
              <a:defRPr sz="6000">
                <a:solidFill>
                  <a:schemeClr val="bg1"/>
                </a:solidFill>
                <a:latin typeface="+mj-lt"/>
              </a:defRPr>
            </a:lvl1pPr>
          </a:lstStyle>
          <a:p>
            <a:r>
              <a:rPr lang="da-DK"/>
              <a:t>Klik for at redigere titeltypografien i masteren</a:t>
            </a:r>
          </a:p>
        </p:txBody>
      </p:sp>
      <p:sp>
        <p:nvSpPr>
          <p:cNvPr id="3" name="Subtitle 2">
            <a:extLst>
              <a:ext uri="{FF2B5EF4-FFF2-40B4-BE49-F238E27FC236}">
                <a16:creationId xmlns:a16="http://schemas.microsoft.com/office/drawing/2014/main" id="{C1DF8315-DA0B-40C3-A476-8BDB8FF989F6}"/>
              </a:ext>
            </a:extLst>
          </p:cNvPr>
          <p:cNvSpPr>
            <a:spLocks noGrp="1"/>
          </p:cNvSpPr>
          <p:nvPr>
            <p:ph type="subTitle" idx="1"/>
          </p:nvPr>
        </p:nvSpPr>
        <p:spPr>
          <a:xfrm>
            <a:off x="1524000" y="5200880"/>
            <a:ext cx="9144000" cy="655633"/>
          </a:xfrm>
        </p:spPr>
        <p:txBody>
          <a:bodyPr/>
          <a:lstStyle>
            <a:lvl1pPr marL="0" indent="0" algn="ctr">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sp>
        <p:nvSpPr>
          <p:cNvPr id="8" name="Date Placeholder 7">
            <a:extLst>
              <a:ext uri="{FF2B5EF4-FFF2-40B4-BE49-F238E27FC236}">
                <a16:creationId xmlns:a16="http://schemas.microsoft.com/office/drawing/2014/main" id="{E2E22171-C378-4A63-AA4E-FCB3F3957466}"/>
              </a:ext>
            </a:extLst>
          </p:cNvPr>
          <p:cNvSpPr>
            <a:spLocks noGrp="1"/>
          </p:cNvSpPr>
          <p:nvPr>
            <p:ph type="dt" sz="half" idx="10"/>
          </p:nvPr>
        </p:nvSpPr>
        <p:spPr>
          <a:xfrm>
            <a:off x="838200" y="6367732"/>
            <a:ext cx="2743200" cy="365125"/>
          </a:xfrm>
          <a:prstGeom prst="rect">
            <a:avLst/>
          </a:prstGeom>
        </p:spPr>
        <p:txBody>
          <a:bodyPr/>
          <a:lstStyle>
            <a:lvl1pPr>
              <a:defRPr>
                <a:solidFill>
                  <a:schemeClr val="bg1"/>
                </a:solidFill>
              </a:defRPr>
            </a:lvl1pPr>
          </a:lstStyle>
          <a:p>
            <a:fld id="{753B5EE1-9FED-4010-AAB9-1B74CB29B8F1}" type="datetime1">
              <a:rPr lang="da-DK" smtClean="0"/>
              <a:t>02-05-2025</a:t>
            </a:fld>
            <a:endParaRPr lang="da-DK"/>
          </a:p>
        </p:txBody>
      </p:sp>
      <p:sp>
        <p:nvSpPr>
          <p:cNvPr id="11" name="Slide Number Placeholder 10">
            <a:extLst>
              <a:ext uri="{FF2B5EF4-FFF2-40B4-BE49-F238E27FC236}">
                <a16:creationId xmlns:a16="http://schemas.microsoft.com/office/drawing/2014/main" id="{E325CC66-34E0-4282-967A-24E78B5F509E}"/>
              </a:ext>
            </a:extLst>
          </p:cNvPr>
          <p:cNvSpPr>
            <a:spLocks noGrp="1"/>
          </p:cNvSpPr>
          <p:nvPr>
            <p:ph type="sldNum" sz="quarter" idx="12"/>
          </p:nvPr>
        </p:nvSpPr>
        <p:spPr>
          <a:xfrm>
            <a:off x="8610600" y="6367732"/>
            <a:ext cx="2492829" cy="365125"/>
          </a:xfrm>
        </p:spPr>
        <p:txBody>
          <a:bodyPr/>
          <a:lstStyle>
            <a:lvl1pPr>
              <a:defRPr>
                <a:solidFill>
                  <a:schemeClr val="bg1"/>
                </a:solidFill>
              </a:defRPr>
            </a:lvl1pPr>
          </a:lstStyle>
          <a:p>
            <a:fld id="{39DF810D-F77C-4BB2-BE6A-BDC67BB44902}" type="slidenum">
              <a:rPr lang="da-DK" smtClean="0"/>
              <a:pPr/>
              <a:t>‹#›</a:t>
            </a:fld>
            <a:endParaRPr lang="da-DK"/>
          </a:p>
        </p:txBody>
      </p:sp>
      <p:sp>
        <p:nvSpPr>
          <p:cNvPr id="268" name="Footer Placeholder 4">
            <a:extLst>
              <a:ext uri="{FF2B5EF4-FFF2-40B4-BE49-F238E27FC236}">
                <a16:creationId xmlns:a16="http://schemas.microsoft.com/office/drawing/2014/main" id="{39F6ED66-EED7-4F32-95B6-8628C6E0719F}"/>
              </a:ext>
            </a:extLst>
          </p:cNvPr>
          <p:cNvSpPr>
            <a:spLocks noGrp="1"/>
          </p:cNvSpPr>
          <p:nvPr>
            <p:ph type="ftr" sz="quarter" idx="3"/>
          </p:nvPr>
        </p:nvSpPr>
        <p:spPr>
          <a:xfrm>
            <a:off x="4038600" y="6367732"/>
            <a:ext cx="4114800" cy="365125"/>
          </a:xfrm>
          <a:prstGeom prst="rect">
            <a:avLst/>
          </a:prstGeom>
        </p:spPr>
        <p:txBody>
          <a:bodyPr vert="horz" lIns="91440" tIns="45720" rIns="91440" bIns="45720" rtlCol="0" anchor="ctr"/>
          <a:lstStyle>
            <a:lvl1pPr algn="ctr">
              <a:defRPr sz="800" i="0">
                <a:solidFill>
                  <a:schemeClr val="bg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grpSp>
        <p:nvGrpSpPr>
          <p:cNvPr id="272" name="Graphic 5">
            <a:extLst>
              <a:ext uri="{FF2B5EF4-FFF2-40B4-BE49-F238E27FC236}">
                <a16:creationId xmlns:a16="http://schemas.microsoft.com/office/drawing/2014/main" id="{425395C3-B5C3-4749-9D34-AA9BB01BA218}"/>
              </a:ext>
            </a:extLst>
          </p:cNvPr>
          <p:cNvGrpSpPr/>
          <p:nvPr/>
        </p:nvGrpSpPr>
        <p:grpSpPr>
          <a:xfrm>
            <a:off x="411007" y="259436"/>
            <a:ext cx="854386" cy="837339"/>
            <a:chOff x="632997" y="3239655"/>
            <a:chExt cx="440022" cy="431242"/>
          </a:xfrm>
          <a:solidFill>
            <a:schemeClr val="bg1">
              <a:alpha val="35000"/>
            </a:schemeClr>
          </a:solidFill>
        </p:grpSpPr>
        <p:sp>
          <p:nvSpPr>
            <p:cNvPr id="273" name="Freeform: Shape 272">
              <a:extLst>
                <a:ext uri="{FF2B5EF4-FFF2-40B4-BE49-F238E27FC236}">
                  <a16:creationId xmlns:a16="http://schemas.microsoft.com/office/drawing/2014/main" id="{31D7A666-A1E9-49F7-8D95-9C8420578A68}"/>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4" name="Freeform: Shape 273">
              <a:extLst>
                <a:ext uri="{FF2B5EF4-FFF2-40B4-BE49-F238E27FC236}">
                  <a16:creationId xmlns:a16="http://schemas.microsoft.com/office/drawing/2014/main" id="{55D3B7C6-3DB8-4038-9E7E-BBF947C95C3D}"/>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5" name="Freeform: Shape 274">
              <a:extLst>
                <a:ext uri="{FF2B5EF4-FFF2-40B4-BE49-F238E27FC236}">
                  <a16:creationId xmlns:a16="http://schemas.microsoft.com/office/drawing/2014/main" id="{A2C39EEF-22EE-4F59-A91D-768D9DCC4662}"/>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6" name="Freeform: Shape 275">
              <a:extLst>
                <a:ext uri="{FF2B5EF4-FFF2-40B4-BE49-F238E27FC236}">
                  <a16:creationId xmlns:a16="http://schemas.microsoft.com/office/drawing/2014/main" id="{C9DD0897-5235-4F60-AA92-D74D28882664}"/>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7" name="Freeform: Shape 276">
              <a:extLst>
                <a:ext uri="{FF2B5EF4-FFF2-40B4-BE49-F238E27FC236}">
                  <a16:creationId xmlns:a16="http://schemas.microsoft.com/office/drawing/2014/main" id="{DDEB94AB-9118-4475-A9CB-C507B8858234}"/>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8" name="Freeform: Shape 277">
              <a:extLst>
                <a:ext uri="{FF2B5EF4-FFF2-40B4-BE49-F238E27FC236}">
                  <a16:creationId xmlns:a16="http://schemas.microsoft.com/office/drawing/2014/main" id="{D468DCFE-4E07-4017-BD1D-FEB9710317C7}"/>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279" name="Freeform: Shape 278">
              <a:extLst>
                <a:ext uri="{FF2B5EF4-FFF2-40B4-BE49-F238E27FC236}">
                  <a16:creationId xmlns:a16="http://schemas.microsoft.com/office/drawing/2014/main" id="{21F36C60-7138-48BB-ACAF-9A32F87E12CA}"/>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grpSp>
    </p:spTree>
    <p:extLst>
      <p:ext uri="{BB962C8B-B14F-4D97-AF65-F5344CB8AC3E}">
        <p14:creationId xmlns:p14="http://schemas.microsoft.com/office/powerpoint/2010/main" val="31920120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Divider slid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EB01F05-665F-4F78-8955-335836BECF6E}"/>
              </a:ext>
            </a:extLst>
          </p:cNvPr>
          <p:cNvSpPr/>
          <p:nvPr userDrawn="1"/>
        </p:nvSpPr>
        <p:spPr bwMode="auto">
          <a:xfrm flipH="1" flipV="1">
            <a:off x="0" y="0"/>
            <a:ext cx="6375178" cy="6858000"/>
          </a:xfrm>
          <a:prstGeom prst="rect">
            <a:avLst/>
          </a:prstGeom>
          <a:gradFill flip="none" rotWithShape="1">
            <a:gsLst>
              <a:gs pos="0">
                <a:srgbClr val="376466">
                  <a:shade val="30000"/>
                  <a:satMod val="115000"/>
                </a:srgbClr>
              </a:gs>
              <a:gs pos="50000">
                <a:srgbClr val="376466">
                  <a:shade val="67500"/>
                  <a:satMod val="115000"/>
                </a:srgbClr>
              </a:gs>
              <a:gs pos="100000">
                <a:srgbClr val="376466">
                  <a:shade val="100000"/>
                  <a:satMod val="115000"/>
                </a:srgbClr>
              </a:gs>
            </a:gsLst>
            <a:lin ang="2700000" scaled="1"/>
            <a:tileRect/>
          </a:gradFill>
          <a:ln w="9525" cap="flat" cmpd="sng" algn="ctr">
            <a:noFill/>
            <a:prstDash val="solid"/>
            <a:miter lim="800000"/>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0" marR="0" lvl="0" indent="0" algn="ctr" defTabSz="914400" rtl="0" eaLnBrk="1" fontAlgn="base" latinLnBrk="0" hangingPunct="1">
              <a:lnSpc>
                <a:spcPct val="100000"/>
              </a:lnSpc>
              <a:spcBef>
                <a:spcPts val="432"/>
              </a:spcBef>
              <a:spcAft>
                <a:spcPct val="0"/>
              </a:spcAft>
              <a:buClrTx/>
              <a:buSzTx/>
              <a:buFontTx/>
              <a:buNone/>
              <a:tabLst/>
              <a:defRPr/>
            </a:pPr>
            <a:endParaRPr kumimoji="0" lang="da-DK" sz="1600" b="0" i="0" u="none" strike="noStrike" kern="1200" cap="none" spc="0" normalizeH="0" baseline="0" noProof="0">
              <a:ln>
                <a:noFill/>
              </a:ln>
              <a:solidFill>
                <a:srgbClr val="FFFFFF"/>
              </a:solidFill>
              <a:effectLst/>
              <a:uLnTx/>
              <a:uFillTx/>
              <a:latin typeface="Arial" panose="020B0604020202020204"/>
              <a:ea typeface="ＭＳ Ｐゴシック" pitchFamily="-80" charset="-128"/>
              <a:cs typeface="+mn-cs"/>
            </a:endParaRPr>
          </a:p>
        </p:txBody>
      </p:sp>
      <p:sp>
        <p:nvSpPr>
          <p:cNvPr id="2" name="Title 1">
            <a:extLst>
              <a:ext uri="{FF2B5EF4-FFF2-40B4-BE49-F238E27FC236}">
                <a16:creationId xmlns:a16="http://schemas.microsoft.com/office/drawing/2014/main" id="{68FB7B03-3CDB-4B56-A60E-D736CC8F2B17}"/>
              </a:ext>
            </a:extLst>
          </p:cNvPr>
          <p:cNvSpPr>
            <a:spLocks noGrp="1"/>
          </p:cNvSpPr>
          <p:nvPr>
            <p:ph type="ctrTitle"/>
          </p:nvPr>
        </p:nvSpPr>
        <p:spPr>
          <a:xfrm>
            <a:off x="587505" y="1143466"/>
            <a:ext cx="5082831" cy="3300745"/>
          </a:xfrm>
          <a:prstGeom prst="rect">
            <a:avLst/>
          </a:prstGeom>
        </p:spPr>
        <p:txBody>
          <a:bodyPr anchor="b"/>
          <a:lstStyle>
            <a:lvl1pPr algn="ctr">
              <a:defRPr sz="6000">
                <a:solidFill>
                  <a:schemeClr val="bg1"/>
                </a:solidFill>
                <a:latin typeface="+mj-lt"/>
              </a:defRPr>
            </a:lvl1pPr>
          </a:lstStyle>
          <a:p>
            <a:r>
              <a:rPr lang="da-DK"/>
              <a:t>Klik for at redigere titeltypografien i masteren</a:t>
            </a:r>
          </a:p>
        </p:txBody>
      </p:sp>
      <p:sp>
        <p:nvSpPr>
          <p:cNvPr id="3" name="Subtitle 2">
            <a:extLst>
              <a:ext uri="{FF2B5EF4-FFF2-40B4-BE49-F238E27FC236}">
                <a16:creationId xmlns:a16="http://schemas.microsoft.com/office/drawing/2014/main" id="{C1DF8315-DA0B-40C3-A476-8BDB8FF989F6}"/>
              </a:ext>
            </a:extLst>
          </p:cNvPr>
          <p:cNvSpPr>
            <a:spLocks noGrp="1"/>
          </p:cNvSpPr>
          <p:nvPr>
            <p:ph type="subTitle" idx="1"/>
          </p:nvPr>
        </p:nvSpPr>
        <p:spPr>
          <a:xfrm>
            <a:off x="613663" y="4644807"/>
            <a:ext cx="5082831" cy="655633"/>
          </a:xfrm>
        </p:spPr>
        <p:txBody>
          <a:bodyPr/>
          <a:lstStyle>
            <a:lvl1pPr marL="0" indent="0" algn="ctr">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a:t>Klik for at redigere undertiteltypografien i masteren</a:t>
            </a:r>
          </a:p>
        </p:txBody>
      </p:sp>
      <p:grpSp>
        <p:nvGrpSpPr>
          <p:cNvPr id="134" name="Group 133">
            <a:extLst>
              <a:ext uri="{FF2B5EF4-FFF2-40B4-BE49-F238E27FC236}">
                <a16:creationId xmlns:a16="http://schemas.microsoft.com/office/drawing/2014/main" id="{438EF9D8-2CCD-43BA-94A9-8127C3647697}"/>
              </a:ext>
            </a:extLst>
          </p:cNvPr>
          <p:cNvGrpSpPr>
            <a:grpSpLocks/>
          </p:cNvGrpSpPr>
          <p:nvPr userDrawn="1"/>
        </p:nvGrpSpPr>
        <p:grpSpPr>
          <a:xfrm>
            <a:off x="220034" y="6097318"/>
            <a:ext cx="1469181" cy="538076"/>
            <a:chOff x="632997" y="3237301"/>
            <a:chExt cx="1214135" cy="444667"/>
          </a:xfrm>
          <a:solidFill>
            <a:schemeClr val="bg1"/>
          </a:solidFill>
        </p:grpSpPr>
        <p:grpSp>
          <p:nvGrpSpPr>
            <p:cNvPr id="135" name="Graphic 5">
              <a:extLst>
                <a:ext uri="{FF2B5EF4-FFF2-40B4-BE49-F238E27FC236}">
                  <a16:creationId xmlns:a16="http://schemas.microsoft.com/office/drawing/2014/main" id="{693617B4-D6B6-4ADE-AF79-295B334733DC}"/>
                </a:ext>
              </a:extLst>
            </p:cNvPr>
            <p:cNvGrpSpPr/>
            <p:nvPr/>
          </p:nvGrpSpPr>
          <p:grpSpPr>
            <a:xfrm>
              <a:off x="1202431" y="3237301"/>
              <a:ext cx="644701" cy="179292"/>
              <a:chOff x="1202431" y="3237301"/>
              <a:chExt cx="644701" cy="179292"/>
            </a:xfrm>
            <a:grpFill/>
          </p:grpSpPr>
          <p:sp>
            <p:nvSpPr>
              <p:cNvPr id="192" name="Freeform: Shape 191">
                <a:extLst>
                  <a:ext uri="{FF2B5EF4-FFF2-40B4-BE49-F238E27FC236}">
                    <a16:creationId xmlns:a16="http://schemas.microsoft.com/office/drawing/2014/main" id="{2D045F43-4F91-4FDE-BDAA-E8993C04381D}"/>
                  </a:ext>
                </a:extLst>
              </p:cNvPr>
              <p:cNvSpPr/>
              <p:nvPr/>
            </p:nvSpPr>
            <p:spPr>
              <a:xfrm>
                <a:off x="1202431" y="3239718"/>
                <a:ext cx="108415" cy="136600"/>
              </a:xfrm>
              <a:custGeom>
                <a:avLst/>
                <a:gdLst>
                  <a:gd name="connsiteX0" fmla="*/ 0 w 108415"/>
                  <a:gd name="connsiteY0" fmla="*/ 136601 h 136600"/>
                  <a:gd name="connsiteX1" fmla="*/ 0 w 108415"/>
                  <a:gd name="connsiteY1" fmla="*/ 0 h 136600"/>
                  <a:gd name="connsiteX2" fmla="*/ 26849 w 108415"/>
                  <a:gd name="connsiteY2" fmla="*/ 0 h 136600"/>
                  <a:gd name="connsiteX3" fmla="*/ 82775 w 108415"/>
                  <a:gd name="connsiteY3" fmla="*/ 91237 h 136600"/>
                  <a:gd name="connsiteX4" fmla="*/ 82775 w 108415"/>
                  <a:gd name="connsiteY4" fmla="*/ 0 h 136600"/>
                  <a:gd name="connsiteX5" fmla="*/ 108415 w 108415"/>
                  <a:gd name="connsiteY5" fmla="*/ 0 h 136600"/>
                  <a:gd name="connsiteX6" fmla="*/ 108415 w 108415"/>
                  <a:gd name="connsiteY6" fmla="*/ 136601 h 136600"/>
                  <a:gd name="connsiteX7" fmla="*/ 80739 w 108415"/>
                  <a:gd name="connsiteY7" fmla="*/ 136601 h 136600"/>
                  <a:gd name="connsiteX8" fmla="*/ 25640 w 108415"/>
                  <a:gd name="connsiteY8" fmla="*/ 47527 h 136600"/>
                  <a:gd name="connsiteX9" fmla="*/ 25640 w 108415"/>
                  <a:gd name="connsiteY9" fmla="*/ 136601 h 136600"/>
                  <a:gd name="connsiteX10" fmla="*/ 0 w 108415"/>
                  <a:gd name="connsiteY10" fmla="*/ 136601 h 1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15" h="136600">
                    <a:moveTo>
                      <a:pt x="0" y="136601"/>
                    </a:moveTo>
                    <a:lnTo>
                      <a:pt x="0" y="0"/>
                    </a:lnTo>
                    <a:lnTo>
                      <a:pt x="26849" y="0"/>
                    </a:lnTo>
                    <a:lnTo>
                      <a:pt x="82775" y="91237"/>
                    </a:lnTo>
                    <a:lnTo>
                      <a:pt x="82775" y="0"/>
                    </a:lnTo>
                    <a:lnTo>
                      <a:pt x="108415" y="0"/>
                    </a:lnTo>
                    <a:lnTo>
                      <a:pt x="108415" y="136601"/>
                    </a:lnTo>
                    <a:lnTo>
                      <a:pt x="80739" y="136601"/>
                    </a:lnTo>
                    <a:lnTo>
                      <a:pt x="25640" y="47527"/>
                    </a:lnTo>
                    <a:lnTo>
                      <a:pt x="25640" y="136601"/>
                    </a:lnTo>
                    <a:lnTo>
                      <a:pt x="0" y="136601"/>
                    </a:lnTo>
                    <a:close/>
                  </a:path>
                </a:pathLst>
              </a:custGeom>
              <a:grpFill/>
              <a:ln w="6361" cap="flat">
                <a:noFill/>
                <a:prstDash val="solid"/>
                <a:miter/>
              </a:ln>
            </p:spPr>
            <p:txBody>
              <a:bodyPr rtlCol="0" anchor="ctr"/>
              <a:lstStyle/>
              <a:p>
                <a:endParaRPr lang="da-DK"/>
              </a:p>
            </p:txBody>
          </p:sp>
          <p:sp>
            <p:nvSpPr>
              <p:cNvPr id="193" name="Freeform: Shape 192">
                <a:extLst>
                  <a:ext uri="{FF2B5EF4-FFF2-40B4-BE49-F238E27FC236}">
                    <a16:creationId xmlns:a16="http://schemas.microsoft.com/office/drawing/2014/main" id="{EE0B8821-7CDB-48E5-B41F-205C2A2A3EDA}"/>
                  </a:ext>
                </a:extLst>
              </p:cNvPr>
              <p:cNvSpPr/>
              <p:nvPr/>
            </p:nvSpPr>
            <p:spPr>
              <a:xfrm>
                <a:off x="1323571" y="3277384"/>
                <a:ext cx="101734" cy="139208"/>
              </a:xfrm>
              <a:custGeom>
                <a:avLst/>
                <a:gdLst>
                  <a:gd name="connsiteX0" fmla="*/ 0 w 101734"/>
                  <a:gd name="connsiteY0" fmla="*/ 0 h 139208"/>
                  <a:gd name="connsiteX1" fmla="*/ 27867 w 101734"/>
                  <a:gd name="connsiteY1" fmla="*/ 0 h 139208"/>
                  <a:gd name="connsiteX2" fmla="*/ 51535 w 101734"/>
                  <a:gd name="connsiteY2" fmla="*/ 70241 h 139208"/>
                  <a:gd name="connsiteX3" fmla="*/ 74631 w 101734"/>
                  <a:gd name="connsiteY3" fmla="*/ 0 h 139208"/>
                  <a:gd name="connsiteX4" fmla="*/ 101735 w 101734"/>
                  <a:gd name="connsiteY4" fmla="*/ 0 h 139208"/>
                  <a:gd name="connsiteX5" fmla="*/ 66805 w 101734"/>
                  <a:gd name="connsiteY5" fmla="*/ 95245 h 139208"/>
                  <a:gd name="connsiteX6" fmla="*/ 60570 w 101734"/>
                  <a:gd name="connsiteY6" fmla="*/ 112487 h 139208"/>
                  <a:gd name="connsiteX7" fmla="*/ 54017 w 101734"/>
                  <a:gd name="connsiteY7" fmla="*/ 125721 h 139208"/>
                  <a:gd name="connsiteX8" fmla="*/ 46827 w 101734"/>
                  <a:gd name="connsiteY8" fmla="*/ 133165 h 139208"/>
                  <a:gd name="connsiteX9" fmla="*/ 36838 w 101734"/>
                  <a:gd name="connsiteY9" fmla="*/ 137618 h 139208"/>
                  <a:gd name="connsiteX10" fmla="*/ 23477 w 101734"/>
                  <a:gd name="connsiteY10" fmla="*/ 139209 h 139208"/>
                  <a:gd name="connsiteX11" fmla="*/ 8653 w 101734"/>
                  <a:gd name="connsiteY11" fmla="*/ 137618 h 139208"/>
                  <a:gd name="connsiteX12" fmla="*/ 6299 w 101734"/>
                  <a:gd name="connsiteY12" fmla="*/ 117131 h 139208"/>
                  <a:gd name="connsiteX13" fmla="*/ 17369 w 101734"/>
                  <a:gd name="connsiteY13" fmla="*/ 118340 h 139208"/>
                  <a:gd name="connsiteX14" fmla="*/ 30858 w 101734"/>
                  <a:gd name="connsiteY14" fmla="*/ 112996 h 139208"/>
                  <a:gd name="connsiteX15" fmla="*/ 37538 w 101734"/>
                  <a:gd name="connsiteY15" fmla="*/ 99317 h 139208"/>
                  <a:gd name="connsiteX16" fmla="*/ 0 w 101734"/>
                  <a:gd name="connsiteY16" fmla="*/ 0 h 13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39208">
                    <a:moveTo>
                      <a:pt x="0" y="0"/>
                    </a:moveTo>
                    <a:lnTo>
                      <a:pt x="27867" y="0"/>
                    </a:lnTo>
                    <a:lnTo>
                      <a:pt x="51535" y="70241"/>
                    </a:lnTo>
                    <a:lnTo>
                      <a:pt x="74631" y="0"/>
                    </a:lnTo>
                    <a:lnTo>
                      <a:pt x="101735" y="0"/>
                    </a:lnTo>
                    <a:lnTo>
                      <a:pt x="66805" y="95245"/>
                    </a:lnTo>
                    <a:lnTo>
                      <a:pt x="60570" y="112487"/>
                    </a:lnTo>
                    <a:cubicBezTo>
                      <a:pt x="58279" y="118277"/>
                      <a:pt x="56053" y="122667"/>
                      <a:pt x="54017" y="125721"/>
                    </a:cubicBezTo>
                    <a:cubicBezTo>
                      <a:pt x="51917" y="128775"/>
                      <a:pt x="49563" y="131256"/>
                      <a:pt x="46827" y="133165"/>
                    </a:cubicBezTo>
                    <a:cubicBezTo>
                      <a:pt x="44155" y="135073"/>
                      <a:pt x="40783" y="136537"/>
                      <a:pt x="36838" y="137618"/>
                    </a:cubicBezTo>
                    <a:cubicBezTo>
                      <a:pt x="32894" y="138700"/>
                      <a:pt x="28440" y="139209"/>
                      <a:pt x="23477" y="139209"/>
                    </a:cubicBezTo>
                    <a:cubicBezTo>
                      <a:pt x="18451" y="139209"/>
                      <a:pt x="13488" y="138700"/>
                      <a:pt x="8653" y="137618"/>
                    </a:cubicBezTo>
                    <a:lnTo>
                      <a:pt x="6299" y="117131"/>
                    </a:lnTo>
                    <a:cubicBezTo>
                      <a:pt x="10371" y="117959"/>
                      <a:pt x="14125" y="118340"/>
                      <a:pt x="17369" y="118340"/>
                    </a:cubicBezTo>
                    <a:cubicBezTo>
                      <a:pt x="23477" y="118340"/>
                      <a:pt x="27995" y="116559"/>
                      <a:pt x="30858" y="112996"/>
                    </a:cubicBezTo>
                    <a:cubicBezTo>
                      <a:pt x="33784" y="109433"/>
                      <a:pt x="36011" y="104852"/>
                      <a:pt x="37538" y="99317"/>
                    </a:cubicBezTo>
                    <a:lnTo>
                      <a:pt x="0" y="0"/>
                    </a:lnTo>
                    <a:close/>
                  </a:path>
                </a:pathLst>
              </a:custGeom>
              <a:grpFill/>
              <a:ln w="6361" cap="flat">
                <a:noFill/>
                <a:prstDash val="solid"/>
                <a:miter/>
              </a:ln>
            </p:spPr>
            <p:txBody>
              <a:bodyPr rtlCol="0" anchor="ctr"/>
              <a:lstStyle/>
              <a:p>
                <a:endParaRPr lang="da-DK"/>
              </a:p>
            </p:txBody>
          </p:sp>
          <p:sp>
            <p:nvSpPr>
              <p:cNvPr id="194" name="Freeform: Shape 193">
                <a:extLst>
                  <a:ext uri="{FF2B5EF4-FFF2-40B4-BE49-F238E27FC236}">
                    <a16:creationId xmlns:a16="http://schemas.microsoft.com/office/drawing/2014/main" id="{11A6EC43-F5DF-4A91-8F44-E97FCB85E023}"/>
                  </a:ext>
                </a:extLst>
              </p:cNvPr>
              <p:cNvSpPr/>
              <p:nvPr/>
            </p:nvSpPr>
            <p:spPr>
              <a:xfrm>
                <a:off x="1435231" y="3242518"/>
                <a:ext cx="58343" cy="136091"/>
              </a:xfrm>
              <a:custGeom>
                <a:avLst/>
                <a:gdLst>
                  <a:gd name="connsiteX0" fmla="*/ 56116 w 58343"/>
                  <a:gd name="connsiteY0" fmla="*/ 34866 h 136091"/>
                  <a:gd name="connsiteX1" fmla="*/ 56116 w 58343"/>
                  <a:gd name="connsiteY1" fmla="*/ 55735 h 136091"/>
                  <a:gd name="connsiteX2" fmla="*/ 38238 w 58343"/>
                  <a:gd name="connsiteY2" fmla="*/ 55735 h 136091"/>
                  <a:gd name="connsiteX3" fmla="*/ 38238 w 58343"/>
                  <a:gd name="connsiteY3" fmla="*/ 95627 h 136091"/>
                  <a:gd name="connsiteX4" fmla="*/ 38747 w 58343"/>
                  <a:gd name="connsiteY4" fmla="*/ 109751 h 136091"/>
                  <a:gd name="connsiteX5" fmla="*/ 41101 w 58343"/>
                  <a:gd name="connsiteY5" fmla="*/ 113060 h 136091"/>
                  <a:gd name="connsiteX6" fmla="*/ 45555 w 58343"/>
                  <a:gd name="connsiteY6" fmla="*/ 114396 h 136091"/>
                  <a:gd name="connsiteX7" fmla="*/ 56116 w 58343"/>
                  <a:gd name="connsiteY7" fmla="*/ 111851 h 136091"/>
                  <a:gd name="connsiteX8" fmla="*/ 58343 w 58343"/>
                  <a:gd name="connsiteY8" fmla="*/ 132147 h 136091"/>
                  <a:gd name="connsiteX9" fmla="*/ 37665 w 58343"/>
                  <a:gd name="connsiteY9" fmla="*/ 136091 h 136091"/>
                  <a:gd name="connsiteX10" fmla="*/ 24877 w 58343"/>
                  <a:gd name="connsiteY10" fmla="*/ 133737 h 136091"/>
                  <a:gd name="connsiteX11" fmla="*/ 16542 w 58343"/>
                  <a:gd name="connsiteY11" fmla="*/ 127566 h 136091"/>
                  <a:gd name="connsiteX12" fmla="*/ 12852 w 58343"/>
                  <a:gd name="connsiteY12" fmla="*/ 117386 h 136091"/>
                  <a:gd name="connsiteX13" fmla="*/ 12025 w 58343"/>
                  <a:gd name="connsiteY13" fmla="*/ 98935 h 136091"/>
                  <a:gd name="connsiteX14" fmla="*/ 12025 w 58343"/>
                  <a:gd name="connsiteY14" fmla="*/ 55798 h 136091"/>
                  <a:gd name="connsiteX15" fmla="*/ 0 w 58343"/>
                  <a:gd name="connsiteY15" fmla="*/ 55798 h 136091"/>
                  <a:gd name="connsiteX16" fmla="*/ 0 w 58343"/>
                  <a:gd name="connsiteY16" fmla="*/ 34929 h 136091"/>
                  <a:gd name="connsiteX17" fmla="*/ 12025 w 58343"/>
                  <a:gd name="connsiteY17" fmla="*/ 34929 h 136091"/>
                  <a:gd name="connsiteX18" fmla="*/ 12025 w 58343"/>
                  <a:gd name="connsiteY18" fmla="*/ 15270 h 136091"/>
                  <a:gd name="connsiteX19" fmla="*/ 38302 w 58343"/>
                  <a:gd name="connsiteY19" fmla="*/ 0 h 136091"/>
                  <a:gd name="connsiteX20" fmla="*/ 38302 w 58343"/>
                  <a:gd name="connsiteY20" fmla="*/ 34929 h 136091"/>
                  <a:gd name="connsiteX21" fmla="*/ 56116 w 58343"/>
                  <a:gd name="connsiteY21" fmla="*/ 34929 h 13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343" h="136091">
                    <a:moveTo>
                      <a:pt x="56116" y="34866"/>
                    </a:moveTo>
                    <a:lnTo>
                      <a:pt x="56116" y="55735"/>
                    </a:lnTo>
                    <a:lnTo>
                      <a:pt x="38238" y="55735"/>
                    </a:lnTo>
                    <a:lnTo>
                      <a:pt x="38238" y="95627"/>
                    </a:lnTo>
                    <a:cubicBezTo>
                      <a:pt x="38238" y="103707"/>
                      <a:pt x="38429" y="108415"/>
                      <a:pt x="38747" y="109751"/>
                    </a:cubicBezTo>
                    <a:cubicBezTo>
                      <a:pt x="39065" y="111087"/>
                      <a:pt x="39892" y="112169"/>
                      <a:pt x="41101" y="113060"/>
                    </a:cubicBezTo>
                    <a:cubicBezTo>
                      <a:pt x="42310" y="113950"/>
                      <a:pt x="43773" y="114396"/>
                      <a:pt x="45555" y="114396"/>
                    </a:cubicBezTo>
                    <a:cubicBezTo>
                      <a:pt x="47972" y="114396"/>
                      <a:pt x="51472" y="113569"/>
                      <a:pt x="56116" y="111851"/>
                    </a:cubicBezTo>
                    <a:lnTo>
                      <a:pt x="58343" y="132147"/>
                    </a:lnTo>
                    <a:cubicBezTo>
                      <a:pt x="52235" y="134755"/>
                      <a:pt x="45364" y="136091"/>
                      <a:pt x="37665" y="136091"/>
                    </a:cubicBezTo>
                    <a:cubicBezTo>
                      <a:pt x="32957" y="136091"/>
                      <a:pt x="28694" y="135328"/>
                      <a:pt x="24877" y="133737"/>
                    </a:cubicBezTo>
                    <a:cubicBezTo>
                      <a:pt x="21059" y="132147"/>
                      <a:pt x="18324" y="130111"/>
                      <a:pt x="16542" y="127566"/>
                    </a:cubicBezTo>
                    <a:cubicBezTo>
                      <a:pt x="14761" y="125021"/>
                      <a:pt x="13552" y="121649"/>
                      <a:pt x="12852" y="117386"/>
                    </a:cubicBezTo>
                    <a:cubicBezTo>
                      <a:pt x="12279" y="114332"/>
                      <a:pt x="12025" y="108161"/>
                      <a:pt x="12025" y="98935"/>
                    </a:cubicBezTo>
                    <a:lnTo>
                      <a:pt x="12025" y="55798"/>
                    </a:lnTo>
                    <a:lnTo>
                      <a:pt x="0" y="55798"/>
                    </a:lnTo>
                    <a:lnTo>
                      <a:pt x="0" y="34929"/>
                    </a:lnTo>
                    <a:lnTo>
                      <a:pt x="12025" y="34929"/>
                    </a:lnTo>
                    <a:lnTo>
                      <a:pt x="12025" y="15270"/>
                    </a:lnTo>
                    <a:lnTo>
                      <a:pt x="38302" y="0"/>
                    </a:lnTo>
                    <a:lnTo>
                      <a:pt x="38302" y="34929"/>
                    </a:lnTo>
                    <a:lnTo>
                      <a:pt x="56116" y="34929"/>
                    </a:lnTo>
                    <a:close/>
                  </a:path>
                </a:pathLst>
              </a:custGeom>
              <a:grpFill/>
              <a:ln w="6361" cap="flat">
                <a:noFill/>
                <a:prstDash val="solid"/>
                <a:miter/>
              </a:ln>
            </p:spPr>
            <p:txBody>
              <a:bodyPr rtlCol="0" anchor="ctr"/>
              <a:lstStyle/>
              <a:p>
                <a:endParaRPr lang="da-DK"/>
              </a:p>
            </p:txBody>
          </p:sp>
          <p:sp>
            <p:nvSpPr>
              <p:cNvPr id="195" name="Freeform: Shape 194">
                <a:extLst>
                  <a:ext uri="{FF2B5EF4-FFF2-40B4-BE49-F238E27FC236}">
                    <a16:creationId xmlns:a16="http://schemas.microsoft.com/office/drawing/2014/main" id="{260D3853-EC46-40F1-89B8-60FF0DD4929C}"/>
                  </a:ext>
                </a:extLst>
              </p:cNvPr>
              <p:cNvSpPr/>
              <p:nvPr/>
            </p:nvSpPr>
            <p:spPr>
              <a:xfrm>
                <a:off x="1555734" y="3237301"/>
                <a:ext cx="111023" cy="141435"/>
              </a:xfrm>
              <a:custGeom>
                <a:avLst/>
                <a:gdLst>
                  <a:gd name="connsiteX0" fmla="*/ 0 w 111023"/>
                  <a:gd name="connsiteY0" fmla="*/ 94545 h 141435"/>
                  <a:gd name="connsiteX1" fmla="*/ 26849 w 111023"/>
                  <a:gd name="connsiteY1" fmla="*/ 91937 h 141435"/>
                  <a:gd name="connsiteX2" fmla="*/ 36647 w 111023"/>
                  <a:gd name="connsiteY2" fmla="*/ 111787 h 141435"/>
                  <a:gd name="connsiteX3" fmla="*/ 56625 w 111023"/>
                  <a:gd name="connsiteY3" fmla="*/ 118150 h 141435"/>
                  <a:gd name="connsiteX4" fmla="*/ 76730 w 111023"/>
                  <a:gd name="connsiteY4" fmla="*/ 112487 h 141435"/>
                  <a:gd name="connsiteX5" fmla="*/ 83475 w 111023"/>
                  <a:gd name="connsiteY5" fmla="*/ 99317 h 141435"/>
                  <a:gd name="connsiteX6" fmla="*/ 80611 w 111023"/>
                  <a:gd name="connsiteY6" fmla="*/ 91046 h 141435"/>
                  <a:gd name="connsiteX7" fmla="*/ 70686 w 111023"/>
                  <a:gd name="connsiteY7" fmla="*/ 85129 h 141435"/>
                  <a:gd name="connsiteX8" fmla="*/ 48609 w 111023"/>
                  <a:gd name="connsiteY8" fmla="*/ 79148 h 141435"/>
                  <a:gd name="connsiteX9" fmla="*/ 17497 w 111023"/>
                  <a:gd name="connsiteY9" fmla="*/ 65660 h 141435"/>
                  <a:gd name="connsiteX10" fmla="*/ 4899 w 111023"/>
                  <a:gd name="connsiteY10" fmla="*/ 38174 h 141435"/>
                  <a:gd name="connsiteX11" fmla="*/ 10816 w 111023"/>
                  <a:gd name="connsiteY11" fmla="*/ 18642 h 141435"/>
                  <a:gd name="connsiteX12" fmla="*/ 27867 w 111023"/>
                  <a:gd name="connsiteY12" fmla="*/ 4772 h 141435"/>
                  <a:gd name="connsiteX13" fmla="*/ 54780 w 111023"/>
                  <a:gd name="connsiteY13" fmla="*/ 0 h 141435"/>
                  <a:gd name="connsiteX14" fmla="*/ 93527 w 111023"/>
                  <a:gd name="connsiteY14" fmla="*/ 11262 h 141435"/>
                  <a:gd name="connsiteX15" fmla="*/ 107206 w 111023"/>
                  <a:gd name="connsiteY15" fmla="*/ 41356 h 141435"/>
                  <a:gd name="connsiteX16" fmla="*/ 79593 w 111023"/>
                  <a:gd name="connsiteY16" fmla="*/ 42564 h 141435"/>
                  <a:gd name="connsiteX17" fmla="*/ 72022 w 111023"/>
                  <a:gd name="connsiteY17" fmla="*/ 27422 h 141435"/>
                  <a:gd name="connsiteX18" fmla="*/ 54526 w 111023"/>
                  <a:gd name="connsiteY18" fmla="*/ 22841 h 141435"/>
                  <a:gd name="connsiteX19" fmla="*/ 35693 w 111023"/>
                  <a:gd name="connsiteY19" fmla="*/ 27804 h 141435"/>
                  <a:gd name="connsiteX20" fmla="*/ 31303 w 111023"/>
                  <a:gd name="connsiteY20" fmla="*/ 36266 h 141435"/>
                  <a:gd name="connsiteX21" fmla="*/ 35375 w 111023"/>
                  <a:gd name="connsiteY21" fmla="*/ 44537 h 141435"/>
                  <a:gd name="connsiteX22" fmla="*/ 60697 w 111023"/>
                  <a:gd name="connsiteY22" fmla="*/ 53699 h 141435"/>
                  <a:gd name="connsiteX23" fmla="*/ 90473 w 111023"/>
                  <a:gd name="connsiteY23" fmla="*/ 63560 h 141435"/>
                  <a:gd name="connsiteX24" fmla="*/ 105552 w 111023"/>
                  <a:gd name="connsiteY24" fmla="*/ 77430 h 141435"/>
                  <a:gd name="connsiteX25" fmla="*/ 111024 w 111023"/>
                  <a:gd name="connsiteY25" fmla="*/ 99190 h 141435"/>
                  <a:gd name="connsiteX26" fmla="*/ 104470 w 111023"/>
                  <a:gd name="connsiteY26" fmla="*/ 121204 h 141435"/>
                  <a:gd name="connsiteX27" fmla="*/ 86020 w 111023"/>
                  <a:gd name="connsiteY27" fmla="*/ 136473 h 141435"/>
                  <a:gd name="connsiteX28" fmla="*/ 56307 w 111023"/>
                  <a:gd name="connsiteY28" fmla="*/ 141436 h 141435"/>
                  <a:gd name="connsiteX29" fmla="*/ 16542 w 111023"/>
                  <a:gd name="connsiteY29" fmla="*/ 129475 h 141435"/>
                  <a:gd name="connsiteX30" fmla="*/ 0 w 111023"/>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23" h="141435">
                    <a:moveTo>
                      <a:pt x="0" y="94545"/>
                    </a:moveTo>
                    <a:lnTo>
                      <a:pt x="26849" y="91937"/>
                    </a:lnTo>
                    <a:cubicBezTo>
                      <a:pt x="28440" y="100971"/>
                      <a:pt x="31748" y="107588"/>
                      <a:pt x="36647" y="111787"/>
                    </a:cubicBezTo>
                    <a:cubicBezTo>
                      <a:pt x="41546" y="115986"/>
                      <a:pt x="48227" y="118150"/>
                      <a:pt x="56625" y="118150"/>
                    </a:cubicBezTo>
                    <a:cubicBezTo>
                      <a:pt x="65533" y="118150"/>
                      <a:pt x="72213" y="116304"/>
                      <a:pt x="76730" y="112487"/>
                    </a:cubicBezTo>
                    <a:cubicBezTo>
                      <a:pt x="81248" y="108733"/>
                      <a:pt x="83475" y="104343"/>
                      <a:pt x="83475" y="99317"/>
                    </a:cubicBezTo>
                    <a:cubicBezTo>
                      <a:pt x="83475" y="96072"/>
                      <a:pt x="82520" y="93336"/>
                      <a:pt x="80611" y="91046"/>
                    </a:cubicBezTo>
                    <a:cubicBezTo>
                      <a:pt x="78703" y="88755"/>
                      <a:pt x="75394" y="86783"/>
                      <a:pt x="70686" y="85129"/>
                    </a:cubicBezTo>
                    <a:cubicBezTo>
                      <a:pt x="67441" y="83984"/>
                      <a:pt x="60125" y="82011"/>
                      <a:pt x="48609" y="79148"/>
                    </a:cubicBezTo>
                    <a:cubicBezTo>
                      <a:pt x="33848" y="75458"/>
                      <a:pt x="23414" y="71004"/>
                      <a:pt x="17497" y="65660"/>
                    </a:cubicBezTo>
                    <a:cubicBezTo>
                      <a:pt x="9098" y="58152"/>
                      <a:pt x="4899" y="48990"/>
                      <a:pt x="4899" y="38174"/>
                    </a:cubicBezTo>
                    <a:cubicBezTo>
                      <a:pt x="4899" y="31239"/>
                      <a:pt x="6871" y="24686"/>
                      <a:pt x="10816" y="18642"/>
                    </a:cubicBezTo>
                    <a:cubicBezTo>
                      <a:pt x="14761" y="12598"/>
                      <a:pt x="20423" y="7953"/>
                      <a:pt x="27867" y="4772"/>
                    </a:cubicBezTo>
                    <a:cubicBezTo>
                      <a:pt x="35311" y="1591"/>
                      <a:pt x="44282" y="0"/>
                      <a:pt x="54780" y="0"/>
                    </a:cubicBezTo>
                    <a:cubicBezTo>
                      <a:pt x="71959" y="0"/>
                      <a:pt x="84811" y="3754"/>
                      <a:pt x="93527" y="11262"/>
                    </a:cubicBezTo>
                    <a:cubicBezTo>
                      <a:pt x="102244" y="18769"/>
                      <a:pt x="106761" y="28822"/>
                      <a:pt x="107206" y="41356"/>
                    </a:cubicBezTo>
                    <a:lnTo>
                      <a:pt x="79593" y="42564"/>
                    </a:lnTo>
                    <a:cubicBezTo>
                      <a:pt x="78385" y="35566"/>
                      <a:pt x="75903" y="30476"/>
                      <a:pt x="72022" y="27422"/>
                    </a:cubicBezTo>
                    <a:cubicBezTo>
                      <a:pt x="68141" y="24368"/>
                      <a:pt x="62288" y="22841"/>
                      <a:pt x="54526" y="22841"/>
                    </a:cubicBezTo>
                    <a:cubicBezTo>
                      <a:pt x="46509" y="22841"/>
                      <a:pt x="40210" y="24495"/>
                      <a:pt x="35693" y="27804"/>
                    </a:cubicBezTo>
                    <a:cubicBezTo>
                      <a:pt x="32766" y="29903"/>
                      <a:pt x="31303" y="32766"/>
                      <a:pt x="31303" y="36266"/>
                    </a:cubicBezTo>
                    <a:cubicBezTo>
                      <a:pt x="31303" y="39510"/>
                      <a:pt x="32639" y="42246"/>
                      <a:pt x="35375" y="44537"/>
                    </a:cubicBezTo>
                    <a:cubicBezTo>
                      <a:pt x="38874" y="47463"/>
                      <a:pt x="47336" y="50517"/>
                      <a:pt x="60697" y="53699"/>
                    </a:cubicBezTo>
                    <a:cubicBezTo>
                      <a:pt x="74058" y="56880"/>
                      <a:pt x="84047" y="60125"/>
                      <a:pt x="90473" y="63560"/>
                    </a:cubicBezTo>
                    <a:cubicBezTo>
                      <a:pt x="96899" y="66932"/>
                      <a:pt x="101926" y="71577"/>
                      <a:pt x="105552" y="77430"/>
                    </a:cubicBezTo>
                    <a:cubicBezTo>
                      <a:pt x="109179" y="83284"/>
                      <a:pt x="111024" y="90537"/>
                      <a:pt x="111024" y="99190"/>
                    </a:cubicBezTo>
                    <a:cubicBezTo>
                      <a:pt x="111024" y="107015"/>
                      <a:pt x="108861" y="114332"/>
                      <a:pt x="104470" y="121204"/>
                    </a:cubicBezTo>
                    <a:cubicBezTo>
                      <a:pt x="100080" y="128075"/>
                      <a:pt x="93973" y="133101"/>
                      <a:pt x="86020" y="136473"/>
                    </a:cubicBezTo>
                    <a:cubicBezTo>
                      <a:pt x="78067" y="139782"/>
                      <a:pt x="68141" y="141436"/>
                      <a:pt x="56307" y="141436"/>
                    </a:cubicBezTo>
                    <a:cubicBezTo>
                      <a:pt x="39065" y="141436"/>
                      <a:pt x="25768" y="137428"/>
                      <a:pt x="16542" y="129475"/>
                    </a:cubicBezTo>
                    <a:cubicBezTo>
                      <a:pt x="7317" y="121522"/>
                      <a:pt x="1781" y="109879"/>
                      <a:pt x="0" y="94545"/>
                    </a:cubicBezTo>
                    <a:close/>
                  </a:path>
                </a:pathLst>
              </a:custGeom>
              <a:grpFill/>
              <a:ln w="6361" cap="flat">
                <a:noFill/>
                <a:prstDash val="solid"/>
                <a:miter/>
              </a:ln>
            </p:spPr>
            <p:txBody>
              <a:bodyPr rtlCol="0" anchor="ctr"/>
              <a:lstStyle/>
              <a:p>
                <a:endParaRPr lang="da-DK"/>
              </a:p>
            </p:txBody>
          </p:sp>
          <p:sp>
            <p:nvSpPr>
              <p:cNvPr id="196" name="Freeform: Shape 195">
                <a:extLst>
                  <a:ext uri="{FF2B5EF4-FFF2-40B4-BE49-F238E27FC236}">
                    <a16:creationId xmlns:a16="http://schemas.microsoft.com/office/drawing/2014/main" id="{3B59CE1C-DDCC-47F2-89E3-9667EC5FE4F4}"/>
                  </a:ext>
                </a:extLst>
              </p:cNvPr>
              <p:cNvSpPr/>
              <p:nvPr/>
            </p:nvSpPr>
            <p:spPr>
              <a:xfrm>
                <a:off x="1689217" y="3239718"/>
                <a:ext cx="27612" cy="136600"/>
              </a:xfrm>
              <a:custGeom>
                <a:avLst/>
                <a:gdLst>
                  <a:gd name="connsiteX0" fmla="*/ 0 w 27612"/>
                  <a:gd name="connsiteY0" fmla="*/ 136601 h 136600"/>
                  <a:gd name="connsiteX1" fmla="*/ 0 w 27612"/>
                  <a:gd name="connsiteY1" fmla="*/ 0 h 136600"/>
                  <a:gd name="connsiteX2" fmla="*/ 27613 w 27612"/>
                  <a:gd name="connsiteY2" fmla="*/ 0 h 136600"/>
                  <a:gd name="connsiteX3" fmla="*/ 27613 w 27612"/>
                  <a:gd name="connsiteY3" fmla="*/ 136601 h 136600"/>
                  <a:gd name="connsiteX4" fmla="*/ 0 w 27612"/>
                  <a:gd name="connsiteY4" fmla="*/ 136601 h 1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12" h="136600">
                    <a:moveTo>
                      <a:pt x="0" y="136601"/>
                    </a:moveTo>
                    <a:lnTo>
                      <a:pt x="0" y="0"/>
                    </a:lnTo>
                    <a:lnTo>
                      <a:pt x="27613" y="0"/>
                    </a:lnTo>
                    <a:lnTo>
                      <a:pt x="27613" y="136601"/>
                    </a:lnTo>
                    <a:lnTo>
                      <a:pt x="0" y="136601"/>
                    </a:lnTo>
                    <a:close/>
                  </a:path>
                </a:pathLst>
              </a:custGeom>
              <a:grpFill/>
              <a:ln w="6361" cap="flat">
                <a:noFill/>
                <a:prstDash val="solid"/>
                <a:miter/>
              </a:ln>
            </p:spPr>
            <p:txBody>
              <a:bodyPr rtlCol="0" anchor="ctr"/>
              <a:lstStyle/>
              <a:p>
                <a:endParaRPr lang="da-DK"/>
              </a:p>
            </p:txBody>
          </p:sp>
          <p:sp>
            <p:nvSpPr>
              <p:cNvPr id="197" name="Freeform: Shape 196">
                <a:extLst>
                  <a:ext uri="{FF2B5EF4-FFF2-40B4-BE49-F238E27FC236}">
                    <a16:creationId xmlns:a16="http://schemas.microsoft.com/office/drawing/2014/main" id="{FF2EC29B-B2ED-4852-BF14-2791FDFFEFAA}"/>
                  </a:ext>
                </a:extLst>
              </p:cNvPr>
              <p:cNvSpPr/>
              <p:nvPr/>
            </p:nvSpPr>
            <p:spPr>
              <a:xfrm>
                <a:off x="1736044" y="3237301"/>
                <a:ext cx="111087" cy="141435"/>
              </a:xfrm>
              <a:custGeom>
                <a:avLst/>
                <a:gdLst>
                  <a:gd name="connsiteX0" fmla="*/ 0 w 111087"/>
                  <a:gd name="connsiteY0" fmla="*/ 94545 h 141435"/>
                  <a:gd name="connsiteX1" fmla="*/ 26849 w 111087"/>
                  <a:gd name="connsiteY1" fmla="*/ 91937 h 141435"/>
                  <a:gd name="connsiteX2" fmla="*/ 36711 w 111087"/>
                  <a:gd name="connsiteY2" fmla="*/ 111787 h 141435"/>
                  <a:gd name="connsiteX3" fmla="*/ 56689 w 111087"/>
                  <a:gd name="connsiteY3" fmla="*/ 118150 h 141435"/>
                  <a:gd name="connsiteX4" fmla="*/ 76794 w 111087"/>
                  <a:gd name="connsiteY4" fmla="*/ 112487 h 141435"/>
                  <a:gd name="connsiteX5" fmla="*/ 83538 w 111087"/>
                  <a:gd name="connsiteY5" fmla="*/ 99317 h 141435"/>
                  <a:gd name="connsiteX6" fmla="*/ 80675 w 111087"/>
                  <a:gd name="connsiteY6" fmla="*/ 91046 h 141435"/>
                  <a:gd name="connsiteX7" fmla="*/ 70750 w 111087"/>
                  <a:gd name="connsiteY7" fmla="*/ 85129 h 141435"/>
                  <a:gd name="connsiteX8" fmla="*/ 48672 w 111087"/>
                  <a:gd name="connsiteY8" fmla="*/ 79148 h 141435"/>
                  <a:gd name="connsiteX9" fmla="*/ 17560 w 111087"/>
                  <a:gd name="connsiteY9" fmla="*/ 65660 h 141435"/>
                  <a:gd name="connsiteX10" fmla="*/ 4963 w 111087"/>
                  <a:gd name="connsiteY10" fmla="*/ 38174 h 141435"/>
                  <a:gd name="connsiteX11" fmla="*/ 10880 w 111087"/>
                  <a:gd name="connsiteY11" fmla="*/ 18642 h 141435"/>
                  <a:gd name="connsiteX12" fmla="*/ 27931 w 111087"/>
                  <a:gd name="connsiteY12" fmla="*/ 4772 h 141435"/>
                  <a:gd name="connsiteX13" fmla="*/ 54844 w 111087"/>
                  <a:gd name="connsiteY13" fmla="*/ 0 h 141435"/>
                  <a:gd name="connsiteX14" fmla="*/ 93591 w 111087"/>
                  <a:gd name="connsiteY14" fmla="*/ 11262 h 141435"/>
                  <a:gd name="connsiteX15" fmla="*/ 107270 w 111087"/>
                  <a:gd name="connsiteY15" fmla="*/ 41356 h 141435"/>
                  <a:gd name="connsiteX16" fmla="*/ 79657 w 111087"/>
                  <a:gd name="connsiteY16" fmla="*/ 42564 h 141435"/>
                  <a:gd name="connsiteX17" fmla="*/ 72086 w 111087"/>
                  <a:gd name="connsiteY17" fmla="*/ 27422 h 141435"/>
                  <a:gd name="connsiteX18" fmla="*/ 54589 w 111087"/>
                  <a:gd name="connsiteY18" fmla="*/ 22841 h 141435"/>
                  <a:gd name="connsiteX19" fmla="*/ 35757 w 111087"/>
                  <a:gd name="connsiteY19" fmla="*/ 27804 h 141435"/>
                  <a:gd name="connsiteX20" fmla="*/ 31367 w 111087"/>
                  <a:gd name="connsiteY20" fmla="*/ 36266 h 141435"/>
                  <a:gd name="connsiteX21" fmla="*/ 35439 w 111087"/>
                  <a:gd name="connsiteY21" fmla="*/ 44537 h 141435"/>
                  <a:gd name="connsiteX22" fmla="*/ 60761 w 111087"/>
                  <a:gd name="connsiteY22" fmla="*/ 53699 h 141435"/>
                  <a:gd name="connsiteX23" fmla="*/ 90537 w 111087"/>
                  <a:gd name="connsiteY23" fmla="*/ 63560 h 141435"/>
                  <a:gd name="connsiteX24" fmla="*/ 105616 w 111087"/>
                  <a:gd name="connsiteY24" fmla="*/ 77430 h 141435"/>
                  <a:gd name="connsiteX25" fmla="*/ 111087 w 111087"/>
                  <a:gd name="connsiteY25" fmla="*/ 99190 h 141435"/>
                  <a:gd name="connsiteX26" fmla="*/ 104534 w 111087"/>
                  <a:gd name="connsiteY26" fmla="*/ 121204 h 141435"/>
                  <a:gd name="connsiteX27" fmla="*/ 86083 w 111087"/>
                  <a:gd name="connsiteY27" fmla="*/ 136473 h 141435"/>
                  <a:gd name="connsiteX28" fmla="*/ 56371 w 111087"/>
                  <a:gd name="connsiteY28" fmla="*/ 141436 h 141435"/>
                  <a:gd name="connsiteX29" fmla="*/ 16542 w 111087"/>
                  <a:gd name="connsiteY29" fmla="*/ 129475 h 141435"/>
                  <a:gd name="connsiteX30" fmla="*/ 0 w 111087"/>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87" h="141435">
                    <a:moveTo>
                      <a:pt x="0" y="94545"/>
                    </a:moveTo>
                    <a:lnTo>
                      <a:pt x="26849" y="91937"/>
                    </a:lnTo>
                    <a:cubicBezTo>
                      <a:pt x="28440" y="100971"/>
                      <a:pt x="31748" y="107588"/>
                      <a:pt x="36711" y="111787"/>
                    </a:cubicBezTo>
                    <a:cubicBezTo>
                      <a:pt x="41674" y="115986"/>
                      <a:pt x="48291" y="118150"/>
                      <a:pt x="56689" y="118150"/>
                    </a:cubicBezTo>
                    <a:cubicBezTo>
                      <a:pt x="65596" y="118150"/>
                      <a:pt x="72277" y="116304"/>
                      <a:pt x="76794" y="112487"/>
                    </a:cubicBezTo>
                    <a:cubicBezTo>
                      <a:pt x="81311" y="108733"/>
                      <a:pt x="83538" y="104343"/>
                      <a:pt x="83538" y="99317"/>
                    </a:cubicBezTo>
                    <a:cubicBezTo>
                      <a:pt x="83538" y="96072"/>
                      <a:pt x="82584" y="93336"/>
                      <a:pt x="80675" y="91046"/>
                    </a:cubicBezTo>
                    <a:cubicBezTo>
                      <a:pt x="78766" y="88755"/>
                      <a:pt x="75458" y="86783"/>
                      <a:pt x="70750" y="85129"/>
                    </a:cubicBezTo>
                    <a:cubicBezTo>
                      <a:pt x="67505" y="83984"/>
                      <a:pt x="60125" y="82011"/>
                      <a:pt x="48672" y="79148"/>
                    </a:cubicBezTo>
                    <a:cubicBezTo>
                      <a:pt x="33912" y="75458"/>
                      <a:pt x="23477" y="71004"/>
                      <a:pt x="17560" y="65660"/>
                    </a:cubicBezTo>
                    <a:cubicBezTo>
                      <a:pt x="9162" y="58152"/>
                      <a:pt x="4963" y="48990"/>
                      <a:pt x="4963" y="38174"/>
                    </a:cubicBezTo>
                    <a:cubicBezTo>
                      <a:pt x="4963" y="31239"/>
                      <a:pt x="6935" y="24686"/>
                      <a:pt x="10880" y="18642"/>
                    </a:cubicBezTo>
                    <a:cubicBezTo>
                      <a:pt x="14824" y="12598"/>
                      <a:pt x="20487" y="7953"/>
                      <a:pt x="27931" y="4772"/>
                    </a:cubicBezTo>
                    <a:cubicBezTo>
                      <a:pt x="35375" y="1591"/>
                      <a:pt x="44346" y="0"/>
                      <a:pt x="54844" y="0"/>
                    </a:cubicBezTo>
                    <a:cubicBezTo>
                      <a:pt x="72022" y="0"/>
                      <a:pt x="84874" y="3754"/>
                      <a:pt x="93591" y="11262"/>
                    </a:cubicBezTo>
                    <a:cubicBezTo>
                      <a:pt x="102307" y="18769"/>
                      <a:pt x="106825" y="28822"/>
                      <a:pt x="107270" y="41356"/>
                    </a:cubicBezTo>
                    <a:lnTo>
                      <a:pt x="79657" y="42564"/>
                    </a:lnTo>
                    <a:cubicBezTo>
                      <a:pt x="78448" y="35566"/>
                      <a:pt x="75967" y="30476"/>
                      <a:pt x="72086" y="27422"/>
                    </a:cubicBezTo>
                    <a:cubicBezTo>
                      <a:pt x="68205" y="24368"/>
                      <a:pt x="62351" y="22841"/>
                      <a:pt x="54589" y="22841"/>
                    </a:cubicBezTo>
                    <a:cubicBezTo>
                      <a:pt x="46573" y="22841"/>
                      <a:pt x="40274" y="24495"/>
                      <a:pt x="35757" y="27804"/>
                    </a:cubicBezTo>
                    <a:cubicBezTo>
                      <a:pt x="32830" y="29903"/>
                      <a:pt x="31367" y="32766"/>
                      <a:pt x="31367" y="36266"/>
                    </a:cubicBezTo>
                    <a:cubicBezTo>
                      <a:pt x="31367" y="39510"/>
                      <a:pt x="32703" y="42246"/>
                      <a:pt x="35439" y="44537"/>
                    </a:cubicBezTo>
                    <a:cubicBezTo>
                      <a:pt x="38938" y="47463"/>
                      <a:pt x="47400" y="50517"/>
                      <a:pt x="60761" y="53699"/>
                    </a:cubicBezTo>
                    <a:cubicBezTo>
                      <a:pt x="74122" y="56880"/>
                      <a:pt x="84111" y="60125"/>
                      <a:pt x="90537" y="63560"/>
                    </a:cubicBezTo>
                    <a:cubicBezTo>
                      <a:pt x="96963" y="66932"/>
                      <a:pt x="101989" y="71577"/>
                      <a:pt x="105616" y="77430"/>
                    </a:cubicBezTo>
                    <a:cubicBezTo>
                      <a:pt x="109242" y="83284"/>
                      <a:pt x="111087" y="90537"/>
                      <a:pt x="111087" y="99190"/>
                    </a:cubicBezTo>
                    <a:cubicBezTo>
                      <a:pt x="111087" y="107015"/>
                      <a:pt x="108924" y="114332"/>
                      <a:pt x="104534" y="121204"/>
                    </a:cubicBezTo>
                    <a:cubicBezTo>
                      <a:pt x="100144" y="128075"/>
                      <a:pt x="94036" y="133101"/>
                      <a:pt x="86083" y="136473"/>
                    </a:cubicBezTo>
                    <a:cubicBezTo>
                      <a:pt x="78130" y="139782"/>
                      <a:pt x="68205" y="141436"/>
                      <a:pt x="56371" y="141436"/>
                    </a:cubicBezTo>
                    <a:cubicBezTo>
                      <a:pt x="39129" y="141436"/>
                      <a:pt x="25831" y="137428"/>
                      <a:pt x="16542" y="129475"/>
                    </a:cubicBezTo>
                    <a:cubicBezTo>
                      <a:pt x="7380" y="121522"/>
                      <a:pt x="1845" y="109879"/>
                      <a:pt x="0" y="94545"/>
                    </a:cubicBezTo>
                    <a:close/>
                  </a:path>
                </a:pathLst>
              </a:custGeom>
              <a:grpFill/>
              <a:ln w="6361" cap="flat">
                <a:noFill/>
                <a:prstDash val="solid"/>
                <a:miter/>
              </a:ln>
            </p:spPr>
            <p:txBody>
              <a:bodyPr rtlCol="0" anchor="ctr"/>
              <a:lstStyle/>
              <a:p>
                <a:endParaRPr lang="da-DK"/>
              </a:p>
            </p:txBody>
          </p:sp>
        </p:grpSp>
        <p:grpSp>
          <p:nvGrpSpPr>
            <p:cNvPr id="136" name="Graphic 5">
              <a:extLst>
                <a:ext uri="{FF2B5EF4-FFF2-40B4-BE49-F238E27FC236}">
                  <a16:creationId xmlns:a16="http://schemas.microsoft.com/office/drawing/2014/main" id="{5CE08459-A461-41A7-A386-98767833848C}"/>
                </a:ext>
              </a:extLst>
            </p:cNvPr>
            <p:cNvGrpSpPr/>
            <p:nvPr/>
          </p:nvGrpSpPr>
          <p:grpSpPr>
            <a:xfrm>
              <a:off x="1202622" y="3457567"/>
              <a:ext cx="491876" cy="224401"/>
              <a:chOff x="1202622" y="3457567"/>
              <a:chExt cx="491876" cy="224401"/>
            </a:xfrm>
            <a:grpFill/>
          </p:grpSpPr>
          <p:sp>
            <p:nvSpPr>
              <p:cNvPr id="145" name="Freeform: Shape 144">
                <a:extLst>
                  <a:ext uri="{FF2B5EF4-FFF2-40B4-BE49-F238E27FC236}">
                    <a16:creationId xmlns:a16="http://schemas.microsoft.com/office/drawing/2014/main" id="{FEC06A92-DA19-4257-A721-377867D8BF62}"/>
                  </a:ext>
                </a:extLst>
              </p:cNvPr>
              <p:cNvSpPr/>
              <p:nvPr/>
            </p:nvSpPr>
            <p:spPr>
              <a:xfrm>
                <a:off x="1202622" y="3457567"/>
                <a:ext cx="28503" cy="45554"/>
              </a:xfrm>
              <a:custGeom>
                <a:avLst/>
                <a:gdLst>
                  <a:gd name="connsiteX0" fmla="*/ 0 w 28503"/>
                  <a:gd name="connsiteY0" fmla="*/ 45555 h 45554"/>
                  <a:gd name="connsiteX1" fmla="*/ 0 w 28503"/>
                  <a:gd name="connsiteY1" fmla="*/ 0 h 45554"/>
                  <a:gd name="connsiteX2" fmla="*/ 6044 w 28503"/>
                  <a:gd name="connsiteY2" fmla="*/ 0 h 45554"/>
                  <a:gd name="connsiteX3" fmla="*/ 6044 w 28503"/>
                  <a:gd name="connsiteY3" fmla="*/ 40147 h 45554"/>
                  <a:gd name="connsiteX4" fmla="*/ 28504 w 28503"/>
                  <a:gd name="connsiteY4" fmla="*/ 40147 h 45554"/>
                  <a:gd name="connsiteX5" fmla="*/ 28504 w 28503"/>
                  <a:gd name="connsiteY5" fmla="*/ 45491 h 45554"/>
                  <a:gd name="connsiteX6" fmla="*/ 0 w 28503"/>
                  <a:gd name="connsiteY6"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03" h="45554">
                    <a:moveTo>
                      <a:pt x="0" y="45555"/>
                    </a:moveTo>
                    <a:lnTo>
                      <a:pt x="0" y="0"/>
                    </a:lnTo>
                    <a:lnTo>
                      <a:pt x="6044" y="0"/>
                    </a:lnTo>
                    <a:lnTo>
                      <a:pt x="6044" y="40147"/>
                    </a:lnTo>
                    <a:lnTo>
                      <a:pt x="28504" y="40147"/>
                    </a:lnTo>
                    <a:lnTo>
                      <a:pt x="28504" y="45491"/>
                    </a:lnTo>
                    <a:lnTo>
                      <a:pt x="0" y="45491"/>
                    </a:lnTo>
                    <a:close/>
                  </a:path>
                </a:pathLst>
              </a:custGeom>
              <a:grpFill/>
              <a:ln w="6361" cap="flat">
                <a:noFill/>
                <a:prstDash val="solid"/>
                <a:miter/>
              </a:ln>
            </p:spPr>
            <p:txBody>
              <a:bodyPr rtlCol="0" anchor="ctr"/>
              <a:lstStyle/>
              <a:p>
                <a:endParaRPr lang="da-DK"/>
              </a:p>
            </p:txBody>
          </p:sp>
          <p:sp>
            <p:nvSpPr>
              <p:cNvPr id="146" name="Freeform: Shape 145">
                <a:extLst>
                  <a:ext uri="{FF2B5EF4-FFF2-40B4-BE49-F238E27FC236}">
                    <a16:creationId xmlns:a16="http://schemas.microsoft.com/office/drawing/2014/main" id="{C3A4CF0B-8AF5-465A-8E8C-3AA0345450A8}"/>
                  </a:ext>
                </a:extLst>
              </p:cNvPr>
              <p:cNvSpPr/>
              <p:nvPr/>
            </p:nvSpPr>
            <p:spPr>
              <a:xfrm>
                <a:off x="1235770"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grpFill/>
              <a:ln w="6361" cap="flat">
                <a:noFill/>
                <a:prstDash val="solid"/>
                <a:miter/>
              </a:ln>
            </p:spPr>
            <p:txBody>
              <a:bodyPr rtlCol="0" anchor="ctr"/>
              <a:lstStyle/>
              <a:p>
                <a:endParaRPr lang="da-DK"/>
              </a:p>
            </p:txBody>
          </p:sp>
          <p:sp>
            <p:nvSpPr>
              <p:cNvPr id="147" name="Freeform: Shape 146">
                <a:extLst>
                  <a:ext uri="{FF2B5EF4-FFF2-40B4-BE49-F238E27FC236}">
                    <a16:creationId xmlns:a16="http://schemas.microsoft.com/office/drawing/2014/main" id="{8ED1E6CD-5C0C-457D-B580-84BA39408297}"/>
                  </a:ext>
                </a:extLst>
              </p:cNvPr>
              <p:cNvSpPr/>
              <p:nvPr/>
            </p:nvSpPr>
            <p:spPr>
              <a:xfrm>
                <a:off x="126993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07 w 16033"/>
                  <a:gd name="connsiteY11" fmla="*/ 0 h 44918"/>
                  <a:gd name="connsiteX12" fmla="*/ 9607 w 16033"/>
                  <a:gd name="connsiteY12" fmla="*/ 11516 h 44918"/>
                  <a:gd name="connsiteX13" fmla="*/ 15206 w 16033"/>
                  <a:gd name="connsiteY13" fmla="*/ 11516 h 44918"/>
                  <a:gd name="connsiteX14" fmla="*/ 15206 w 16033"/>
                  <a:gd name="connsiteY14" fmla="*/ 15842 h 44918"/>
                  <a:gd name="connsiteX15" fmla="*/ 9607 w 16033"/>
                  <a:gd name="connsiteY15" fmla="*/ 15842 h 44918"/>
                  <a:gd name="connsiteX16" fmla="*/ 9607 w 16033"/>
                  <a:gd name="connsiteY16" fmla="*/ 35120 h 44918"/>
                  <a:gd name="connsiteX17" fmla="*/ 9925 w 16033"/>
                  <a:gd name="connsiteY17" fmla="*/ 38174 h 44918"/>
                  <a:gd name="connsiteX18" fmla="*/ 10880 w 16033"/>
                  <a:gd name="connsiteY18" fmla="*/ 39256 h 44918"/>
                  <a:gd name="connsiteX19" fmla="*/ 12788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07" y="0"/>
                    </a:lnTo>
                    <a:lnTo>
                      <a:pt x="9607" y="11516"/>
                    </a:lnTo>
                    <a:lnTo>
                      <a:pt x="15206" y="11516"/>
                    </a:lnTo>
                    <a:lnTo>
                      <a:pt x="15206" y="15842"/>
                    </a:lnTo>
                    <a:lnTo>
                      <a:pt x="9607" y="15842"/>
                    </a:lnTo>
                    <a:lnTo>
                      <a:pt x="9607" y="35120"/>
                    </a:lnTo>
                    <a:cubicBezTo>
                      <a:pt x="9607" y="36711"/>
                      <a:pt x="9734" y="37729"/>
                      <a:pt x="9925" y="38174"/>
                    </a:cubicBezTo>
                    <a:cubicBezTo>
                      <a:pt x="10116" y="38620"/>
                      <a:pt x="10434" y="39001"/>
                      <a:pt x="10880" y="39256"/>
                    </a:cubicBezTo>
                    <a:cubicBezTo>
                      <a:pt x="11325" y="39510"/>
                      <a:pt x="11961" y="39638"/>
                      <a:pt x="12788" y="39638"/>
                    </a:cubicBezTo>
                    <a:cubicBezTo>
                      <a:pt x="13361" y="39638"/>
                      <a:pt x="14188" y="39574"/>
                      <a:pt x="15206" y="39447"/>
                    </a:cubicBezTo>
                    <a:close/>
                  </a:path>
                </a:pathLst>
              </a:custGeom>
              <a:grpFill/>
              <a:ln w="6361" cap="flat">
                <a:noFill/>
                <a:prstDash val="solid"/>
                <a:miter/>
              </a:ln>
            </p:spPr>
            <p:txBody>
              <a:bodyPr rtlCol="0" anchor="ctr"/>
              <a:lstStyle/>
              <a:p>
                <a:endParaRPr lang="da-DK"/>
              </a:p>
            </p:txBody>
          </p:sp>
          <p:sp>
            <p:nvSpPr>
              <p:cNvPr id="148" name="Freeform: Shape 147">
                <a:extLst>
                  <a:ext uri="{FF2B5EF4-FFF2-40B4-BE49-F238E27FC236}">
                    <a16:creationId xmlns:a16="http://schemas.microsoft.com/office/drawing/2014/main" id="{E7A7E626-0448-4F87-B43D-8A8C702D3A9A}"/>
                  </a:ext>
                </a:extLst>
              </p:cNvPr>
              <p:cNvSpPr/>
              <p:nvPr/>
            </p:nvSpPr>
            <p:spPr>
              <a:xfrm>
                <a:off x="1287623"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grpFill/>
              <a:ln w="6361" cap="flat">
                <a:noFill/>
                <a:prstDash val="solid"/>
                <a:miter/>
              </a:ln>
            </p:spPr>
            <p:txBody>
              <a:bodyPr rtlCol="0" anchor="ctr"/>
              <a:lstStyle/>
              <a:p>
                <a:endParaRPr lang="da-DK"/>
              </a:p>
            </p:txBody>
          </p:sp>
          <p:sp>
            <p:nvSpPr>
              <p:cNvPr id="149" name="Freeform: Shape 148">
                <a:extLst>
                  <a:ext uri="{FF2B5EF4-FFF2-40B4-BE49-F238E27FC236}">
                    <a16:creationId xmlns:a16="http://schemas.microsoft.com/office/drawing/2014/main" id="{2CFFDAED-0B89-4932-88E2-6581D568E3BA}"/>
                  </a:ext>
                </a:extLst>
              </p:cNvPr>
              <p:cNvSpPr/>
              <p:nvPr/>
            </p:nvSpPr>
            <p:spPr>
              <a:xfrm>
                <a:off x="1306456" y="3469401"/>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grpFill/>
              <a:ln w="6361" cap="flat">
                <a:noFill/>
                <a:prstDash val="solid"/>
                <a:miter/>
              </a:ln>
            </p:spPr>
            <p:txBody>
              <a:bodyPr rtlCol="0" anchor="ctr"/>
              <a:lstStyle/>
              <a:p>
                <a:endParaRPr lang="da-DK"/>
              </a:p>
            </p:txBody>
          </p:sp>
          <p:sp>
            <p:nvSpPr>
              <p:cNvPr id="150" name="Freeform: Shape 149">
                <a:extLst>
                  <a:ext uri="{FF2B5EF4-FFF2-40B4-BE49-F238E27FC236}">
                    <a16:creationId xmlns:a16="http://schemas.microsoft.com/office/drawing/2014/main" id="{3957E977-7CF3-452A-9CC7-11DA575B61C6}"/>
                  </a:ext>
                </a:extLst>
              </p:cNvPr>
              <p:cNvSpPr/>
              <p:nvPr/>
            </p:nvSpPr>
            <p:spPr>
              <a:xfrm>
                <a:off x="1343612" y="3469337"/>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3"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51" name="Freeform: Shape 150">
                <a:extLst>
                  <a:ext uri="{FF2B5EF4-FFF2-40B4-BE49-F238E27FC236}">
                    <a16:creationId xmlns:a16="http://schemas.microsoft.com/office/drawing/2014/main" id="{51738BEE-CC4D-4A89-B512-66F928AE4EFD}"/>
                  </a:ext>
                </a:extLst>
              </p:cNvPr>
              <p:cNvSpPr/>
              <p:nvPr/>
            </p:nvSpPr>
            <p:spPr>
              <a:xfrm>
                <a:off x="1363081"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663 w 30412"/>
                  <a:gd name="connsiteY11" fmla="*/ 18642 h 34484"/>
                  <a:gd name="connsiteX12" fmla="*/ 8716 w 30412"/>
                  <a:gd name="connsiteY12" fmla="*/ 26976 h 34484"/>
                  <a:gd name="connsiteX13" fmla="*/ 15588 w 30412"/>
                  <a:gd name="connsiteY13" fmla="*/ 29840 h 34484"/>
                  <a:gd name="connsiteX14" fmla="*/ 20869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663" y="18642"/>
                    </a:lnTo>
                    <a:cubicBezTo>
                      <a:pt x="5853" y="22268"/>
                      <a:pt x="6871" y="25068"/>
                      <a:pt x="8716" y="26976"/>
                    </a:cubicBezTo>
                    <a:cubicBezTo>
                      <a:pt x="10562" y="28885"/>
                      <a:pt x="12852" y="29840"/>
                      <a:pt x="15588" y="29840"/>
                    </a:cubicBezTo>
                    <a:cubicBezTo>
                      <a:pt x="17624" y="29840"/>
                      <a:pt x="19405" y="29331"/>
                      <a:pt x="20869"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grpFill/>
              <a:ln w="6361" cap="flat">
                <a:noFill/>
                <a:prstDash val="solid"/>
                <a:miter/>
              </a:ln>
            </p:spPr>
            <p:txBody>
              <a:bodyPr rtlCol="0" anchor="ctr"/>
              <a:lstStyle/>
              <a:p>
                <a:endParaRPr lang="da-DK"/>
              </a:p>
            </p:txBody>
          </p:sp>
          <p:sp>
            <p:nvSpPr>
              <p:cNvPr id="152" name="Freeform: Shape 151">
                <a:extLst>
                  <a:ext uri="{FF2B5EF4-FFF2-40B4-BE49-F238E27FC236}">
                    <a16:creationId xmlns:a16="http://schemas.microsoft.com/office/drawing/2014/main" id="{895DA46F-9872-465A-A46C-75AA3CD3FC5C}"/>
                  </a:ext>
                </a:extLst>
              </p:cNvPr>
              <p:cNvSpPr/>
              <p:nvPr/>
            </p:nvSpPr>
            <p:spPr>
              <a:xfrm>
                <a:off x="1415698" y="3469337"/>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53" name="Freeform: Shape 152">
                <a:extLst>
                  <a:ext uri="{FF2B5EF4-FFF2-40B4-BE49-F238E27FC236}">
                    <a16:creationId xmlns:a16="http://schemas.microsoft.com/office/drawing/2014/main" id="{31C898CE-2D3F-4E41-A403-9041804D843F}"/>
                  </a:ext>
                </a:extLst>
              </p:cNvPr>
              <p:cNvSpPr/>
              <p:nvPr/>
            </p:nvSpPr>
            <p:spPr>
              <a:xfrm>
                <a:off x="144674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8"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grpFill/>
              <a:ln w="6361" cap="flat">
                <a:noFill/>
                <a:prstDash val="solid"/>
                <a:miter/>
              </a:ln>
            </p:spPr>
            <p:txBody>
              <a:bodyPr rtlCol="0" anchor="ctr"/>
              <a:lstStyle/>
              <a:p>
                <a:endParaRPr lang="da-DK"/>
              </a:p>
            </p:txBody>
          </p:sp>
          <p:sp>
            <p:nvSpPr>
              <p:cNvPr id="154" name="Freeform: Shape 153">
                <a:extLst>
                  <a:ext uri="{FF2B5EF4-FFF2-40B4-BE49-F238E27FC236}">
                    <a16:creationId xmlns:a16="http://schemas.microsoft.com/office/drawing/2014/main" id="{08AD43DD-E658-4E3A-B1A2-7AD18CDBC1A4}"/>
                  </a:ext>
                </a:extLst>
              </p:cNvPr>
              <p:cNvSpPr/>
              <p:nvPr/>
            </p:nvSpPr>
            <p:spPr>
              <a:xfrm>
                <a:off x="1467297" y="3470164"/>
                <a:ext cx="26658" cy="33720"/>
              </a:xfrm>
              <a:custGeom>
                <a:avLst/>
                <a:gdLst>
                  <a:gd name="connsiteX0" fmla="*/ 21696 w 26658"/>
                  <a:gd name="connsiteY0" fmla="*/ 32957 h 33720"/>
                  <a:gd name="connsiteX1" fmla="*/ 21696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696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696" y="32957"/>
                    </a:moveTo>
                    <a:lnTo>
                      <a:pt x="21696" y="28122"/>
                    </a:lnTo>
                    <a:cubicBezTo>
                      <a:pt x="19151" y="31876"/>
                      <a:pt x="15651"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35" y="25704"/>
                      <a:pt x="6999" y="26849"/>
                      <a:pt x="8144" y="27676"/>
                    </a:cubicBezTo>
                    <a:cubicBezTo>
                      <a:pt x="9289" y="28504"/>
                      <a:pt x="10689" y="28949"/>
                      <a:pt x="12343" y="28949"/>
                    </a:cubicBezTo>
                    <a:cubicBezTo>
                      <a:pt x="13997" y="28949"/>
                      <a:pt x="15588" y="28504"/>
                      <a:pt x="17051" y="27676"/>
                    </a:cubicBezTo>
                    <a:cubicBezTo>
                      <a:pt x="18514" y="26849"/>
                      <a:pt x="19532" y="25640"/>
                      <a:pt x="20169" y="24177"/>
                    </a:cubicBezTo>
                    <a:cubicBezTo>
                      <a:pt x="20805" y="22714"/>
                      <a:pt x="21059" y="20551"/>
                      <a:pt x="21059" y="17751"/>
                    </a:cubicBezTo>
                    <a:lnTo>
                      <a:pt x="21059" y="64"/>
                    </a:lnTo>
                    <a:lnTo>
                      <a:pt x="26658" y="64"/>
                    </a:lnTo>
                    <a:lnTo>
                      <a:pt x="26658" y="33085"/>
                    </a:lnTo>
                    <a:lnTo>
                      <a:pt x="21696" y="33085"/>
                    </a:lnTo>
                    <a:close/>
                  </a:path>
                </a:pathLst>
              </a:custGeom>
              <a:grpFill/>
              <a:ln w="6361" cap="flat">
                <a:noFill/>
                <a:prstDash val="solid"/>
                <a:miter/>
              </a:ln>
            </p:spPr>
            <p:txBody>
              <a:bodyPr rtlCol="0" anchor="ctr"/>
              <a:lstStyle/>
              <a:p>
                <a:endParaRPr lang="da-DK"/>
              </a:p>
            </p:txBody>
          </p:sp>
          <p:sp>
            <p:nvSpPr>
              <p:cNvPr id="155" name="Freeform: Shape 154">
                <a:extLst>
                  <a:ext uri="{FF2B5EF4-FFF2-40B4-BE49-F238E27FC236}">
                    <a16:creationId xmlns:a16="http://schemas.microsoft.com/office/drawing/2014/main" id="{5AEA35FA-232D-4B56-A86D-E76B8FD69E70}"/>
                  </a:ext>
                </a:extLst>
              </p:cNvPr>
              <p:cNvSpPr/>
              <p:nvPr/>
            </p:nvSpPr>
            <p:spPr>
              <a:xfrm>
                <a:off x="1500700" y="3457567"/>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8"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grpFill/>
              <a:ln w="6361" cap="flat">
                <a:noFill/>
                <a:prstDash val="solid"/>
                <a:miter/>
              </a:ln>
            </p:spPr>
            <p:txBody>
              <a:bodyPr rtlCol="0" anchor="ctr"/>
              <a:lstStyle/>
              <a:p>
                <a:endParaRPr lang="da-DK"/>
              </a:p>
            </p:txBody>
          </p:sp>
          <p:sp>
            <p:nvSpPr>
              <p:cNvPr id="156" name="Freeform: Shape 155">
                <a:extLst>
                  <a:ext uri="{FF2B5EF4-FFF2-40B4-BE49-F238E27FC236}">
                    <a16:creationId xmlns:a16="http://schemas.microsoft.com/office/drawing/2014/main" id="{6777F292-6F73-406E-9627-1CE0E97E4234}"/>
                  </a:ext>
                </a:extLst>
              </p:cNvPr>
              <p:cNvSpPr/>
              <p:nvPr/>
            </p:nvSpPr>
            <p:spPr>
              <a:xfrm>
                <a:off x="1538238"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grpFill/>
              <a:ln w="6361" cap="flat">
                <a:noFill/>
                <a:prstDash val="solid"/>
                <a:miter/>
              </a:ln>
            </p:spPr>
            <p:txBody>
              <a:bodyPr rtlCol="0" anchor="ctr"/>
              <a:lstStyle/>
              <a:p>
                <a:endParaRPr lang="da-DK"/>
              </a:p>
            </p:txBody>
          </p:sp>
          <p:sp>
            <p:nvSpPr>
              <p:cNvPr id="157" name="Freeform: Shape 156">
                <a:extLst>
                  <a:ext uri="{FF2B5EF4-FFF2-40B4-BE49-F238E27FC236}">
                    <a16:creationId xmlns:a16="http://schemas.microsoft.com/office/drawing/2014/main" id="{CB3E1891-2EAA-4690-B238-DFB8AC690D41}"/>
                  </a:ext>
                </a:extLst>
              </p:cNvPr>
              <p:cNvSpPr/>
              <p:nvPr/>
            </p:nvSpPr>
            <p:spPr>
              <a:xfrm>
                <a:off x="1550517"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grpFill/>
              <a:ln w="6361" cap="flat">
                <a:noFill/>
                <a:prstDash val="solid"/>
                <a:miter/>
              </a:ln>
            </p:spPr>
            <p:txBody>
              <a:bodyPr rtlCol="0" anchor="ctr"/>
              <a:lstStyle/>
              <a:p>
                <a:endParaRPr lang="da-DK"/>
              </a:p>
            </p:txBody>
          </p:sp>
          <p:sp>
            <p:nvSpPr>
              <p:cNvPr id="158" name="Freeform: Shape 157">
                <a:extLst>
                  <a:ext uri="{FF2B5EF4-FFF2-40B4-BE49-F238E27FC236}">
                    <a16:creationId xmlns:a16="http://schemas.microsoft.com/office/drawing/2014/main" id="{D232F6BC-AD42-4C4E-943C-ECC6A1D3B561}"/>
                  </a:ext>
                </a:extLst>
              </p:cNvPr>
              <p:cNvSpPr/>
              <p:nvPr/>
            </p:nvSpPr>
            <p:spPr>
              <a:xfrm>
                <a:off x="1587546" y="3457567"/>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59" name="Freeform: Shape 158">
                <a:extLst>
                  <a:ext uri="{FF2B5EF4-FFF2-40B4-BE49-F238E27FC236}">
                    <a16:creationId xmlns:a16="http://schemas.microsoft.com/office/drawing/2014/main" id="{47408FE1-D8D1-45F6-A7BD-A1D4F55A94D8}"/>
                  </a:ext>
                </a:extLst>
              </p:cNvPr>
              <p:cNvSpPr/>
              <p:nvPr/>
            </p:nvSpPr>
            <p:spPr>
              <a:xfrm>
                <a:off x="1601862"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grpFill/>
              <a:ln w="6361" cap="flat">
                <a:noFill/>
                <a:prstDash val="solid"/>
                <a:miter/>
              </a:ln>
            </p:spPr>
            <p:txBody>
              <a:bodyPr rtlCol="0" anchor="ctr"/>
              <a:lstStyle/>
              <a:p>
                <a:endParaRPr lang="da-DK"/>
              </a:p>
            </p:txBody>
          </p:sp>
          <p:sp>
            <p:nvSpPr>
              <p:cNvPr id="160" name="Freeform: Shape 159">
                <a:extLst>
                  <a:ext uri="{FF2B5EF4-FFF2-40B4-BE49-F238E27FC236}">
                    <a16:creationId xmlns:a16="http://schemas.microsoft.com/office/drawing/2014/main" id="{525216FA-05BC-48D8-A059-F0C4AAB0EBA0}"/>
                  </a:ext>
                </a:extLst>
              </p:cNvPr>
              <p:cNvSpPr/>
              <p:nvPr/>
            </p:nvSpPr>
            <p:spPr>
              <a:xfrm>
                <a:off x="1612614" y="3470100"/>
                <a:ext cx="30221" cy="33020"/>
              </a:xfrm>
              <a:custGeom>
                <a:avLst/>
                <a:gdLst>
                  <a:gd name="connsiteX0" fmla="*/ 12534 w 30221"/>
                  <a:gd name="connsiteY0" fmla="*/ 33021 h 33020"/>
                  <a:gd name="connsiteX1" fmla="*/ 0 w 30221"/>
                  <a:gd name="connsiteY1" fmla="*/ 0 h 33020"/>
                  <a:gd name="connsiteX2" fmla="*/ 5917 w 30221"/>
                  <a:gd name="connsiteY2" fmla="*/ 0 h 33020"/>
                  <a:gd name="connsiteX3" fmla="*/ 12979 w 30221"/>
                  <a:gd name="connsiteY3" fmla="*/ 19787 h 33020"/>
                  <a:gd name="connsiteX4" fmla="*/ 15079 w 30221"/>
                  <a:gd name="connsiteY4" fmla="*/ 26404 h 33020"/>
                  <a:gd name="connsiteX5" fmla="*/ 17178 w 30221"/>
                  <a:gd name="connsiteY5" fmla="*/ 20105 h 33020"/>
                  <a:gd name="connsiteX6" fmla="*/ 24495 w 30221"/>
                  <a:gd name="connsiteY6" fmla="*/ 0 h 33020"/>
                  <a:gd name="connsiteX7" fmla="*/ 30221 w 30221"/>
                  <a:gd name="connsiteY7" fmla="*/ 0 h 33020"/>
                  <a:gd name="connsiteX8" fmla="*/ 17751 w 30221"/>
                  <a:gd name="connsiteY8" fmla="*/ 33021 h 33020"/>
                  <a:gd name="connsiteX9" fmla="*/ 12534 w 30221"/>
                  <a:gd name="connsiteY9" fmla="*/ 33021 h 3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21" h="33020">
                    <a:moveTo>
                      <a:pt x="12534" y="33021"/>
                    </a:moveTo>
                    <a:lnTo>
                      <a:pt x="0" y="0"/>
                    </a:lnTo>
                    <a:lnTo>
                      <a:pt x="5917" y="0"/>
                    </a:lnTo>
                    <a:lnTo>
                      <a:pt x="12979" y="19787"/>
                    </a:lnTo>
                    <a:cubicBezTo>
                      <a:pt x="13743" y="21887"/>
                      <a:pt x="14443" y="24114"/>
                      <a:pt x="15079" y="26404"/>
                    </a:cubicBezTo>
                    <a:cubicBezTo>
                      <a:pt x="15588" y="24686"/>
                      <a:pt x="16288" y="22587"/>
                      <a:pt x="17178" y="20105"/>
                    </a:cubicBezTo>
                    <a:lnTo>
                      <a:pt x="24495" y="0"/>
                    </a:lnTo>
                    <a:lnTo>
                      <a:pt x="30221" y="0"/>
                    </a:lnTo>
                    <a:lnTo>
                      <a:pt x="17751" y="33021"/>
                    </a:lnTo>
                    <a:lnTo>
                      <a:pt x="12534" y="33021"/>
                    </a:lnTo>
                    <a:close/>
                  </a:path>
                </a:pathLst>
              </a:custGeom>
              <a:grpFill/>
              <a:ln w="6361" cap="flat">
                <a:noFill/>
                <a:prstDash val="solid"/>
                <a:miter/>
              </a:ln>
            </p:spPr>
            <p:txBody>
              <a:bodyPr rtlCol="0" anchor="ctr"/>
              <a:lstStyle/>
              <a:p>
                <a:endParaRPr lang="da-DK"/>
              </a:p>
            </p:txBody>
          </p:sp>
          <p:sp>
            <p:nvSpPr>
              <p:cNvPr id="161" name="Freeform: Shape 160">
                <a:extLst>
                  <a:ext uri="{FF2B5EF4-FFF2-40B4-BE49-F238E27FC236}">
                    <a16:creationId xmlns:a16="http://schemas.microsoft.com/office/drawing/2014/main" id="{F45ADB97-3D03-4D39-805A-7339A56E584A}"/>
                  </a:ext>
                </a:extLst>
              </p:cNvPr>
              <p:cNvSpPr/>
              <p:nvPr/>
            </p:nvSpPr>
            <p:spPr>
              <a:xfrm>
                <a:off x="1644617" y="3496759"/>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grpFill/>
              <a:ln w="6361" cap="flat">
                <a:noFill/>
                <a:prstDash val="solid"/>
                <a:miter/>
              </a:ln>
            </p:spPr>
            <p:txBody>
              <a:bodyPr rtlCol="0" anchor="ctr"/>
              <a:lstStyle/>
              <a:p>
                <a:endParaRPr lang="da-DK"/>
              </a:p>
            </p:txBody>
          </p:sp>
          <p:sp>
            <p:nvSpPr>
              <p:cNvPr id="162" name="Freeform: Shape 161">
                <a:extLst>
                  <a:ext uri="{FF2B5EF4-FFF2-40B4-BE49-F238E27FC236}">
                    <a16:creationId xmlns:a16="http://schemas.microsoft.com/office/drawing/2014/main" id="{95853541-D172-461B-AEDC-3B68A48B70BA}"/>
                  </a:ext>
                </a:extLst>
              </p:cNvPr>
              <p:cNvSpPr/>
              <p:nvPr/>
            </p:nvSpPr>
            <p:spPr>
              <a:xfrm>
                <a:off x="1203194" y="3540278"/>
                <a:ext cx="30730" cy="45554"/>
              </a:xfrm>
              <a:custGeom>
                <a:avLst/>
                <a:gdLst>
                  <a:gd name="connsiteX0" fmla="*/ 0 w 30730"/>
                  <a:gd name="connsiteY0" fmla="*/ 45555 h 45554"/>
                  <a:gd name="connsiteX1" fmla="*/ 0 w 30730"/>
                  <a:gd name="connsiteY1" fmla="*/ 0 h 45554"/>
                  <a:gd name="connsiteX2" fmla="*/ 30730 w 30730"/>
                  <a:gd name="connsiteY2" fmla="*/ 0 h 45554"/>
                  <a:gd name="connsiteX3" fmla="*/ 30730 w 30730"/>
                  <a:gd name="connsiteY3" fmla="*/ 5344 h 45554"/>
                  <a:gd name="connsiteX4" fmla="*/ 6044 w 30730"/>
                  <a:gd name="connsiteY4" fmla="*/ 5344 h 45554"/>
                  <a:gd name="connsiteX5" fmla="*/ 6044 w 30730"/>
                  <a:gd name="connsiteY5" fmla="*/ 19469 h 45554"/>
                  <a:gd name="connsiteX6" fmla="*/ 27422 w 30730"/>
                  <a:gd name="connsiteY6" fmla="*/ 19469 h 45554"/>
                  <a:gd name="connsiteX7" fmla="*/ 27422 w 30730"/>
                  <a:gd name="connsiteY7" fmla="*/ 24813 h 45554"/>
                  <a:gd name="connsiteX8" fmla="*/ 6044 w 30730"/>
                  <a:gd name="connsiteY8" fmla="*/ 24813 h 45554"/>
                  <a:gd name="connsiteX9" fmla="*/ 6044 w 30730"/>
                  <a:gd name="connsiteY9" fmla="*/ 45491 h 45554"/>
                  <a:gd name="connsiteX10" fmla="*/ 0 w 30730"/>
                  <a:gd name="connsiteY10"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30" h="45554">
                    <a:moveTo>
                      <a:pt x="0" y="45555"/>
                    </a:moveTo>
                    <a:lnTo>
                      <a:pt x="0" y="0"/>
                    </a:lnTo>
                    <a:lnTo>
                      <a:pt x="30730" y="0"/>
                    </a:lnTo>
                    <a:lnTo>
                      <a:pt x="30730" y="5344"/>
                    </a:lnTo>
                    <a:lnTo>
                      <a:pt x="6044" y="5344"/>
                    </a:lnTo>
                    <a:lnTo>
                      <a:pt x="6044" y="19469"/>
                    </a:lnTo>
                    <a:lnTo>
                      <a:pt x="27422" y="19469"/>
                    </a:lnTo>
                    <a:lnTo>
                      <a:pt x="27422" y="24813"/>
                    </a:lnTo>
                    <a:lnTo>
                      <a:pt x="6044" y="24813"/>
                    </a:lnTo>
                    <a:lnTo>
                      <a:pt x="6044" y="45491"/>
                    </a:lnTo>
                    <a:lnTo>
                      <a:pt x="0" y="45491"/>
                    </a:lnTo>
                    <a:close/>
                  </a:path>
                </a:pathLst>
              </a:custGeom>
              <a:grpFill/>
              <a:ln w="6361" cap="flat">
                <a:noFill/>
                <a:prstDash val="solid"/>
                <a:miter/>
              </a:ln>
            </p:spPr>
            <p:txBody>
              <a:bodyPr rtlCol="0" anchor="ctr"/>
              <a:lstStyle/>
              <a:p>
                <a:endParaRPr lang="da-DK"/>
              </a:p>
            </p:txBody>
          </p:sp>
          <p:sp>
            <p:nvSpPr>
              <p:cNvPr id="163" name="Freeform: Shape 162">
                <a:extLst>
                  <a:ext uri="{FF2B5EF4-FFF2-40B4-BE49-F238E27FC236}">
                    <a16:creationId xmlns:a16="http://schemas.microsoft.com/office/drawing/2014/main" id="{F179A4C9-9B31-4D29-AA2F-B1B8EAA90777}"/>
                  </a:ext>
                </a:extLst>
              </p:cNvPr>
              <p:cNvSpPr/>
              <p:nvPr/>
            </p:nvSpPr>
            <p:spPr>
              <a:xfrm>
                <a:off x="1238824" y="3551921"/>
                <a:ext cx="51853" cy="34611"/>
              </a:xfrm>
              <a:custGeom>
                <a:avLst/>
                <a:gdLst>
                  <a:gd name="connsiteX0" fmla="*/ 51853 w 51853"/>
                  <a:gd name="connsiteY0" fmla="*/ 23795 h 34611"/>
                  <a:gd name="connsiteX1" fmla="*/ 46573 w 51853"/>
                  <a:gd name="connsiteY1" fmla="*/ 31812 h 34611"/>
                  <a:gd name="connsiteX2" fmla="*/ 37284 w 51853"/>
                  <a:gd name="connsiteY2" fmla="*/ 34611 h 34611"/>
                  <a:gd name="connsiteX3" fmla="*/ 30349 w 51853"/>
                  <a:gd name="connsiteY3" fmla="*/ 33148 h 34611"/>
                  <a:gd name="connsiteX4" fmla="*/ 25004 w 51853"/>
                  <a:gd name="connsiteY4" fmla="*/ 28503 h 34611"/>
                  <a:gd name="connsiteX5" fmla="*/ 18451 w 51853"/>
                  <a:gd name="connsiteY5" fmla="*/ 33148 h 34611"/>
                  <a:gd name="connsiteX6" fmla="*/ 11325 w 51853"/>
                  <a:gd name="connsiteY6" fmla="*/ 34611 h 34611"/>
                  <a:gd name="connsiteX7" fmla="*/ 2990 w 51853"/>
                  <a:gd name="connsiteY7" fmla="*/ 31875 h 34611"/>
                  <a:gd name="connsiteX8" fmla="*/ 0 w 51853"/>
                  <a:gd name="connsiteY8" fmla="*/ 25195 h 34611"/>
                  <a:gd name="connsiteX9" fmla="*/ 1527 w 51853"/>
                  <a:gd name="connsiteY9" fmla="*/ 20169 h 34611"/>
                  <a:gd name="connsiteX10" fmla="*/ 5790 w 51853"/>
                  <a:gd name="connsiteY10" fmla="*/ 16606 h 34611"/>
                  <a:gd name="connsiteX11" fmla="*/ 14570 w 51853"/>
                  <a:gd name="connsiteY11" fmla="*/ 14633 h 34611"/>
                  <a:gd name="connsiteX12" fmla="*/ 22396 w 51853"/>
                  <a:gd name="connsiteY12" fmla="*/ 13107 h 34611"/>
                  <a:gd name="connsiteX13" fmla="*/ 22459 w 51853"/>
                  <a:gd name="connsiteY13" fmla="*/ 11834 h 34611"/>
                  <a:gd name="connsiteX14" fmla="*/ 20805 w 51853"/>
                  <a:gd name="connsiteY14" fmla="*/ 6362 h 34611"/>
                  <a:gd name="connsiteX15" fmla="*/ 15079 w 51853"/>
                  <a:gd name="connsiteY15" fmla="*/ 4772 h 34611"/>
                  <a:gd name="connsiteX16" fmla="*/ 10498 w 51853"/>
                  <a:gd name="connsiteY16" fmla="*/ 5408 h 34611"/>
                  <a:gd name="connsiteX17" fmla="*/ 7762 w 51853"/>
                  <a:gd name="connsiteY17" fmla="*/ 7253 h 34611"/>
                  <a:gd name="connsiteX18" fmla="*/ 6299 w 51853"/>
                  <a:gd name="connsiteY18" fmla="*/ 11070 h 34611"/>
                  <a:gd name="connsiteX19" fmla="*/ 891 w 51853"/>
                  <a:gd name="connsiteY19" fmla="*/ 10434 h 34611"/>
                  <a:gd name="connsiteX20" fmla="*/ 3372 w 51853"/>
                  <a:gd name="connsiteY20" fmla="*/ 4644 h 34611"/>
                  <a:gd name="connsiteX21" fmla="*/ 8017 w 51853"/>
                  <a:gd name="connsiteY21" fmla="*/ 1272 h 34611"/>
                  <a:gd name="connsiteX22" fmla="*/ 15142 w 51853"/>
                  <a:gd name="connsiteY22" fmla="*/ 63 h 34611"/>
                  <a:gd name="connsiteX23" fmla="*/ 23477 w 51853"/>
                  <a:gd name="connsiteY23" fmla="*/ 1591 h 34611"/>
                  <a:gd name="connsiteX24" fmla="*/ 26531 w 51853"/>
                  <a:gd name="connsiteY24" fmla="*/ 4454 h 34611"/>
                  <a:gd name="connsiteX25" fmla="*/ 31048 w 51853"/>
                  <a:gd name="connsiteY25" fmla="*/ 1145 h 34611"/>
                  <a:gd name="connsiteX26" fmla="*/ 37156 w 51853"/>
                  <a:gd name="connsiteY26" fmla="*/ 0 h 34611"/>
                  <a:gd name="connsiteX27" fmla="*/ 45491 w 51853"/>
                  <a:gd name="connsiteY27" fmla="*/ 2418 h 34611"/>
                  <a:gd name="connsiteX28" fmla="*/ 50326 w 51853"/>
                  <a:gd name="connsiteY28" fmla="*/ 8844 h 34611"/>
                  <a:gd name="connsiteX29" fmla="*/ 51853 w 51853"/>
                  <a:gd name="connsiteY29" fmla="*/ 16733 h 34611"/>
                  <a:gd name="connsiteX30" fmla="*/ 51790 w 51853"/>
                  <a:gd name="connsiteY30" fmla="*/ 18642 h 34611"/>
                  <a:gd name="connsiteX31" fmla="*/ 28122 w 51853"/>
                  <a:gd name="connsiteY31" fmla="*/ 18642 h 34611"/>
                  <a:gd name="connsiteX32" fmla="*/ 29203 w 51853"/>
                  <a:gd name="connsiteY32" fmla="*/ 25131 h 34611"/>
                  <a:gd name="connsiteX33" fmla="*/ 32512 w 51853"/>
                  <a:gd name="connsiteY33" fmla="*/ 28503 h 34611"/>
                  <a:gd name="connsiteX34" fmla="*/ 37538 w 51853"/>
                  <a:gd name="connsiteY34" fmla="*/ 29840 h 34611"/>
                  <a:gd name="connsiteX35" fmla="*/ 42946 w 51853"/>
                  <a:gd name="connsiteY35" fmla="*/ 27994 h 34611"/>
                  <a:gd name="connsiteX36" fmla="*/ 46000 w 51853"/>
                  <a:gd name="connsiteY36" fmla="*/ 22841 h 34611"/>
                  <a:gd name="connsiteX37" fmla="*/ 51853 w 51853"/>
                  <a:gd name="connsiteY37" fmla="*/ 23795 h 34611"/>
                  <a:gd name="connsiteX38" fmla="*/ 22650 w 51853"/>
                  <a:gd name="connsiteY38" fmla="*/ 17306 h 34611"/>
                  <a:gd name="connsiteX39" fmla="*/ 12661 w 51853"/>
                  <a:gd name="connsiteY39" fmla="*/ 19596 h 34611"/>
                  <a:gd name="connsiteX40" fmla="*/ 7889 w 51853"/>
                  <a:gd name="connsiteY40" fmla="*/ 21187 h 34611"/>
                  <a:gd name="connsiteX41" fmla="*/ 6044 w 51853"/>
                  <a:gd name="connsiteY41" fmla="*/ 25004 h 34611"/>
                  <a:gd name="connsiteX42" fmla="*/ 7698 w 51853"/>
                  <a:gd name="connsiteY42" fmla="*/ 28694 h 34611"/>
                  <a:gd name="connsiteX43" fmla="*/ 12470 w 51853"/>
                  <a:gd name="connsiteY43" fmla="*/ 30221 h 34611"/>
                  <a:gd name="connsiteX44" fmla="*/ 18705 w 51853"/>
                  <a:gd name="connsiteY44" fmla="*/ 28440 h 34611"/>
                  <a:gd name="connsiteX45" fmla="*/ 22141 w 51853"/>
                  <a:gd name="connsiteY45" fmla="*/ 24050 h 34611"/>
                  <a:gd name="connsiteX46" fmla="*/ 22650 w 51853"/>
                  <a:gd name="connsiteY46" fmla="*/ 17306 h 34611"/>
                  <a:gd name="connsiteX47" fmla="*/ 28122 w 51853"/>
                  <a:gd name="connsiteY47" fmla="*/ 14188 h 34611"/>
                  <a:gd name="connsiteX48" fmla="*/ 46255 w 51853"/>
                  <a:gd name="connsiteY48" fmla="*/ 14188 h 34611"/>
                  <a:gd name="connsiteX49" fmla="*/ 43455 w 51853"/>
                  <a:gd name="connsiteY49" fmla="*/ 6999 h 34611"/>
                  <a:gd name="connsiteX50" fmla="*/ 37284 w 51853"/>
                  <a:gd name="connsiteY50" fmla="*/ 4708 h 34611"/>
                  <a:gd name="connsiteX51" fmla="*/ 30858 w 51853"/>
                  <a:gd name="connsiteY51" fmla="*/ 7190 h 34611"/>
                  <a:gd name="connsiteX52" fmla="*/ 28122 w 51853"/>
                  <a:gd name="connsiteY52" fmla="*/ 14188 h 3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853" h="34611">
                    <a:moveTo>
                      <a:pt x="51853" y="23795"/>
                    </a:moveTo>
                    <a:cubicBezTo>
                      <a:pt x="50835" y="27231"/>
                      <a:pt x="49054" y="29903"/>
                      <a:pt x="46573" y="31812"/>
                    </a:cubicBezTo>
                    <a:cubicBezTo>
                      <a:pt x="44091" y="33721"/>
                      <a:pt x="40974" y="34611"/>
                      <a:pt x="37284" y="34611"/>
                    </a:cubicBezTo>
                    <a:cubicBezTo>
                      <a:pt x="34675" y="34611"/>
                      <a:pt x="32321" y="34102"/>
                      <a:pt x="30349" y="33148"/>
                    </a:cubicBezTo>
                    <a:cubicBezTo>
                      <a:pt x="28376" y="32194"/>
                      <a:pt x="26595" y="30603"/>
                      <a:pt x="25004" y="28503"/>
                    </a:cubicBezTo>
                    <a:cubicBezTo>
                      <a:pt x="22841" y="30603"/>
                      <a:pt x="20678" y="32194"/>
                      <a:pt x="18451" y="33148"/>
                    </a:cubicBezTo>
                    <a:cubicBezTo>
                      <a:pt x="16224" y="34102"/>
                      <a:pt x="13870" y="34611"/>
                      <a:pt x="11325" y="34611"/>
                    </a:cubicBezTo>
                    <a:cubicBezTo>
                      <a:pt x="7762" y="34611"/>
                      <a:pt x="4963" y="33721"/>
                      <a:pt x="2990" y="31875"/>
                    </a:cubicBezTo>
                    <a:cubicBezTo>
                      <a:pt x="1018" y="30030"/>
                      <a:pt x="0" y="27804"/>
                      <a:pt x="0" y="25195"/>
                    </a:cubicBezTo>
                    <a:cubicBezTo>
                      <a:pt x="0" y="23414"/>
                      <a:pt x="509" y="21759"/>
                      <a:pt x="1527" y="20169"/>
                    </a:cubicBezTo>
                    <a:cubicBezTo>
                      <a:pt x="2545" y="18578"/>
                      <a:pt x="4008" y="17433"/>
                      <a:pt x="5790" y="16606"/>
                    </a:cubicBezTo>
                    <a:cubicBezTo>
                      <a:pt x="7571" y="15779"/>
                      <a:pt x="10562" y="15143"/>
                      <a:pt x="14570" y="14633"/>
                    </a:cubicBezTo>
                    <a:cubicBezTo>
                      <a:pt x="17687" y="14188"/>
                      <a:pt x="20296" y="13679"/>
                      <a:pt x="22396" y="13107"/>
                    </a:cubicBezTo>
                    <a:cubicBezTo>
                      <a:pt x="22396" y="12597"/>
                      <a:pt x="22459" y="12152"/>
                      <a:pt x="22459" y="11834"/>
                    </a:cubicBezTo>
                    <a:cubicBezTo>
                      <a:pt x="22459" y="9225"/>
                      <a:pt x="21887" y="7380"/>
                      <a:pt x="20805" y="6362"/>
                    </a:cubicBezTo>
                    <a:cubicBezTo>
                      <a:pt x="19723" y="5344"/>
                      <a:pt x="17815" y="4772"/>
                      <a:pt x="15079" y="4772"/>
                    </a:cubicBezTo>
                    <a:cubicBezTo>
                      <a:pt x="13297" y="4772"/>
                      <a:pt x="11770" y="4963"/>
                      <a:pt x="10498" y="5408"/>
                    </a:cubicBezTo>
                    <a:cubicBezTo>
                      <a:pt x="9225" y="5853"/>
                      <a:pt x="8335" y="6490"/>
                      <a:pt x="7762" y="7253"/>
                    </a:cubicBezTo>
                    <a:cubicBezTo>
                      <a:pt x="7189" y="8080"/>
                      <a:pt x="6680" y="9353"/>
                      <a:pt x="6299" y="11070"/>
                    </a:cubicBezTo>
                    <a:lnTo>
                      <a:pt x="891" y="10434"/>
                    </a:lnTo>
                    <a:cubicBezTo>
                      <a:pt x="1463" y="8016"/>
                      <a:pt x="2290" y="6108"/>
                      <a:pt x="3372" y="4644"/>
                    </a:cubicBezTo>
                    <a:cubicBezTo>
                      <a:pt x="4454" y="3245"/>
                      <a:pt x="6044" y="2100"/>
                      <a:pt x="8017" y="1272"/>
                    </a:cubicBezTo>
                    <a:cubicBezTo>
                      <a:pt x="10053" y="445"/>
                      <a:pt x="12407" y="63"/>
                      <a:pt x="15142" y="63"/>
                    </a:cubicBezTo>
                    <a:cubicBezTo>
                      <a:pt x="18578" y="63"/>
                      <a:pt x="21378" y="573"/>
                      <a:pt x="23477" y="1591"/>
                    </a:cubicBezTo>
                    <a:cubicBezTo>
                      <a:pt x="24686" y="2163"/>
                      <a:pt x="25704" y="3181"/>
                      <a:pt x="26531" y="4454"/>
                    </a:cubicBezTo>
                    <a:cubicBezTo>
                      <a:pt x="27867" y="2990"/>
                      <a:pt x="29331" y="1909"/>
                      <a:pt x="31048" y="1145"/>
                    </a:cubicBezTo>
                    <a:cubicBezTo>
                      <a:pt x="32703" y="382"/>
                      <a:pt x="34739" y="0"/>
                      <a:pt x="37156" y="0"/>
                    </a:cubicBezTo>
                    <a:cubicBezTo>
                      <a:pt x="40528" y="0"/>
                      <a:pt x="43264" y="827"/>
                      <a:pt x="45491" y="2418"/>
                    </a:cubicBezTo>
                    <a:cubicBezTo>
                      <a:pt x="47718" y="4008"/>
                      <a:pt x="49309" y="6172"/>
                      <a:pt x="50326" y="8844"/>
                    </a:cubicBezTo>
                    <a:cubicBezTo>
                      <a:pt x="51344" y="11516"/>
                      <a:pt x="51853" y="14125"/>
                      <a:pt x="51853" y="16733"/>
                    </a:cubicBezTo>
                    <a:cubicBezTo>
                      <a:pt x="51853" y="17115"/>
                      <a:pt x="51853" y="17751"/>
                      <a:pt x="51790" y="18642"/>
                    </a:cubicBezTo>
                    <a:lnTo>
                      <a:pt x="28122" y="18642"/>
                    </a:lnTo>
                    <a:cubicBezTo>
                      <a:pt x="28185" y="21632"/>
                      <a:pt x="28503" y="23795"/>
                      <a:pt x="29203" y="25131"/>
                    </a:cubicBezTo>
                    <a:cubicBezTo>
                      <a:pt x="29903" y="26468"/>
                      <a:pt x="30985" y="27613"/>
                      <a:pt x="32512" y="28503"/>
                    </a:cubicBezTo>
                    <a:cubicBezTo>
                      <a:pt x="34039" y="29394"/>
                      <a:pt x="35693" y="29840"/>
                      <a:pt x="37538" y="29840"/>
                    </a:cubicBezTo>
                    <a:cubicBezTo>
                      <a:pt x="39638" y="29840"/>
                      <a:pt x="41483" y="29203"/>
                      <a:pt x="42946" y="27994"/>
                    </a:cubicBezTo>
                    <a:cubicBezTo>
                      <a:pt x="44409" y="26786"/>
                      <a:pt x="45427" y="25068"/>
                      <a:pt x="46000" y="22841"/>
                    </a:cubicBezTo>
                    <a:lnTo>
                      <a:pt x="51853" y="23795"/>
                    </a:lnTo>
                    <a:close/>
                    <a:moveTo>
                      <a:pt x="22650" y="17306"/>
                    </a:moveTo>
                    <a:cubicBezTo>
                      <a:pt x="20996" y="18005"/>
                      <a:pt x="17687" y="18769"/>
                      <a:pt x="12661" y="19596"/>
                    </a:cubicBezTo>
                    <a:cubicBezTo>
                      <a:pt x="10371" y="19978"/>
                      <a:pt x="8844" y="20487"/>
                      <a:pt x="7889" y="21187"/>
                    </a:cubicBezTo>
                    <a:cubicBezTo>
                      <a:pt x="6680" y="22141"/>
                      <a:pt x="6044" y="23414"/>
                      <a:pt x="6044" y="25004"/>
                    </a:cubicBezTo>
                    <a:cubicBezTo>
                      <a:pt x="6044" y="26468"/>
                      <a:pt x="6617" y="27740"/>
                      <a:pt x="7698" y="28694"/>
                    </a:cubicBezTo>
                    <a:cubicBezTo>
                      <a:pt x="8780" y="29712"/>
                      <a:pt x="10371" y="30221"/>
                      <a:pt x="12470" y="30221"/>
                    </a:cubicBezTo>
                    <a:cubicBezTo>
                      <a:pt x="14888" y="30221"/>
                      <a:pt x="16924" y="29649"/>
                      <a:pt x="18705" y="28440"/>
                    </a:cubicBezTo>
                    <a:cubicBezTo>
                      <a:pt x="20487" y="27231"/>
                      <a:pt x="21632" y="25768"/>
                      <a:pt x="22141" y="24050"/>
                    </a:cubicBezTo>
                    <a:cubicBezTo>
                      <a:pt x="22459" y="22968"/>
                      <a:pt x="22650" y="20741"/>
                      <a:pt x="22650" y="17306"/>
                    </a:cubicBezTo>
                    <a:close/>
                    <a:moveTo>
                      <a:pt x="28122" y="14188"/>
                    </a:moveTo>
                    <a:lnTo>
                      <a:pt x="46255" y="14188"/>
                    </a:lnTo>
                    <a:cubicBezTo>
                      <a:pt x="45936" y="10943"/>
                      <a:pt x="45046" y="8526"/>
                      <a:pt x="43455" y="6999"/>
                    </a:cubicBezTo>
                    <a:cubicBezTo>
                      <a:pt x="41865" y="5472"/>
                      <a:pt x="39829" y="4708"/>
                      <a:pt x="37284" y="4708"/>
                    </a:cubicBezTo>
                    <a:cubicBezTo>
                      <a:pt x="34675" y="4708"/>
                      <a:pt x="32512" y="5535"/>
                      <a:pt x="30858" y="7190"/>
                    </a:cubicBezTo>
                    <a:cubicBezTo>
                      <a:pt x="29203" y="8844"/>
                      <a:pt x="28313" y="11261"/>
                      <a:pt x="28122" y="14188"/>
                    </a:cubicBezTo>
                    <a:close/>
                  </a:path>
                </a:pathLst>
              </a:custGeom>
              <a:grpFill/>
              <a:ln w="6361" cap="flat">
                <a:noFill/>
                <a:prstDash val="solid"/>
                <a:miter/>
              </a:ln>
            </p:spPr>
            <p:txBody>
              <a:bodyPr rtlCol="0" anchor="ctr"/>
              <a:lstStyle/>
              <a:p>
                <a:endParaRPr lang="da-DK"/>
              </a:p>
            </p:txBody>
          </p:sp>
          <p:sp>
            <p:nvSpPr>
              <p:cNvPr id="164" name="Freeform: Shape 163">
                <a:extLst>
                  <a:ext uri="{FF2B5EF4-FFF2-40B4-BE49-F238E27FC236}">
                    <a16:creationId xmlns:a16="http://schemas.microsoft.com/office/drawing/2014/main" id="{3C4CE17D-5288-4A80-AA09-28B1B6B5A75C}"/>
                  </a:ext>
                </a:extLst>
              </p:cNvPr>
              <p:cNvSpPr/>
              <p:nvPr/>
            </p:nvSpPr>
            <p:spPr>
              <a:xfrm>
                <a:off x="1297485"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65" name="Freeform: Shape 164">
                <a:extLst>
                  <a:ext uri="{FF2B5EF4-FFF2-40B4-BE49-F238E27FC236}">
                    <a16:creationId xmlns:a16="http://schemas.microsoft.com/office/drawing/2014/main" id="{E1411903-F236-484D-AE07-BDF61CAFCA4C}"/>
                  </a:ext>
                </a:extLst>
              </p:cNvPr>
              <p:cNvSpPr/>
              <p:nvPr/>
            </p:nvSpPr>
            <p:spPr>
              <a:xfrm>
                <a:off x="1311609"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66" name="Freeform: Shape 165">
                <a:extLst>
                  <a:ext uri="{FF2B5EF4-FFF2-40B4-BE49-F238E27FC236}">
                    <a16:creationId xmlns:a16="http://schemas.microsoft.com/office/drawing/2014/main" id="{23576E51-A0A3-46B7-9697-C760AF1E323A}"/>
                  </a:ext>
                </a:extLst>
              </p:cNvPr>
              <p:cNvSpPr/>
              <p:nvPr/>
            </p:nvSpPr>
            <p:spPr>
              <a:xfrm>
                <a:off x="1324016" y="3552112"/>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459" y="27167"/>
                      <a:pt x="23604"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grpFill/>
              <a:ln w="6361" cap="flat">
                <a:noFill/>
                <a:prstDash val="solid"/>
                <a:miter/>
              </a:ln>
            </p:spPr>
            <p:txBody>
              <a:bodyPr rtlCol="0" anchor="ctr"/>
              <a:lstStyle/>
              <a:p>
                <a:endParaRPr lang="da-DK"/>
              </a:p>
            </p:txBody>
          </p:sp>
          <p:sp>
            <p:nvSpPr>
              <p:cNvPr id="167" name="Freeform: Shape 166">
                <a:extLst>
                  <a:ext uri="{FF2B5EF4-FFF2-40B4-BE49-F238E27FC236}">
                    <a16:creationId xmlns:a16="http://schemas.microsoft.com/office/drawing/2014/main" id="{FA22C054-CFD4-4CC5-98CD-70EDE80A861E}"/>
                  </a:ext>
                </a:extLst>
              </p:cNvPr>
              <p:cNvSpPr/>
              <p:nvPr/>
            </p:nvSpPr>
            <p:spPr>
              <a:xfrm>
                <a:off x="1359009"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0" y="26976"/>
                      <a:pt x="8144" y="28122"/>
                    </a:cubicBezTo>
                    <a:cubicBezTo>
                      <a:pt x="9607" y="29267"/>
                      <a:pt x="11516" y="29903"/>
                      <a:pt x="14061" y="29903"/>
                    </a:cubicBezTo>
                    <a:cubicBezTo>
                      <a:pt x="16606" y="29903"/>
                      <a:pt x="18515" y="29394"/>
                      <a:pt x="19787" y="28313"/>
                    </a:cubicBezTo>
                    <a:cubicBezTo>
                      <a:pt x="21059" y="27295"/>
                      <a:pt x="21632" y="26022"/>
                      <a:pt x="21632" y="24622"/>
                    </a:cubicBezTo>
                    <a:cubicBezTo>
                      <a:pt x="21632" y="23350"/>
                      <a:pt x="21059"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2" y="12598"/>
                      <a:pt x="891" y="11134"/>
                      <a:pt x="891" y="9480"/>
                    </a:cubicBezTo>
                    <a:cubicBezTo>
                      <a:pt x="891" y="8017"/>
                      <a:pt x="1209" y="6617"/>
                      <a:pt x="1909" y="5408"/>
                    </a:cubicBezTo>
                    <a:cubicBezTo>
                      <a:pt x="2609" y="4136"/>
                      <a:pt x="3499" y="3118"/>
                      <a:pt x="4645" y="2291"/>
                    </a:cubicBezTo>
                    <a:cubicBezTo>
                      <a:pt x="5535" y="1654"/>
                      <a:pt x="6680"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68" name="Freeform: Shape 167">
                <a:extLst>
                  <a:ext uri="{FF2B5EF4-FFF2-40B4-BE49-F238E27FC236}">
                    <a16:creationId xmlns:a16="http://schemas.microsoft.com/office/drawing/2014/main" id="{632C94AB-373F-455A-B2A2-FD43B56FE6AB}"/>
                  </a:ext>
                </a:extLst>
              </p:cNvPr>
              <p:cNvSpPr/>
              <p:nvPr/>
            </p:nvSpPr>
            <p:spPr>
              <a:xfrm>
                <a:off x="1410735" y="3552048"/>
                <a:ext cx="28630" cy="46381"/>
              </a:xfrm>
              <a:custGeom>
                <a:avLst/>
                <a:gdLst>
                  <a:gd name="connsiteX0" fmla="*/ 0 w 28630"/>
                  <a:gd name="connsiteY0" fmla="*/ 46382 h 46381"/>
                  <a:gd name="connsiteX1" fmla="*/ 0 w 28630"/>
                  <a:gd name="connsiteY1" fmla="*/ 763 h 46381"/>
                  <a:gd name="connsiteX2" fmla="*/ 5090 w 28630"/>
                  <a:gd name="connsiteY2" fmla="*/ 763 h 46381"/>
                  <a:gd name="connsiteX3" fmla="*/ 5090 w 28630"/>
                  <a:gd name="connsiteY3" fmla="*/ 5026 h 46381"/>
                  <a:gd name="connsiteX4" fmla="*/ 9162 w 28630"/>
                  <a:gd name="connsiteY4" fmla="*/ 1273 h 46381"/>
                  <a:gd name="connsiteX5" fmla="*/ 14634 w 28630"/>
                  <a:gd name="connsiteY5" fmla="*/ 0 h 46381"/>
                  <a:gd name="connsiteX6" fmla="*/ 22078 w 28630"/>
                  <a:gd name="connsiteY6" fmla="*/ 2163 h 46381"/>
                  <a:gd name="connsiteX7" fmla="*/ 26977 w 28630"/>
                  <a:gd name="connsiteY7" fmla="*/ 8271 h 46381"/>
                  <a:gd name="connsiteX8" fmla="*/ 28631 w 28630"/>
                  <a:gd name="connsiteY8" fmla="*/ 16988 h 46381"/>
                  <a:gd name="connsiteX9" fmla="*/ 26786 w 28630"/>
                  <a:gd name="connsiteY9" fmla="*/ 26086 h 46381"/>
                  <a:gd name="connsiteX10" fmla="*/ 21505 w 28630"/>
                  <a:gd name="connsiteY10" fmla="*/ 32321 h 46381"/>
                  <a:gd name="connsiteX11" fmla="*/ 14252 w 28630"/>
                  <a:gd name="connsiteY11" fmla="*/ 34484 h 46381"/>
                  <a:gd name="connsiteX12" fmla="*/ 9225 w 28630"/>
                  <a:gd name="connsiteY12" fmla="*/ 33275 h 46381"/>
                  <a:gd name="connsiteX13" fmla="*/ 5599 w 28630"/>
                  <a:gd name="connsiteY13" fmla="*/ 30285 h 46381"/>
                  <a:gd name="connsiteX14" fmla="*/ 5599 w 28630"/>
                  <a:gd name="connsiteY14" fmla="*/ 46318 h 46381"/>
                  <a:gd name="connsiteX15" fmla="*/ 0 w 28630"/>
                  <a:gd name="connsiteY15" fmla="*/ 46318 h 46381"/>
                  <a:gd name="connsiteX16" fmla="*/ 5090 w 28630"/>
                  <a:gd name="connsiteY16" fmla="*/ 17433 h 46381"/>
                  <a:gd name="connsiteX17" fmla="*/ 7635 w 28630"/>
                  <a:gd name="connsiteY17" fmla="*/ 26849 h 46381"/>
                  <a:gd name="connsiteX18" fmla="*/ 13870 w 28630"/>
                  <a:gd name="connsiteY18" fmla="*/ 29903 h 46381"/>
                  <a:gd name="connsiteX19" fmla="*/ 20232 w 28630"/>
                  <a:gd name="connsiteY19" fmla="*/ 26722 h 46381"/>
                  <a:gd name="connsiteX20" fmla="*/ 22905 w 28630"/>
                  <a:gd name="connsiteY20" fmla="*/ 16924 h 46381"/>
                  <a:gd name="connsiteX21" fmla="*/ 20296 w 28630"/>
                  <a:gd name="connsiteY21" fmla="*/ 7508 h 46381"/>
                  <a:gd name="connsiteX22" fmla="*/ 14125 w 28630"/>
                  <a:gd name="connsiteY22" fmla="*/ 4390 h 46381"/>
                  <a:gd name="connsiteX23" fmla="*/ 7826 w 28630"/>
                  <a:gd name="connsiteY23" fmla="*/ 7762 h 46381"/>
                  <a:gd name="connsiteX24" fmla="*/ 5090 w 28630"/>
                  <a:gd name="connsiteY24" fmla="*/ 17433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630" h="46381">
                    <a:moveTo>
                      <a:pt x="0" y="46382"/>
                    </a:moveTo>
                    <a:lnTo>
                      <a:pt x="0" y="763"/>
                    </a:lnTo>
                    <a:lnTo>
                      <a:pt x="5090" y="763"/>
                    </a:lnTo>
                    <a:lnTo>
                      <a:pt x="5090" y="5026"/>
                    </a:lnTo>
                    <a:cubicBezTo>
                      <a:pt x="6299" y="3372"/>
                      <a:pt x="7635" y="2100"/>
                      <a:pt x="9162" y="1273"/>
                    </a:cubicBezTo>
                    <a:cubicBezTo>
                      <a:pt x="10689" y="445"/>
                      <a:pt x="12534" y="0"/>
                      <a:pt x="14634" y="0"/>
                    </a:cubicBezTo>
                    <a:cubicBezTo>
                      <a:pt x="17433" y="0"/>
                      <a:pt x="19914" y="700"/>
                      <a:pt x="22078" y="2163"/>
                    </a:cubicBezTo>
                    <a:cubicBezTo>
                      <a:pt x="24241" y="3627"/>
                      <a:pt x="25831" y="5663"/>
                      <a:pt x="26977" y="8271"/>
                    </a:cubicBezTo>
                    <a:cubicBezTo>
                      <a:pt x="28058" y="10943"/>
                      <a:pt x="28631" y="13806"/>
                      <a:pt x="28631" y="16988"/>
                    </a:cubicBezTo>
                    <a:cubicBezTo>
                      <a:pt x="28631" y="20360"/>
                      <a:pt x="28058" y="23414"/>
                      <a:pt x="26786" y="26086"/>
                    </a:cubicBezTo>
                    <a:cubicBezTo>
                      <a:pt x="25577" y="28758"/>
                      <a:pt x="23795" y="30858"/>
                      <a:pt x="21505" y="32321"/>
                    </a:cubicBezTo>
                    <a:cubicBezTo>
                      <a:pt x="19214" y="33784"/>
                      <a:pt x="16797" y="34484"/>
                      <a:pt x="14252" y="34484"/>
                    </a:cubicBezTo>
                    <a:cubicBezTo>
                      <a:pt x="12407" y="34484"/>
                      <a:pt x="10689" y="34103"/>
                      <a:pt x="9225" y="33275"/>
                    </a:cubicBezTo>
                    <a:cubicBezTo>
                      <a:pt x="7762" y="32448"/>
                      <a:pt x="6553" y="31494"/>
                      <a:pt x="5599" y="30285"/>
                    </a:cubicBezTo>
                    <a:lnTo>
                      <a:pt x="5599" y="46318"/>
                    </a:lnTo>
                    <a:lnTo>
                      <a:pt x="0" y="46318"/>
                    </a:lnTo>
                    <a:close/>
                    <a:moveTo>
                      <a:pt x="5090" y="17433"/>
                    </a:moveTo>
                    <a:cubicBezTo>
                      <a:pt x="5090" y="21696"/>
                      <a:pt x="5917" y="24813"/>
                      <a:pt x="7635" y="26849"/>
                    </a:cubicBezTo>
                    <a:cubicBezTo>
                      <a:pt x="9353" y="28885"/>
                      <a:pt x="11452" y="29903"/>
                      <a:pt x="13870" y="29903"/>
                    </a:cubicBezTo>
                    <a:cubicBezTo>
                      <a:pt x="16351" y="29903"/>
                      <a:pt x="18451" y="28822"/>
                      <a:pt x="20232" y="26722"/>
                    </a:cubicBezTo>
                    <a:cubicBezTo>
                      <a:pt x="22014" y="24622"/>
                      <a:pt x="22905" y="21378"/>
                      <a:pt x="22905" y="16924"/>
                    </a:cubicBezTo>
                    <a:cubicBezTo>
                      <a:pt x="22905" y="12725"/>
                      <a:pt x="22078" y="9544"/>
                      <a:pt x="20296" y="7508"/>
                    </a:cubicBezTo>
                    <a:cubicBezTo>
                      <a:pt x="18578" y="5408"/>
                      <a:pt x="16479" y="4390"/>
                      <a:pt x="14125" y="4390"/>
                    </a:cubicBezTo>
                    <a:cubicBezTo>
                      <a:pt x="11707" y="4390"/>
                      <a:pt x="9607" y="5472"/>
                      <a:pt x="7826" y="7762"/>
                    </a:cubicBezTo>
                    <a:cubicBezTo>
                      <a:pt x="5981" y="9989"/>
                      <a:pt x="5090" y="13170"/>
                      <a:pt x="5090" y="17433"/>
                    </a:cubicBezTo>
                    <a:close/>
                  </a:path>
                </a:pathLst>
              </a:custGeom>
              <a:grpFill/>
              <a:ln w="6361" cap="flat">
                <a:noFill/>
                <a:prstDash val="solid"/>
                <a:miter/>
              </a:ln>
            </p:spPr>
            <p:txBody>
              <a:bodyPr rtlCol="0" anchor="ctr"/>
              <a:lstStyle/>
              <a:p>
                <a:endParaRPr lang="da-DK"/>
              </a:p>
            </p:txBody>
          </p:sp>
          <p:sp>
            <p:nvSpPr>
              <p:cNvPr id="169" name="Freeform: Shape 168">
                <a:extLst>
                  <a:ext uri="{FF2B5EF4-FFF2-40B4-BE49-F238E27FC236}">
                    <a16:creationId xmlns:a16="http://schemas.microsoft.com/office/drawing/2014/main" id="{E0EAE2E4-31CA-4F1C-BE65-FC7FA53E9524}"/>
                  </a:ext>
                </a:extLst>
              </p:cNvPr>
              <p:cNvSpPr/>
              <p:nvPr/>
            </p:nvSpPr>
            <p:spPr>
              <a:xfrm>
                <a:off x="144604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70" name="Freeform: Shape 169">
                <a:extLst>
                  <a:ext uri="{FF2B5EF4-FFF2-40B4-BE49-F238E27FC236}">
                    <a16:creationId xmlns:a16="http://schemas.microsoft.com/office/drawing/2014/main" id="{18FEE76F-BFF8-4D5F-AA1B-4D585AFA3358}"/>
                  </a:ext>
                </a:extLst>
              </p:cNvPr>
              <p:cNvSpPr/>
              <p:nvPr/>
            </p:nvSpPr>
            <p:spPr>
              <a:xfrm>
                <a:off x="1465197" y="3552048"/>
                <a:ext cx="30921" cy="34547"/>
              </a:xfrm>
              <a:custGeom>
                <a:avLst/>
                <a:gdLst>
                  <a:gd name="connsiteX0" fmla="*/ 0 w 30921"/>
                  <a:gd name="connsiteY0" fmla="*/ 17242 h 34547"/>
                  <a:gd name="connsiteX1" fmla="*/ 5090 w 30921"/>
                  <a:gd name="connsiteY1" fmla="*/ 3690 h 34547"/>
                  <a:gd name="connsiteX2" fmla="*/ 15461 w 30921"/>
                  <a:gd name="connsiteY2" fmla="*/ 0 h 34547"/>
                  <a:gd name="connsiteX3" fmla="*/ 26595 w 30921"/>
                  <a:gd name="connsiteY3" fmla="*/ 4454 h 34547"/>
                  <a:gd name="connsiteX4" fmla="*/ 30921 w 30921"/>
                  <a:gd name="connsiteY4" fmla="*/ 16797 h 34547"/>
                  <a:gd name="connsiteX5" fmla="*/ 29012 w 30921"/>
                  <a:gd name="connsiteY5" fmla="*/ 26849 h 34547"/>
                  <a:gd name="connsiteX6" fmla="*/ 23477 w 30921"/>
                  <a:gd name="connsiteY6" fmla="*/ 32512 h 34547"/>
                  <a:gd name="connsiteX7" fmla="*/ 15524 w 30921"/>
                  <a:gd name="connsiteY7" fmla="*/ 34548 h 34547"/>
                  <a:gd name="connsiteX8" fmla="*/ 4326 w 30921"/>
                  <a:gd name="connsiteY8" fmla="*/ 30094 h 34547"/>
                  <a:gd name="connsiteX9" fmla="*/ 0 w 30921"/>
                  <a:gd name="connsiteY9" fmla="*/ 17242 h 34547"/>
                  <a:gd name="connsiteX10" fmla="*/ 5790 w 30921"/>
                  <a:gd name="connsiteY10" fmla="*/ 17242 h 34547"/>
                  <a:gd name="connsiteX11" fmla="*/ 8526 w 30921"/>
                  <a:gd name="connsiteY11" fmla="*/ 26722 h 34547"/>
                  <a:gd name="connsiteX12" fmla="*/ 15461 w 30921"/>
                  <a:gd name="connsiteY12" fmla="*/ 29903 h 34547"/>
                  <a:gd name="connsiteX13" fmla="*/ 22396 w 30921"/>
                  <a:gd name="connsiteY13" fmla="*/ 26722 h 34547"/>
                  <a:gd name="connsiteX14" fmla="*/ 25131 w 30921"/>
                  <a:gd name="connsiteY14" fmla="*/ 17051 h 34547"/>
                  <a:gd name="connsiteX15" fmla="*/ 22332 w 30921"/>
                  <a:gd name="connsiteY15" fmla="*/ 7762 h 34547"/>
                  <a:gd name="connsiteX16" fmla="*/ 15397 w 30921"/>
                  <a:gd name="connsiteY16" fmla="*/ 4581 h 34547"/>
                  <a:gd name="connsiteX17" fmla="*/ 8462 w 30921"/>
                  <a:gd name="connsiteY17" fmla="*/ 7698 h 34547"/>
                  <a:gd name="connsiteX18" fmla="*/ 5790 w 30921"/>
                  <a:gd name="connsiteY18" fmla="*/ 17242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921" h="34547">
                    <a:moveTo>
                      <a:pt x="0" y="17242"/>
                    </a:moveTo>
                    <a:cubicBezTo>
                      <a:pt x="0" y="11134"/>
                      <a:pt x="1718" y="6617"/>
                      <a:pt x="5090" y="3690"/>
                    </a:cubicBezTo>
                    <a:cubicBezTo>
                      <a:pt x="7953" y="1273"/>
                      <a:pt x="11389" y="0"/>
                      <a:pt x="15461" y="0"/>
                    </a:cubicBezTo>
                    <a:cubicBezTo>
                      <a:pt x="19978" y="0"/>
                      <a:pt x="23732" y="1463"/>
                      <a:pt x="26595" y="4454"/>
                    </a:cubicBezTo>
                    <a:cubicBezTo>
                      <a:pt x="29458" y="7444"/>
                      <a:pt x="30921" y="11516"/>
                      <a:pt x="30921" y="16797"/>
                    </a:cubicBezTo>
                    <a:cubicBezTo>
                      <a:pt x="30921" y="21059"/>
                      <a:pt x="30285" y="24368"/>
                      <a:pt x="29012" y="26849"/>
                    </a:cubicBezTo>
                    <a:cubicBezTo>
                      <a:pt x="27740" y="29267"/>
                      <a:pt x="25895" y="31176"/>
                      <a:pt x="23477" y="32512"/>
                    </a:cubicBezTo>
                    <a:cubicBezTo>
                      <a:pt x="21059" y="33848"/>
                      <a:pt x="18387" y="34548"/>
                      <a:pt x="15524" y="34548"/>
                    </a:cubicBezTo>
                    <a:cubicBezTo>
                      <a:pt x="10880" y="34548"/>
                      <a:pt x="7189" y="33085"/>
                      <a:pt x="4326" y="30094"/>
                    </a:cubicBezTo>
                    <a:cubicBezTo>
                      <a:pt x="1463" y="27104"/>
                      <a:pt x="0" y="22841"/>
                      <a:pt x="0" y="17242"/>
                    </a:cubicBezTo>
                    <a:close/>
                    <a:moveTo>
                      <a:pt x="5790" y="17242"/>
                    </a:moveTo>
                    <a:cubicBezTo>
                      <a:pt x="5790" y="21441"/>
                      <a:pt x="6681" y="24622"/>
                      <a:pt x="8526" y="26722"/>
                    </a:cubicBezTo>
                    <a:cubicBezTo>
                      <a:pt x="10371" y="28822"/>
                      <a:pt x="12661" y="29903"/>
                      <a:pt x="15461" y="29903"/>
                    </a:cubicBezTo>
                    <a:cubicBezTo>
                      <a:pt x="18260" y="29903"/>
                      <a:pt x="20550" y="28822"/>
                      <a:pt x="22396" y="26722"/>
                    </a:cubicBezTo>
                    <a:cubicBezTo>
                      <a:pt x="24241" y="24622"/>
                      <a:pt x="25131" y="21378"/>
                      <a:pt x="25131" y="17051"/>
                    </a:cubicBezTo>
                    <a:cubicBezTo>
                      <a:pt x="25131" y="12979"/>
                      <a:pt x="24241" y="9862"/>
                      <a:pt x="22332" y="7762"/>
                    </a:cubicBezTo>
                    <a:cubicBezTo>
                      <a:pt x="20487" y="5663"/>
                      <a:pt x="18196" y="4581"/>
                      <a:pt x="15397" y="4581"/>
                    </a:cubicBezTo>
                    <a:cubicBezTo>
                      <a:pt x="12598" y="4581"/>
                      <a:pt x="10307" y="5599"/>
                      <a:pt x="8462" y="7698"/>
                    </a:cubicBezTo>
                    <a:cubicBezTo>
                      <a:pt x="6681" y="9862"/>
                      <a:pt x="5790" y="13043"/>
                      <a:pt x="5790" y="17242"/>
                    </a:cubicBezTo>
                    <a:close/>
                  </a:path>
                </a:pathLst>
              </a:custGeom>
              <a:grpFill/>
              <a:ln w="6361" cap="flat">
                <a:noFill/>
                <a:prstDash val="solid"/>
                <a:miter/>
              </a:ln>
            </p:spPr>
            <p:txBody>
              <a:bodyPr rtlCol="0" anchor="ctr"/>
              <a:lstStyle/>
              <a:p>
                <a:endParaRPr lang="da-DK"/>
              </a:p>
            </p:txBody>
          </p:sp>
          <p:sp>
            <p:nvSpPr>
              <p:cNvPr id="171" name="Freeform: Shape 170">
                <a:extLst>
                  <a:ext uri="{FF2B5EF4-FFF2-40B4-BE49-F238E27FC236}">
                    <a16:creationId xmlns:a16="http://schemas.microsoft.com/office/drawing/2014/main" id="{24BF6996-CA0E-4F83-9EC7-E63DA65D5FE9}"/>
                  </a:ext>
                </a:extLst>
              </p:cNvPr>
              <p:cNvSpPr/>
              <p:nvPr/>
            </p:nvSpPr>
            <p:spPr>
              <a:xfrm>
                <a:off x="1501018" y="3552048"/>
                <a:ext cx="28694" cy="34484"/>
              </a:xfrm>
              <a:custGeom>
                <a:avLst/>
                <a:gdLst>
                  <a:gd name="connsiteX0" fmla="*/ 23223 w 28694"/>
                  <a:gd name="connsiteY0" fmla="*/ 21696 h 34484"/>
                  <a:gd name="connsiteX1" fmla="*/ 28694 w 28694"/>
                  <a:gd name="connsiteY1" fmla="*/ 22396 h 34484"/>
                  <a:gd name="connsiteX2" fmla="*/ 24114 w 28694"/>
                  <a:gd name="connsiteY2" fmla="*/ 31303 h 34484"/>
                  <a:gd name="connsiteX3" fmla="*/ 15015 w 28694"/>
                  <a:gd name="connsiteY3" fmla="*/ 34484 h 34484"/>
                  <a:gd name="connsiteX4" fmla="*/ 4136 w 28694"/>
                  <a:gd name="connsiteY4" fmla="*/ 30030 h 34484"/>
                  <a:gd name="connsiteX5" fmla="*/ 0 w 28694"/>
                  <a:gd name="connsiteY5" fmla="*/ 17369 h 34484"/>
                  <a:gd name="connsiteX6" fmla="*/ 1782 w 28694"/>
                  <a:gd name="connsiteY6" fmla="*/ 8017 h 34484"/>
                  <a:gd name="connsiteX7" fmla="*/ 7190 w 28694"/>
                  <a:gd name="connsiteY7" fmla="*/ 2036 h 34484"/>
                  <a:gd name="connsiteX8" fmla="*/ 15079 w 28694"/>
                  <a:gd name="connsiteY8" fmla="*/ 0 h 34484"/>
                  <a:gd name="connsiteX9" fmla="*/ 23859 w 28694"/>
                  <a:gd name="connsiteY9" fmla="*/ 2736 h 34484"/>
                  <a:gd name="connsiteX10" fmla="*/ 28249 w 28694"/>
                  <a:gd name="connsiteY10" fmla="*/ 10434 h 34484"/>
                  <a:gd name="connsiteX11" fmla="*/ 22777 w 28694"/>
                  <a:gd name="connsiteY11" fmla="*/ 11261 h 34484"/>
                  <a:gd name="connsiteX12" fmla="*/ 20042 w 28694"/>
                  <a:gd name="connsiteY12" fmla="*/ 6235 h 34484"/>
                  <a:gd name="connsiteX13" fmla="*/ 15270 w 28694"/>
                  <a:gd name="connsiteY13" fmla="*/ 4581 h 34484"/>
                  <a:gd name="connsiteX14" fmla="*/ 8398 w 28694"/>
                  <a:gd name="connsiteY14" fmla="*/ 7635 h 34484"/>
                  <a:gd name="connsiteX15" fmla="*/ 5726 w 28694"/>
                  <a:gd name="connsiteY15" fmla="*/ 17242 h 34484"/>
                  <a:gd name="connsiteX16" fmla="*/ 8271 w 28694"/>
                  <a:gd name="connsiteY16" fmla="*/ 26913 h 34484"/>
                  <a:gd name="connsiteX17" fmla="*/ 14888 w 28694"/>
                  <a:gd name="connsiteY17" fmla="*/ 29903 h 34484"/>
                  <a:gd name="connsiteX18" fmla="*/ 20423 w 28694"/>
                  <a:gd name="connsiteY18" fmla="*/ 27867 h 34484"/>
                  <a:gd name="connsiteX19" fmla="*/ 23223 w 28694"/>
                  <a:gd name="connsiteY19" fmla="*/ 21696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694" h="34484">
                    <a:moveTo>
                      <a:pt x="23223" y="21696"/>
                    </a:moveTo>
                    <a:lnTo>
                      <a:pt x="28694" y="22396"/>
                    </a:lnTo>
                    <a:cubicBezTo>
                      <a:pt x="28122" y="26213"/>
                      <a:pt x="26531" y="29140"/>
                      <a:pt x="24114" y="31303"/>
                    </a:cubicBezTo>
                    <a:cubicBezTo>
                      <a:pt x="21632" y="33466"/>
                      <a:pt x="18578" y="34484"/>
                      <a:pt x="15015" y="34484"/>
                    </a:cubicBezTo>
                    <a:cubicBezTo>
                      <a:pt x="10498" y="34484"/>
                      <a:pt x="6871" y="33021"/>
                      <a:pt x="4136" y="30030"/>
                    </a:cubicBezTo>
                    <a:cubicBezTo>
                      <a:pt x="1400" y="27104"/>
                      <a:pt x="0" y="22841"/>
                      <a:pt x="0" y="17369"/>
                    </a:cubicBezTo>
                    <a:cubicBezTo>
                      <a:pt x="0" y="13806"/>
                      <a:pt x="573" y="10689"/>
                      <a:pt x="1782" y="8017"/>
                    </a:cubicBezTo>
                    <a:cubicBezTo>
                      <a:pt x="2990" y="5344"/>
                      <a:pt x="4772" y="3308"/>
                      <a:pt x="7190" y="2036"/>
                    </a:cubicBezTo>
                    <a:cubicBezTo>
                      <a:pt x="9607" y="700"/>
                      <a:pt x="12216" y="0"/>
                      <a:pt x="15079" y="0"/>
                    </a:cubicBezTo>
                    <a:cubicBezTo>
                      <a:pt x="18642" y="0"/>
                      <a:pt x="21569" y="891"/>
                      <a:pt x="23859" y="2736"/>
                    </a:cubicBezTo>
                    <a:cubicBezTo>
                      <a:pt x="26149" y="4581"/>
                      <a:pt x="27613" y="7126"/>
                      <a:pt x="28249" y="10434"/>
                    </a:cubicBezTo>
                    <a:lnTo>
                      <a:pt x="22777" y="11261"/>
                    </a:lnTo>
                    <a:cubicBezTo>
                      <a:pt x="22268" y="9035"/>
                      <a:pt x="21378" y="7380"/>
                      <a:pt x="20042" y="6235"/>
                    </a:cubicBezTo>
                    <a:cubicBezTo>
                      <a:pt x="18705" y="5090"/>
                      <a:pt x="17115" y="4581"/>
                      <a:pt x="15270" y="4581"/>
                    </a:cubicBezTo>
                    <a:cubicBezTo>
                      <a:pt x="12470" y="4581"/>
                      <a:pt x="10180" y="5599"/>
                      <a:pt x="8398" y="7635"/>
                    </a:cubicBezTo>
                    <a:cubicBezTo>
                      <a:pt x="6617" y="9671"/>
                      <a:pt x="5726" y="12852"/>
                      <a:pt x="5726" y="17242"/>
                    </a:cubicBezTo>
                    <a:cubicBezTo>
                      <a:pt x="5726" y="21696"/>
                      <a:pt x="6553" y="24877"/>
                      <a:pt x="8271" y="26913"/>
                    </a:cubicBezTo>
                    <a:cubicBezTo>
                      <a:pt x="9989" y="28949"/>
                      <a:pt x="12216" y="29903"/>
                      <a:pt x="14888" y="29903"/>
                    </a:cubicBezTo>
                    <a:cubicBezTo>
                      <a:pt x="17115" y="29903"/>
                      <a:pt x="18896" y="29203"/>
                      <a:pt x="20423" y="27867"/>
                    </a:cubicBezTo>
                    <a:cubicBezTo>
                      <a:pt x="21887" y="26531"/>
                      <a:pt x="22841" y="24495"/>
                      <a:pt x="23223" y="21696"/>
                    </a:cubicBezTo>
                    <a:close/>
                  </a:path>
                </a:pathLst>
              </a:custGeom>
              <a:grpFill/>
              <a:ln w="6361" cap="flat">
                <a:noFill/>
                <a:prstDash val="solid"/>
                <a:miter/>
              </a:ln>
            </p:spPr>
            <p:txBody>
              <a:bodyPr rtlCol="0" anchor="ctr"/>
              <a:lstStyle/>
              <a:p>
                <a:endParaRPr lang="da-DK"/>
              </a:p>
            </p:txBody>
          </p:sp>
          <p:sp>
            <p:nvSpPr>
              <p:cNvPr id="172" name="Freeform: Shape 171">
                <a:extLst>
                  <a:ext uri="{FF2B5EF4-FFF2-40B4-BE49-F238E27FC236}">
                    <a16:creationId xmlns:a16="http://schemas.microsoft.com/office/drawing/2014/main" id="{22096A5D-05BF-40DB-9875-D4F8204CFC92}"/>
                  </a:ext>
                </a:extLst>
              </p:cNvPr>
              <p:cNvSpPr/>
              <p:nvPr/>
            </p:nvSpPr>
            <p:spPr>
              <a:xfrm>
                <a:off x="1532639" y="3552112"/>
                <a:ext cx="30412" cy="34484"/>
              </a:xfrm>
              <a:custGeom>
                <a:avLst/>
                <a:gdLst>
                  <a:gd name="connsiteX0" fmla="*/ 24432 w 30412"/>
                  <a:gd name="connsiteY0" fmla="*/ 23096 h 34484"/>
                  <a:gd name="connsiteX1" fmla="*/ 30221 w 30412"/>
                  <a:gd name="connsiteY1" fmla="*/ 23795 h 34484"/>
                  <a:gd name="connsiteX2" fmla="*/ 25132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108 w 30412"/>
                  <a:gd name="connsiteY16" fmla="*/ 13997 h 34484"/>
                  <a:gd name="connsiteX17" fmla="*/ 24559 w 30412"/>
                  <a:gd name="connsiteY17" fmla="*/ 13997 h 34484"/>
                  <a:gd name="connsiteX18" fmla="*/ 22459 w 30412"/>
                  <a:gd name="connsiteY18" fmla="*/ 7762 h 34484"/>
                  <a:gd name="connsiteX19" fmla="*/ 15524 w 30412"/>
                  <a:gd name="connsiteY19" fmla="*/ 4517 h 34484"/>
                  <a:gd name="connsiteX20" fmla="*/ 9035 w 30412"/>
                  <a:gd name="connsiteY20" fmla="*/ 7126 h 34484"/>
                  <a:gd name="connsiteX21" fmla="*/ 6108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2"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108" y="13997"/>
                    </a:moveTo>
                    <a:lnTo>
                      <a:pt x="24559" y="13997"/>
                    </a:lnTo>
                    <a:cubicBezTo>
                      <a:pt x="24304" y="11198"/>
                      <a:pt x="23605" y="9162"/>
                      <a:pt x="22459" y="7762"/>
                    </a:cubicBezTo>
                    <a:cubicBezTo>
                      <a:pt x="20678" y="5599"/>
                      <a:pt x="18387" y="4517"/>
                      <a:pt x="15524" y="4517"/>
                    </a:cubicBezTo>
                    <a:cubicBezTo>
                      <a:pt x="12979" y="4517"/>
                      <a:pt x="10816" y="5408"/>
                      <a:pt x="9035" y="7126"/>
                    </a:cubicBezTo>
                    <a:cubicBezTo>
                      <a:pt x="7253" y="8844"/>
                      <a:pt x="6299" y="11134"/>
                      <a:pt x="6108" y="13997"/>
                    </a:cubicBezTo>
                    <a:close/>
                  </a:path>
                </a:pathLst>
              </a:custGeom>
              <a:grpFill/>
              <a:ln w="6361" cap="flat">
                <a:noFill/>
                <a:prstDash val="solid"/>
                <a:miter/>
              </a:ln>
            </p:spPr>
            <p:txBody>
              <a:bodyPr rtlCol="0" anchor="ctr"/>
              <a:lstStyle/>
              <a:p>
                <a:endParaRPr lang="da-DK"/>
              </a:p>
            </p:txBody>
          </p:sp>
          <p:sp>
            <p:nvSpPr>
              <p:cNvPr id="173" name="Freeform: Shape 172">
                <a:extLst>
                  <a:ext uri="{FF2B5EF4-FFF2-40B4-BE49-F238E27FC236}">
                    <a16:creationId xmlns:a16="http://schemas.microsoft.com/office/drawing/2014/main" id="{F56E5AC3-66AE-45D9-A4AD-EE8E26BAB91C}"/>
                  </a:ext>
                </a:extLst>
              </p:cNvPr>
              <p:cNvSpPr/>
              <p:nvPr/>
            </p:nvSpPr>
            <p:spPr>
              <a:xfrm>
                <a:off x="1567632"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74" name="Freeform: Shape 173">
                <a:extLst>
                  <a:ext uri="{FF2B5EF4-FFF2-40B4-BE49-F238E27FC236}">
                    <a16:creationId xmlns:a16="http://schemas.microsoft.com/office/drawing/2014/main" id="{E1ED4843-2AD4-456C-A8C5-ABC53A690DF8}"/>
                  </a:ext>
                </a:extLst>
              </p:cNvPr>
              <p:cNvSpPr/>
              <p:nvPr/>
            </p:nvSpPr>
            <p:spPr>
              <a:xfrm>
                <a:off x="1599444"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grpFill/>
              <a:ln w="6361" cap="flat">
                <a:noFill/>
                <a:prstDash val="solid"/>
                <a:miter/>
              </a:ln>
            </p:spPr>
            <p:txBody>
              <a:bodyPr rtlCol="0" anchor="ctr"/>
              <a:lstStyle/>
              <a:p>
                <a:endParaRPr lang="da-DK"/>
              </a:p>
            </p:txBody>
          </p:sp>
          <p:sp>
            <p:nvSpPr>
              <p:cNvPr id="175" name="Freeform: Shape 174">
                <a:extLst>
                  <a:ext uri="{FF2B5EF4-FFF2-40B4-BE49-F238E27FC236}">
                    <a16:creationId xmlns:a16="http://schemas.microsoft.com/office/drawing/2014/main" id="{B325332F-0172-4A80-8F8C-0AFB1F2C347F}"/>
                  </a:ext>
                </a:extLst>
              </p:cNvPr>
              <p:cNvSpPr/>
              <p:nvPr/>
            </p:nvSpPr>
            <p:spPr>
              <a:xfrm>
                <a:off x="1631701" y="3552112"/>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grpFill/>
              <a:ln w="6361" cap="flat">
                <a:noFill/>
                <a:prstDash val="solid"/>
                <a:miter/>
              </a:ln>
            </p:spPr>
            <p:txBody>
              <a:bodyPr rtlCol="0" anchor="ctr"/>
              <a:lstStyle/>
              <a:p>
                <a:endParaRPr lang="da-DK"/>
              </a:p>
            </p:txBody>
          </p:sp>
          <p:sp>
            <p:nvSpPr>
              <p:cNvPr id="176" name="Freeform: Shape 175">
                <a:extLst>
                  <a:ext uri="{FF2B5EF4-FFF2-40B4-BE49-F238E27FC236}">
                    <a16:creationId xmlns:a16="http://schemas.microsoft.com/office/drawing/2014/main" id="{BB205720-A851-44CB-9743-647BFCCCF900}"/>
                  </a:ext>
                </a:extLst>
              </p:cNvPr>
              <p:cNvSpPr/>
              <p:nvPr/>
            </p:nvSpPr>
            <p:spPr>
              <a:xfrm>
                <a:off x="166885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544"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77" name="Freeform: Shape 176">
                <a:extLst>
                  <a:ext uri="{FF2B5EF4-FFF2-40B4-BE49-F238E27FC236}">
                    <a16:creationId xmlns:a16="http://schemas.microsoft.com/office/drawing/2014/main" id="{B3404B56-FCC9-4204-83D4-6C53DBE5AA68}"/>
                  </a:ext>
                </a:extLst>
              </p:cNvPr>
              <p:cNvSpPr/>
              <p:nvPr/>
            </p:nvSpPr>
            <p:spPr>
              <a:xfrm>
                <a:off x="1688136" y="3579470"/>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grpFill/>
              <a:ln w="6361" cap="flat">
                <a:noFill/>
                <a:prstDash val="solid"/>
                <a:miter/>
              </a:ln>
            </p:spPr>
            <p:txBody>
              <a:bodyPr rtlCol="0" anchor="ctr"/>
              <a:lstStyle/>
              <a:p>
                <a:endParaRPr lang="da-DK"/>
              </a:p>
            </p:txBody>
          </p:sp>
          <p:sp>
            <p:nvSpPr>
              <p:cNvPr id="178" name="Freeform: Shape 177">
                <a:extLst>
                  <a:ext uri="{FF2B5EF4-FFF2-40B4-BE49-F238E27FC236}">
                    <a16:creationId xmlns:a16="http://schemas.microsoft.com/office/drawing/2014/main" id="{0AFCA0E1-AA66-4182-8188-AB0C3A69953A}"/>
                  </a:ext>
                </a:extLst>
              </p:cNvPr>
              <p:cNvSpPr/>
              <p:nvPr/>
            </p:nvSpPr>
            <p:spPr>
              <a:xfrm>
                <a:off x="1202812" y="3622989"/>
                <a:ext cx="35883" cy="45554"/>
              </a:xfrm>
              <a:custGeom>
                <a:avLst/>
                <a:gdLst>
                  <a:gd name="connsiteX0" fmla="*/ 0 w 35883"/>
                  <a:gd name="connsiteY0" fmla="*/ 45555 h 45554"/>
                  <a:gd name="connsiteX1" fmla="*/ 0 w 35883"/>
                  <a:gd name="connsiteY1" fmla="*/ 0 h 45554"/>
                  <a:gd name="connsiteX2" fmla="*/ 6172 w 35883"/>
                  <a:gd name="connsiteY2" fmla="*/ 0 h 45554"/>
                  <a:gd name="connsiteX3" fmla="*/ 30094 w 35883"/>
                  <a:gd name="connsiteY3" fmla="*/ 35757 h 45554"/>
                  <a:gd name="connsiteX4" fmla="*/ 30094 w 35883"/>
                  <a:gd name="connsiteY4" fmla="*/ 0 h 45554"/>
                  <a:gd name="connsiteX5" fmla="*/ 35884 w 35883"/>
                  <a:gd name="connsiteY5" fmla="*/ 0 h 45554"/>
                  <a:gd name="connsiteX6" fmla="*/ 35884 w 35883"/>
                  <a:gd name="connsiteY6" fmla="*/ 45555 h 45554"/>
                  <a:gd name="connsiteX7" fmla="*/ 29712 w 35883"/>
                  <a:gd name="connsiteY7" fmla="*/ 45555 h 45554"/>
                  <a:gd name="connsiteX8" fmla="*/ 5790 w 35883"/>
                  <a:gd name="connsiteY8" fmla="*/ 9798 h 45554"/>
                  <a:gd name="connsiteX9" fmla="*/ 5790 w 35883"/>
                  <a:gd name="connsiteY9" fmla="*/ 45555 h 45554"/>
                  <a:gd name="connsiteX10" fmla="*/ 0 w 35883"/>
                  <a:gd name="connsiteY10"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83" h="45554">
                    <a:moveTo>
                      <a:pt x="0" y="45555"/>
                    </a:moveTo>
                    <a:lnTo>
                      <a:pt x="0" y="0"/>
                    </a:lnTo>
                    <a:lnTo>
                      <a:pt x="6172" y="0"/>
                    </a:lnTo>
                    <a:lnTo>
                      <a:pt x="30094" y="35757"/>
                    </a:lnTo>
                    <a:lnTo>
                      <a:pt x="30094" y="0"/>
                    </a:lnTo>
                    <a:lnTo>
                      <a:pt x="35884" y="0"/>
                    </a:lnTo>
                    <a:lnTo>
                      <a:pt x="35884" y="45555"/>
                    </a:lnTo>
                    <a:lnTo>
                      <a:pt x="29712" y="45555"/>
                    </a:lnTo>
                    <a:lnTo>
                      <a:pt x="5790" y="9798"/>
                    </a:lnTo>
                    <a:lnTo>
                      <a:pt x="5790" y="45555"/>
                    </a:lnTo>
                    <a:lnTo>
                      <a:pt x="0" y="45555"/>
                    </a:lnTo>
                    <a:close/>
                  </a:path>
                </a:pathLst>
              </a:custGeom>
              <a:grpFill/>
              <a:ln w="6361" cap="flat">
                <a:noFill/>
                <a:prstDash val="solid"/>
                <a:miter/>
              </a:ln>
            </p:spPr>
            <p:txBody>
              <a:bodyPr rtlCol="0" anchor="ctr"/>
              <a:lstStyle/>
              <a:p>
                <a:endParaRPr lang="da-DK"/>
              </a:p>
            </p:txBody>
          </p:sp>
          <p:sp>
            <p:nvSpPr>
              <p:cNvPr id="179" name="Freeform: Shape 178">
                <a:extLst>
                  <a:ext uri="{FF2B5EF4-FFF2-40B4-BE49-F238E27FC236}">
                    <a16:creationId xmlns:a16="http://schemas.microsoft.com/office/drawing/2014/main" id="{4F12784C-FB28-4005-AB5A-186DA1B34556}"/>
                  </a:ext>
                </a:extLst>
              </p:cNvPr>
              <p:cNvSpPr/>
              <p:nvPr/>
            </p:nvSpPr>
            <p:spPr>
              <a:xfrm>
                <a:off x="1244931" y="3635523"/>
                <a:ext cx="30284" cy="46381"/>
              </a:xfrm>
              <a:custGeom>
                <a:avLst/>
                <a:gdLst>
                  <a:gd name="connsiteX0" fmla="*/ 2927 w 30284"/>
                  <a:gd name="connsiteY0" fmla="*/ 45682 h 46381"/>
                  <a:gd name="connsiteX1" fmla="*/ 2290 w 30284"/>
                  <a:gd name="connsiteY1" fmla="*/ 40401 h 46381"/>
                  <a:gd name="connsiteX2" fmla="*/ 5472 w 30284"/>
                  <a:gd name="connsiteY2" fmla="*/ 40910 h 46381"/>
                  <a:gd name="connsiteX3" fmla="*/ 8462 w 30284"/>
                  <a:gd name="connsiteY3" fmla="*/ 40274 h 46381"/>
                  <a:gd name="connsiteX4" fmla="*/ 10307 w 30284"/>
                  <a:gd name="connsiteY4" fmla="*/ 38556 h 46381"/>
                  <a:gd name="connsiteX5" fmla="*/ 12025 w 30284"/>
                  <a:gd name="connsiteY5" fmla="*/ 34421 h 46381"/>
                  <a:gd name="connsiteX6" fmla="*/ 12534 w 30284"/>
                  <a:gd name="connsiteY6" fmla="*/ 33085 h 46381"/>
                  <a:gd name="connsiteX7" fmla="*/ 0 w 30284"/>
                  <a:gd name="connsiteY7" fmla="*/ 0 h 46381"/>
                  <a:gd name="connsiteX8" fmla="*/ 6044 w 30284"/>
                  <a:gd name="connsiteY8" fmla="*/ 0 h 46381"/>
                  <a:gd name="connsiteX9" fmla="*/ 12916 w 30284"/>
                  <a:gd name="connsiteY9" fmla="*/ 19087 h 46381"/>
                  <a:gd name="connsiteX10" fmla="*/ 15333 w 30284"/>
                  <a:gd name="connsiteY10" fmla="*/ 26722 h 46381"/>
                  <a:gd name="connsiteX11" fmla="*/ 17624 w 30284"/>
                  <a:gd name="connsiteY11" fmla="*/ 19215 h 46381"/>
                  <a:gd name="connsiteX12" fmla="*/ 24686 w 30284"/>
                  <a:gd name="connsiteY12" fmla="*/ 0 h 46381"/>
                  <a:gd name="connsiteX13" fmla="*/ 30285 w 30284"/>
                  <a:gd name="connsiteY13" fmla="*/ 0 h 46381"/>
                  <a:gd name="connsiteX14" fmla="*/ 17751 w 30284"/>
                  <a:gd name="connsiteY14" fmla="*/ 33530 h 46381"/>
                  <a:gd name="connsiteX15" fmla="*/ 14633 w 30284"/>
                  <a:gd name="connsiteY15" fmla="*/ 41037 h 46381"/>
                  <a:gd name="connsiteX16" fmla="*/ 11198 w 30284"/>
                  <a:gd name="connsiteY16" fmla="*/ 45109 h 46381"/>
                  <a:gd name="connsiteX17" fmla="*/ 6617 w 30284"/>
                  <a:gd name="connsiteY17" fmla="*/ 46382 h 46381"/>
                  <a:gd name="connsiteX18" fmla="*/ 2927 w 30284"/>
                  <a:gd name="connsiteY18" fmla="*/ 45682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284" h="46381">
                    <a:moveTo>
                      <a:pt x="2927" y="45682"/>
                    </a:moveTo>
                    <a:lnTo>
                      <a:pt x="2290" y="40401"/>
                    </a:lnTo>
                    <a:cubicBezTo>
                      <a:pt x="3499" y="40719"/>
                      <a:pt x="4581" y="40910"/>
                      <a:pt x="5472" y="40910"/>
                    </a:cubicBezTo>
                    <a:cubicBezTo>
                      <a:pt x="6744" y="40910"/>
                      <a:pt x="7698" y="40719"/>
                      <a:pt x="8462" y="40274"/>
                    </a:cubicBezTo>
                    <a:cubicBezTo>
                      <a:pt x="9225" y="39829"/>
                      <a:pt x="9798" y="39256"/>
                      <a:pt x="10307" y="38556"/>
                    </a:cubicBezTo>
                    <a:cubicBezTo>
                      <a:pt x="10625" y="37983"/>
                      <a:pt x="11198" y="36584"/>
                      <a:pt x="12025" y="34421"/>
                    </a:cubicBezTo>
                    <a:cubicBezTo>
                      <a:pt x="12152" y="34103"/>
                      <a:pt x="12279" y="33657"/>
                      <a:pt x="12534" y="33085"/>
                    </a:cubicBezTo>
                    <a:lnTo>
                      <a:pt x="0" y="0"/>
                    </a:lnTo>
                    <a:lnTo>
                      <a:pt x="6044" y="0"/>
                    </a:lnTo>
                    <a:lnTo>
                      <a:pt x="12916" y="19087"/>
                    </a:lnTo>
                    <a:cubicBezTo>
                      <a:pt x="13806" y="21505"/>
                      <a:pt x="14633" y="24050"/>
                      <a:pt x="15333" y="26722"/>
                    </a:cubicBezTo>
                    <a:cubicBezTo>
                      <a:pt x="15970" y="24177"/>
                      <a:pt x="16733" y="21632"/>
                      <a:pt x="17624" y="19215"/>
                    </a:cubicBezTo>
                    <a:lnTo>
                      <a:pt x="24686" y="0"/>
                    </a:lnTo>
                    <a:lnTo>
                      <a:pt x="30285" y="0"/>
                    </a:lnTo>
                    <a:lnTo>
                      <a:pt x="17751" y="33530"/>
                    </a:lnTo>
                    <a:cubicBezTo>
                      <a:pt x="16415" y="37156"/>
                      <a:pt x="15333" y="39638"/>
                      <a:pt x="14633" y="41037"/>
                    </a:cubicBezTo>
                    <a:cubicBezTo>
                      <a:pt x="13616" y="42883"/>
                      <a:pt x="12470" y="44219"/>
                      <a:pt x="11198" y="45109"/>
                    </a:cubicBezTo>
                    <a:cubicBezTo>
                      <a:pt x="9925" y="46000"/>
                      <a:pt x="8398" y="46382"/>
                      <a:pt x="6617" y="46382"/>
                    </a:cubicBezTo>
                    <a:cubicBezTo>
                      <a:pt x="5472" y="46382"/>
                      <a:pt x="4263" y="46127"/>
                      <a:pt x="2927" y="45682"/>
                    </a:cubicBezTo>
                    <a:close/>
                  </a:path>
                </a:pathLst>
              </a:custGeom>
              <a:grpFill/>
              <a:ln w="6361" cap="flat">
                <a:noFill/>
                <a:prstDash val="solid"/>
                <a:miter/>
              </a:ln>
            </p:spPr>
            <p:txBody>
              <a:bodyPr rtlCol="0" anchor="ctr"/>
              <a:lstStyle/>
              <a:p>
                <a:endParaRPr lang="da-DK"/>
              </a:p>
            </p:txBody>
          </p:sp>
          <p:sp>
            <p:nvSpPr>
              <p:cNvPr id="180" name="Freeform: Shape 179">
                <a:extLst>
                  <a:ext uri="{FF2B5EF4-FFF2-40B4-BE49-F238E27FC236}">
                    <a16:creationId xmlns:a16="http://schemas.microsoft.com/office/drawing/2014/main" id="{E0A23AED-0C03-4E50-B63C-B66E9B8C2062}"/>
                  </a:ext>
                </a:extLst>
              </p:cNvPr>
              <p:cNvSpPr/>
              <p:nvPr/>
            </p:nvSpPr>
            <p:spPr>
              <a:xfrm>
                <a:off x="1278143" y="3634823"/>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96"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grpFill/>
              <a:ln w="6361" cap="flat">
                <a:noFill/>
                <a:prstDash val="solid"/>
                <a:miter/>
              </a:ln>
            </p:spPr>
            <p:txBody>
              <a:bodyPr rtlCol="0" anchor="ctr"/>
              <a:lstStyle/>
              <a:p>
                <a:endParaRPr lang="da-DK"/>
              </a:p>
            </p:txBody>
          </p:sp>
          <p:sp>
            <p:nvSpPr>
              <p:cNvPr id="181" name="Freeform: Shape 180">
                <a:extLst>
                  <a:ext uri="{FF2B5EF4-FFF2-40B4-BE49-F238E27FC236}">
                    <a16:creationId xmlns:a16="http://schemas.microsoft.com/office/drawing/2014/main" id="{5BFE4EC5-2926-4F58-9D9E-8EAE8D121BEA}"/>
                  </a:ext>
                </a:extLst>
              </p:cNvPr>
              <p:cNvSpPr/>
              <p:nvPr/>
            </p:nvSpPr>
            <p:spPr>
              <a:xfrm>
                <a:off x="1332987" y="3634823"/>
                <a:ext cx="44727" cy="33784"/>
              </a:xfrm>
              <a:custGeom>
                <a:avLst/>
                <a:gdLst>
                  <a:gd name="connsiteX0" fmla="*/ 0 w 44727"/>
                  <a:gd name="connsiteY0" fmla="*/ 33721 h 33784"/>
                  <a:gd name="connsiteX1" fmla="*/ 0 w 44727"/>
                  <a:gd name="connsiteY1" fmla="*/ 700 h 33784"/>
                  <a:gd name="connsiteX2" fmla="*/ 5026 w 44727"/>
                  <a:gd name="connsiteY2" fmla="*/ 700 h 33784"/>
                  <a:gd name="connsiteX3" fmla="*/ 5026 w 44727"/>
                  <a:gd name="connsiteY3" fmla="*/ 5344 h 33784"/>
                  <a:gd name="connsiteX4" fmla="*/ 9162 w 44727"/>
                  <a:gd name="connsiteY4" fmla="*/ 1463 h 33784"/>
                  <a:gd name="connsiteX5" fmla="*/ 15015 w 44727"/>
                  <a:gd name="connsiteY5" fmla="*/ 0 h 33784"/>
                  <a:gd name="connsiteX6" fmla="*/ 21060 w 44727"/>
                  <a:gd name="connsiteY6" fmla="*/ 1527 h 33784"/>
                  <a:gd name="connsiteX7" fmla="*/ 24368 w 44727"/>
                  <a:gd name="connsiteY7" fmla="*/ 5790 h 33784"/>
                  <a:gd name="connsiteX8" fmla="*/ 34548 w 44727"/>
                  <a:gd name="connsiteY8" fmla="*/ 0 h 33784"/>
                  <a:gd name="connsiteX9" fmla="*/ 42119 w 44727"/>
                  <a:gd name="connsiteY9" fmla="*/ 2736 h 33784"/>
                  <a:gd name="connsiteX10" fmla="*/ 44728 w 44727"/>
                  <a:gd name="connsiteY10" fmla="*/ 11134 h 33784"/>
                  <a:gd name="connsiteX11" fmla="*/ 44728 w 44727"/>
                  <a:gd name="connsiteY11" fmla="*/ 33784 h 33784"/>
                  <a:gd name="connsiteX12" fmla="*/ 39192 w 44727"/>
                  <a:gd name="connsiteY12" fmla="*/ 33784 h 33784"/>
                  <a:gd name="connsiteX13" fmla="*/ 39192 w 44727"/>
                  <a:gd name="connsiteY13" fmla="*/ 12979 h 33784"/>
                  <a:gd name="connsiteX14" fmla="*/ 38620 w 44727"/>
                  <a:gd name="connsiteY14" fmla="*/ 8144 h 33784"/>
                  <a:gd name="connsiteX15" fmla="*/ 36647 w 44727"/>
                  <a:gd name="connsiteY15" fmla="*/ 5790 h 33784"/>
                  <a:gd name="connsiteX16" fmla="*/ 33275 w 44727"/>
                  <a:gd name="connsiteY16" fmla="*/ 4899 h 33784"/>
                  <a:gd name="connsiteX17" fmla="*/ 27486 w 44727"/>
                  <a:gd name="connsiteY17" fmla="*/ 7190 h 33784"/>
                  <a:gd name="connsiteX18" fmla="*/ 25195 w 44727"/>
                  <a:gd name="connsiteY18" fmla="*/ 14570 h 33784"/>
                  <a:gd name="connsiteX19" fmla="*/ 25195 w 44727"/>
                  <a:gd name="connsiteY19" fmla="*/ 33721 h 33784"/>
                  <a:gd name="connsiteX20" fmla="*/ 19596 w 44727"/>
                  <a:gd name="connsiteY20" fmla="*/ 33721 h 33784"/>
                  <a:gd name="connsiteX21" fmla="*/ 19596 w 44727"/>
                  <a:gd name="connsiteY21" fmla="*/ 12279 h 33784"/>
                  <a:gd name="connsiteX22" fmla="*/ 18260 w 44727"/>
                  <a:gd name="connsiteY22" fmla="*/ 6680 h 33784"/>
                  <a:gd name="connsiteX23" fmla="*/ 13806 w 44727"/>
                  <a:gd name="connsiteY23" fmla="*/ 4835 h 33784"/>
                  <a:gd name="connsiteX24" fmla="*/ 9416 w 44727"/>
                  <a:gd name="connsiteY24" fmla="*/ 6108 h 33784"/>
                  <a:gd name="connsiteX25" fmla="*/ 6490 w 44727"/>
                  <a:gd name="connsiteY25" fmla="*/ 9734 h 33784"/>
                  <a:gd name="connsiteX26" fmla="*/ 5599 w 44727"/>
                  <a:gd name="connsiteY26" fmla="*/ 16606 h 33784"/>
                  <a:gd name="connsiteX27" fmla="*/ 5599 w 44727"/>
                  <a:gd name="connsiteY27" fmla="*/ 33721 h 33784"/>
                  <a:gd name="connsiteX28" fmla="*/ 0 w 44727"/>
                  <a:gd name="connsiteY28"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727" h="33784">
                    <a:moveTo>
                      <a:pt x="0" y="33721"/>
                    </a:moveTo>
                    <a:lnTo>
                      <a:pt x="0" y="700"/>
                    </a:lnTo>
                    <a:lnTo>
                      <a:pt x="5026" y="700"/>
                    </a:lnTo>
                    <a:lnTo>
                      <a:pt x="5026" y="5344"/>
                    </a:lnTo>
                    <a:cubicBezTo>
                      <a:pt x="6044" y="3754"/>
                      <a:pt x="7444" y="2418"/>
                      <a:pt x="9162" y="1463"/>
                    </a:cubicBezTo>
                    <a:cubicBezTo>
                      <a:pt x="10880" y="509"/>
                      <a:pt x="12852" y="0"/>
                      <a:pt x="15015" y="0"/>
                    </a:cubicBezTo>
                    <a:cubicBezTo>
                      <a:pt x="17433" y="0"/>
                      <a:pt x="19469" y="509"/>
                      <a:pt x="21060" y="1527"/>
                    </a:cubicBezTo>
                    <a:cubicBezTo>
                      <a:pt x="22650" y="2545"/>
                      <a:pt x="23732" y="3945"/>
                      <a:pt x="24368" y="5790"/>
                    </a:cubicBezTo>
                    <a:cubicBezTo>
                      <a:pt x="26977" y="1909"/>
                      <a:pt x="30349" y="0"/>
                      <a:pt x="34548" y="0"/>
                    </a:cubicBezTo>
                    <a:cubicBezTo>
                      <a:pt x="37793" y="0"/>
                      <a:pt x="40338" y="891"/>
                      <a:pt x="42119" y="2736"/>
                    </a:cubicBezTo>
                    <a:cubicBezTo>
                      <a:pt x="43901" y="4581"/>
                      <a:pt x="44728" y="7317"/>
                      <a:pt x="44728" y="11134"/>
                    </a:cubicBezTo>
                    <a:lnTo>
                      <a:pt x="44728" y="33784"/>
                    </a:lnTo>
                    <a:lnTo>
                      <a:pt x="39192" y="33784"/>
                    </a:lnTo>
                    <a:lnTo>
                      <a:pt x="39192" y="12979"/>
                    </a:lnTo>
                    <a:cubicBezTo>
                      <a:pt x="39192" y="10752"/>
                      <a:pt x="39001" y="9162"/>
                      <a:pt x="38620" y="8144"/>
                    </a:cubicBezTo>
                    <a:cubicBezTo>
                      <a:pt x="38238" y="7190"/>
                      <a:pt x="37602" y="6362"/>
                      <a:pt x="36647" y="5790"/>
                    </a:cubicBezTo>
                    <a:cubicBezTo>
                      <a:pt x="35693" y="5217"/>
                      <a:pt x="34548" y="4899"/>
                      <a:pt x="33275" y="4899"/>
                    </a:cubicBezTo>
                    <a:cubicBezTo>
                      <a:pt x="30985" y="4899"/>
                      <a:pt x="29013" y="5662"/>
                      <a:pt x="27486" y="7190"/>
                    </a:cubicBezTo>
                    <a:cubicBezTo>
                      <a:pt x="25959" y="8716"/>
                      <a:pt x="25195" y="11198"/>
                      <a:pt x="25195" y="14570"/>
                    </a:cubicBezTo>
                    <a:lnTo>
                      <a:pt x="25195" y="33721"/>
                    </a:lnTo>
                    <a:lnTo>
                      <a:pt x="19596" y="33721"/>
                    </a:lnTo>
                    <a:lnTo>
                      <a:pt x="19596" y="12279"/>
                    </a:lnTo>
                    <a:cubicBezTo>
                      <a:pt x="19596" y="9798"/>
                      <a:pt x="19151" y="7953"/>
                      <a:pt x="18260" y="6680"/>
                    </a:cubicBezTo>
                    <a:cubicBezTo>
                      <a:pt x="17369" y="5408"/>
                      <a:pt x="15842" y="4835"/>
                      <a:pt x="13806" y="4835"/>
                    </a:cubicBezTo>
                    <a:cubicBezTo>
                      <a:pt x="12216" y="4835"/>
                      <a:pt x="10752" y="5281"/>
                      <a:pt x="9416" y="6108"/>
                    </a:cubicBezTo>
                    <a:cubicBezTo>
                      <a:pt x="8080" y="6935"/>
                      <a:pt x="7126" y="8144"/>
                      <a:pt x="6490" y="9734"/>
                    </a:cubicBezTo>
                    <a:cubicBezTo>
                      <a:pt x="5917" y="11325"/>
                      <a:pt x="5599" y="13615"/>
                      <a:pt x="5599" y="16606"/>
                    </a:cubicBezTo>
                    <a:lnTo>
                      <a:pt x="5599" y="33721"/>
                    </a:lnTo>
                    <a:lnTo>
                      <a:pt x="0" y="33721"/>
                    </a:lnTo>
                    <a:close/>
                  </a:path>
                </a:pathLst>
              </a:custGeom>
              <a:grpFill/>
              <a:ln w="6361" cap="flat">
                <a:noFill/>
                <a:prstDash val="solid"/>
                <a:miter/>
              </a:ln>
            </p:spPr>
            <p:txBody>
              <a:bodyPr rtlCol="0" anchor="ctr"/>
              <a:lstStyle/>
              <a:p>
                <a:endParaRPr lang="da-DK"/>
              </a:p>
            </p:txBody>
          </p:sp>
          <p:sp>
            <p:nvSpPr>
              <p:cNvPr id="182" name="Freeform: Shape 181">
                <a:extLst>
                  <a:ext uri="{FF2B5EF4-FFF2-40B4-BE49-F238E27FC236}">
                    <a16:creationId xmlns:a16="http://schemas.microsoft.com/office/drawing/2014/main" id="{10F8E27E-7A5F-40F5-BD9B-777F60704844}"/>
                  </a:ext>
                </a:extLst>
              </p:cNvPr>
              <p:cNvSpPr/>
              <p:nvPr/>
            </p:nvSpPr>
            <p:spPr>
              <a:xfrm>
                <a:off x="1385858" y="3635586"/>
                <a:ext cx="26658" cy="33720"/>
              </a:xfrm>
              <a:custGeom>
                <a:avLst/>
                <a:gdLst>
                  <a:gd name="connsiteX0" fmla="*/ 21759 w 26658"/>
                  <a:gd name="connsiteY0" fmla="*/ 32957 h 33720"/>
                  <a:gd name="connsiteX1" fmla="*/ 21759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759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759" y="32957"/>
                    </a:moveTo>
                    <a:lnTo>
                      <a:pt x="21759" y="28122"/>
                    </a:lnTo>
                    <a:cubicBezTo>
                      <a:pt x="19214" y="31876"/>
                      <a:pt x="15715"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99" y="25704"/>
                      <a:pt x="6999" y="26849"/>
                      <a:pt x="8144" y="27676"/>
                    </a:cubicBezTo>
                    <a:cubicBezTo>
                      <a:pt x="9289" y="28504"/>
                      <a:pt x="10689" y="28949"/>
                      <a:pt x="12343" y="28949"/>
                    </a:cubicBezTo>
                    <a:cubicBezTo>
                      <a:pt x="13997" y="28949"/>
                      <a:pt x="15588" y="28504"/>
                      <a:pt x="17051" y="27676"/>
                    </a:cubicBezTo>
                    <a:cubicBezTo>
                      <a:pt x="18515" y="26849"/>
                      <a:pt x="19533" y="25640"/>
                      <a:pt x="20169" y="24177"/>
                    </a:cubicBezTo>
                    <a:cubicBezTo>
                      <a:pt x="20805" y="22714"/>
                      <a:pt x="21059" y="20551"/>
                      <a:pt x="21059" y="17751"/>
                    </a:cubicBezTo>
                    <a:lnTo>
                      <a:pt x="21059" y="64"/>
                    </a:lnTo>
                    <a:lnTo>
                      <a:pt x="26658" y="64"/>
                    </a:lnTo>
                    <a:lnTo>
                      <a:pt x="26658" y="33085"/>
                    </a:lnTo>
                    <a:lnTo>
                      <a:pt x="21759" y="33085"/>
                    </a:lnTo>
                    <a:close/>
                  </a:path>
                </a:pathLst>
              </a:custGeom>
              <a:grpFill/>
              <a:ln w="6361" cap="flat">
                <a:noFill/>
                <a:prstDash val="solid"/>
                <a:miter/>
              </a:ln>
            </p:spPr>
            <p:txBody>
              <a:bodyPr rtlCol="0" anchor="ctr"/>
              <a:lstStyle/>
              <a:p>
                <a:endParaRPr lang="da-DK"/>
              </a:p>
            </p:txBody>
          </p:sp>
          <p:sp>
            <p:nvSpPr>
              <p:cNvPr id="183" name="Freeform: Shape 182">
                <a:extLst>
                  <a:ext uri="{FF2B5EF4-FFF2-40B4-BE49-F238E27FC236}">
                    <a16:creationId xmlns:a16="http://schemas.microsoft.com/office/drawing/2014/main" id="{913A9B5A-BCF6-4FE7-97DB-91FC4C11EA71}"/>
                  </a:ext>
                </a:extLst>
              </p:cNvPr>
              <p:cNvSpPr/>
              <p:nvPr/>
            </p:nvSpPr>
            <p:spPr>
              <a:xfrm>
                <a:off x="1421233" y="3622989"/>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grpFill/>
              <a:ln w="6361" cap="flat">
                <a:noFill/>
                <a:prstDash val="solid"/>
                <a:miter/>
              </a:ln>
            </p:spPr>
            <p:txBody>
              <a:bodyPr rtlCol="0" anchor="ctr"/>
              <a:lstStyle/>
              <a:p>
                <a:endParaRPr lang="da-DK"/>
              </a:p>
            </p:txBody>
          </p:sp>
          <p:sp>
            <p:nvSpPr>
              <p:cNvPr id="184" name="Freeform: Shape 183">
                <a:extLst>
                  <a:ext uri="{FF2B5EF4-FFF2-40B4-BE49-F238E27FC236}">
                    <a16:creationId xmlns:a16="http://schemas.microsoft.com/office/drawing/2014/main" id="{75E9F50F-D132-4C4E-8C08-21442FC0C00D}"/>
                  </a:ext>
                </a:extLst>
              </p:cNvPr>
              <p:cNvSpPr/>
              <p:nvPr/>
            </p:nvSpPr>
            <p:spPr>
              <a:xfrm>
                <a:off x="1435549" y="3622989"/>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grpFill/>
              <a:ln w="6361" cap="flat">
                <a:noFill/>
                <a:prstDash val="solid"/>
                <a:miter/>
              </a:ln>
            </p:spPr>
            <p:txBody>
              <a:bodyPr rtlCol="0" anchor="ctr"/>
              <a:lstStyle/>
              <a:p>
                <a:endParaRPr lang="da-DK"/>
              </a:p>
            </p:txBody>
          </p:sp>
          <p:sp>
            <p:nvSpPr>
              <p:cNvPr id="185" name="Freeform: Shape 184">
                <a:extLst>
                  <a:ext uri="{FF2B5EF4-FFF2-40B4-BE49-F238E27FC236}">
                    <a16:creationId xmlns:a16="http://schemas.microsoft.com/office/drawing/2014/main" id="{32A7B1DB-7D11-4A36-97AD-7F19ADA4668C}"/>
                  </a:ext>
                </a:extLst>
              </p:cNvPr>
              <p:cNvSpPr/>
              <p:nvPr/>
            </p:nvSpPr>
            <p:spPr>
              <a:xfrm>
                <a:off x="1447383" y="3634823"/>
                <a:ext cx="29076" cy="47145"/>
              </a:xfrm>
              <a:custGeom>
                <a:avLst/>
                <a:gdLst>
                  <a:gd name="connsiteX0" fmla="*/ 1209 w 29076"/>
                  <a:gd name="connsiteY0" fmla="*/ 36393 h 47145"/>
                  <a:gd name="connsiteX1" fmla="*/ 6617 w 29076"/>
                  <a:gd name="connsiteY1" fmla="*/ 37220 h 47145"/>
                  <a:gd name="connsiteX2" fmla="*/ 8526 w 29076"/>
                  <a:gd name="connsiteY2" fmla="*/ 40910 h 47145"/>
                  <a:gd name="connsiteX3" fmla="*/ 14188 w 29076"/>
                  <a:gd name="connsiteY3" fmla="*/ 42437 h 47145"/>
                  <a:gd name="connsiteX4" fmla="*/ 20169 w 29076"/>
                  <a:gd name="connsiteY4" fmla="*/ 40910 h 47145"/>
                  <a:gd name="connsiteX5" fmla="*/ 23032 w 29076"/>
                  <a:gd name="connsiteY5" fmla="*/ 36584 h 47145"/>
                  <a:gd name="connsiteX6" fmla="*/ 23414 w 29076"/>
                  <a:gd name="connsiteY6" fmla="*/ 29394 h 47145"/>
                  <a:gd name="connsiteX7" fmla="*/ 14252 w 29076"/>
                  <a:gd name="connsiteY7" fmla="*/ 33721 h 47145"/>
                  <a:gd name="connsiteX8" fmla="*/ 3754 w 29076"/>
                  <a:gd name="connsiteY8" fmla="*/ 28822 h 47145"/>
                  <a:gd name="connsiteX9" fmla="*/ 0 w 29076"/>
                  <a:gd name="connsiteY9" fmla="*/ 17051 h 47145"/>
                  <a:gd name="connsiteX10" fmla="*/ 1718 w 29076"/>
                  <a:gd name="connsiteY10" fmla="*/ 8335 h 47145"/>
                  <a:gd name="connsiteX11" fmla="*/ 6681 w 29076"/>
                  <a:gd name="connsiteY11" fmla="*/ 2163 h 47145"/>
                  <a:gd name="connsiteX12" fmla="*/ 14315 w 29076"/>
                  <a:gd name="connsiteY12" fmla="*/ 0 h 47145"/>
                  <a:gd name="connsiteX13" fmla="*/ 23923 w 29076"/>
                  <a:gd name="connsiteY13" fmla="*/ 4708 h 47145"/>
                  <a:gd name="connsiteX14" fmla="*/ 23923 w 29076"/>
                  <a:gd name="connsiteY14" fmla="*/ 763 h 47145"/>
                  <a:gd name="connsiteX15" fmla="*/ 29076 w 29076"/>
                  <a:gd name="connsiteY15" fmla="*/ 763 h 47145"/>
                  <a:gd name="connsiteX16" fmla="*/ 29076 w 29076"/>
                  <a:gd name="connsiteY16" fmla="*/ 29267 h 47145"/>
                  <a:gd name="connsiteX17" fmla="*/ 27485 w 29076"/>
                  <a:gd name="connsiteY17" fmla="*/ 40210 h 47145"/>
                  <a:gd name="connsiteX18" fmla="*/ 22523 w 29076"/>
                  <a:gd name="connsiteY18" fmla="*/ 45300 h 47145"/>
                  <a:gd name="connsiteX19" fmla="*/ 14125 w 29076"/>
                  <a:gd name="connsiteY19" fmla="*/ 47145 h 47145"/>
                  <a:gd name="connsiteX20" fmla="*/ 4581 w 29076"/>
                  <a:gd name="connsiteY20" fmla="*/ 44473 h 47145"/>
                  <a:gd name="connsiteX21" fmla="*/ 1209 w 29076"/>
                  <a:gd name="connsiteY21" fmla="*/ 36393 h 47145"/>
                  <a:gd name="connsiteX22" fmla="*/ 5853 w 29076"/>
                  <a:gd name="connsiteY22" fmla="*/ 16606 h 47145"/>
                  <a:gd name="connsiteX23" fmla="*/ 8462 w 29076"/>
                  <a:gd name="connsiteY23" fmla="*/ 26086 h 47145"/>
                  <a:gd name="connsiteX24" fmla="*/ 14952 w 29076"/>
                  <a:gd name="connsiteY24" fmla="*/ 29076 h 47145"/>
                  <a:gd name="connsiteX25" fmla="*/ 21441 w 29076"/>
                  <a:gd name="connsiteY25" fmla="*/ 26086 h 47145"/>
                  <a:gd name="connsiteX26" fmla="*/ 24050 w 29076"/>
                  <a:gd name="connsiteY26" fmla="*/ 16797 h 47145"/>
                  <a:gd name="connsiteX27" fmla="*/ 21378 w 29076"/>
                  <a:gd name="connsiteY27" fmla="*/ 7635 h 47145"/>
                  <a:gd name="connsiteX28" fmla="*/ 14888 w 29076"/>
                  <a:gd name="connsiteY28" fmla="*/ 4581 h 47145"/>
                  <a:gd name="connsiteX29" fmla="*/ 8526 w 29076"/>
                  <a:gd name="connsiteY29" fmla="*/ 7635 h 47145"/>
                  <a:gd name="connsiteX30" fmla="*/ 5853 w 29076"/>
                  <a:gd name="connsiteY30" fmla="*/ 16606 h 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076" h="47145">
                    <a:moveTo>
                      <a:pt x="1209" y="36393"/>
                    </a:moveTo>
                    <a:lnTo>
                      <a:pt x="6617" y="37220"/>
                    </a:lnTo>
                    <a:cubicBezTo>
                      <a:pt x="6871" y="38874"/>
                      <a:pt x="7508" y="40147"/>
                      <a:pt x="8526" y="40910"/>
                    </a:cubicBezTo>
                    <a:cubicBezTo>
                      <a:pt x="9925" y="41928"/>
                      <a:pt x="11834" y="42437"/>
                      <a:pt x="14188" y="42437"/>
                    </a:cubicBezTo>
                    <a:cubicBezTo>
                      <a:pt x="16797" y="42437"/>
                      <a:pt x="18769" y="41928"/>
                      <a:pt x="20169" y="40910"/>
                    </a:cubicBezTo>
                    <a:cubicBezTo>
                      <a:pt x="21569" y="39892"/>
                      <a:pt x="22523" y="38429"/>
                      <a:pt x="23032" y="36584"/>
                    </a:cubicBezTo>
                    <a:cubicBezTo>
                      <a:pt x="23286" y="35439"/>
                      <a:pt x="23477" y="33021"/>
                      <a:pt x="23414" y="29394"/>
                    </a:cubicBezTo>
                    <a:cubicBezTo>
                      <a:pt x="20996" y="32257"/>
                      <a:pt x="17942" y="33721"/>
                      <a:pt x="14252" y="33721"/>
                    </a:cubicBezTo>
                    <a:cubicBezTo>
                      <a:pt x="9734" y="33721"/>
                      <a:pt x="6235" y="32066"/>
                      <a:pt x="3754" y="28822"/>
                    </a:cubicBezTo>
                    <a:cubicBezTo>
                      <a:pt x="1272" y="25577"/>
                      <a:pt x="0" y="21632"/>
                      <a:pt x="0" y="17051"/>
                    </a:cubicBezTo>
                    <a:cubicBezTo>
                      <a:pt x="0" y="13934"/>
                      <a:pt x="573" y="11007"/>
                      <a:pt x="1718" y="8335"/>
                    </a:cubicBezTo>
                    <a:cubicBezTo>
                      <a:pt x="2863" y="5662"/>
                      <a:pt x="4517" y="3627"/>
                      <a:pt x="6681" y="2163"/>
                    </a:cubicBezTo>
                    <a:cubicBezTo>
                      <a:pt x="8844" y="700"/>
                      <a:pt x="11389" y="0"/>
                      <a:pt x="14315" y="0"/>
                    </a:cubicBezTo>
                    <a:cubicBezTo>
                      <a:pt x="18196" y="0"/>
                      <a:pt x="21441" y="1591"/>
                      <a:pt x="23923" y="4708"/>
                    </a:cubicBezTo>
                    <a:lnTo>
                      <a:pt x="23923" y="763"/>
                    </a:lnTo>
                    <a:lnTo>
                      <a:pt x="29076" y="763"/>
                    </a:lnTo>
                    <a:lnTo>
                      <a:pt x="29076" y="29267"/>
                    </a:lnTo>
                    <a:cubicBezTo>
                      <a:pt x="29076" y="34421"/>
                      <a:pt x="28567" y="38047"/>
                      <a:pt x="27485" y="40210"/>
                    </a:cubicBezTo>
                    <a:cubicBezTo>
                      <a:pt x="26404" y="42374"/>
                      <a:pt x="24813" y="44028"/>
                      <a:pt x="22523" y="45300"/>
                    </a:cubicBezTo>
                    <a:cubicBezTo>
                      <a:pt x="20232" y="46573"/>
                      <a:pt x="17497" y="47145"/>
                      <a:pt x="14125" y="47145"/>
                    </a:cubicBezTo>
                    <a:cubicBezTo>
                      <a:pt x="10180" y="47145"/>
                      <a:pt x="6999" y="46255"/>
                      <a:pt x="4581" y="44473"/>
                    </a:cubicBezTo>
                    <a:cubicBezTo>
                      <a:pt x="2290" y="42628"/>
                      <a:pt x="1145" y="39956"/>
                      <a:pt x="1209" y="36393"/>
                    </a:cubicBezTo>
                    <a:close/>
                    <a:moveTo>
                      <a:pt x="5853" y="16606"/>
                    </a:moveTo>
                    <a:cubicBezTo>
                      <a:pt x="5853" y="20932"/>
                      <a:pt x="6744" y="24114"/>
                      <a:pt x="8462" y="26086"/>
                    </a:cubicBezTo>
                    <a:cubicBezTo>
                      <a:pt x="10180" y="28058"/>
                      <a:pt x="12343" y="29076"/>
                      <a:pt x="14952" y="29076"/>
                    </a:cubicBezTo>
                    <a:cubicBezTo>
                      <a:pt x="17497" y="29076"/>
                      <a:pt x="19660" y="28058"/>
                      <a:pt x="21441" y="26086"/>
                    </a:cubicBezTo>
                    <a:cubicBezTo>
                      <a:pt x="23159" y="24114"/>
                      <a:pt x="24050" y="20996"/>
                      <a:pt x="24050" y="16797"/>
                    </a:cubicBezTo>
                    <a:cubicBezTo>
                      <a:pt x="24050" y="12788"/>
                      <a:pt x="23159" y="9734"/>
                      <a:pt x="21378" y="7635"/>
                    </a:cubicBezTo>
                    <a:cubicBezTo>
                      <a:pt x="19596" y="5535"/>
                      <a:pt x="17433" y="4581"/>
                      <a:pt x="14888" y="4581"/>
                    </a:cubicBezTo>
                    <a:cubicBezTo>
                      <a:pt x="12407" y="4581"/>
                      <a:pt x="10307" y="5599"/>
                      <a:pt x="8526" y="7635"/>
                    </a:cubicBezTo>
                    <a:cubicBezTo>
                      <a:pt x="6744" y="9607"/>
                      <a:pt x="5853" y="12597"/>
                      <a:pt x="5853" y="16606"/>
                    </a:cubicBezTo>
                    <a:close/>
                  </a:path>
                </a:pathLst>
              </a:custGeom>
              <a:grpFill/>
              <a:ln w="6361" cap="flat">
                <a:noFill/>
                <a:prstDash val="solid"/>
                <a:miter/>
              </a:ln>
            </p:spPr>
            <p:txBody>
              <a:bodyPr rtlCol="0" anchor="ctr"/>
              <a:lstStyle/>
              <a:p>
                <a:endParaRPr lang="da-DK"/>
              </a:p>
            </p:txBody>
          </p:sp>
          <p:sp>
            <p:nvSpPr>
              <p:cNvPr id="186" name="Freeform: Shape 185">
                <a:extLst>
                  <a:ext uri="{FF2B5EF4-FFF2-40B4-BE49-F238E27FC236}">
                    <a16:creationId xmlns:a16="http://schemas.microsoft.com/office/drawing/2014/main" id="{25F4D439-369F-49BC-945F-BDEFBFC405BB}"/>
                  </a:ext>
                </a:extLst>
              </p:cNvPr>
              <p:cNvSpPr/>
              <p:nvPr/>
            </p:nvSpPr>
            <p:spPr>
              <a:xfrm>
                <a:off x="1485048" y="3622989"/>
                <a:ext cx="26849" cy="45618"/>
              </a:xfrm>
              <a:custGeom>
                <a:avLst/>
                <a:gdLst>
                  <a:gd name="connsiteX0" fmla="*/ 0 w 26849"/>
                  <a:gd name="connsiteY0" fmla="*/ 45555 h 45618"/>
                  <a:gd name="connsiteX1" fmla="*/ 0 w 26849"/>
                  <a:gd name="connsiteY1" fmla="*/ 0 h 45618"/>
                  <a:gd name="connsiteX2" fmla="*/ 5599 w 26849"/>
                  <a:gd name="connsiteY2" fmla="*/ 0 h 45618"/>
                  <a:gd name="connsiteX3" fmla="*/ 5599 w 26849"/>
                  <a:gd name="connsiteY3" fmla="*/ 16351 h 45618"/>
                  <a:gd name="connsiteX4" fmla="*/ 15461 w 26849"/>
                  <a:gd name="connsiteY4" fmla="*/ 11834 h 45618"/>
                  <a:gd name="connsiteX5" fmla="*/ 21823 w 26849"/>
                  <a:gd name="connsiteY5" fmla="*/ 13297 h 45618"/>
                  <a:gd name="connsiteX6" fmla="*/ 25704 w 26849"/>
                  <a:gd name="connsiteY6" fmla="*/ 17306 h 45618"/>
                  <a:gd name="connsiteX7" fmla="*/ 26849 w 26849"/>
                  <a:gd name="connsiteY7" fmla="*/ 24686 h 45618"/>
                  <a:gd name="connsiteX8" fmla="*/ 26849 w 26849"/>
                  <a:gd name="connsiteY8" fmla="*/ 45618 h 45618"/>
                  <a:gd name="connsiteX9" fmla="*/ 21250 w 26849"/>
                  <a:gd name="connsiteY9" fmla="*/ 45618 h 45618"/>
                  <a:gd name="connsiteX10" fmla="*/ 21250 w 26849"/>
                  <a:gd name="connsiteY10" fmla="*/ 24686 h 45618"/>
                  <a:gd name="connsiteX11" fmla="*/ 19405 w 26849"/>
                  <a:gd name="connsiteY11" fmla="*/ 18578 h 45618"/>
                  <a:gd name="connsiteX12" fmla="*/ 14252 w 26849"/>
                  <a:gd name="connsiteY12" fmla="*/ 16669 h 45618"/>
                  <a:gd name="connsiteX13" fmla="*/ 9607 w 26849"/>
                  <a:gd name="connsiteY13" fmla="*/ 17942 h 45618"/>
                  <a:gd name="connsiteX14" fmla="*/ 6490 w 26849"/>
                  <a:gd name="connsiteY14" fmla="*/ 21441 h 45618"/>
                  <a:gd name="connsiteX15" fmla="*/ 5535 w 26849"/>
                  <a:gd name="connsiteY15" fmla="*/ 27549 h 45618"/>
                  <a:gd name="connsiteX16" fmla="*/ 5535 w 26849"/>
                  <a:gd name="connsiteY16" fmla="*/ 45618 h 45618"/>
                  <a:gd name="connsiteX17" fmla="*/ 0 w 26849"/>
                  <a:gd name="connsiteY17" fmla="*/ 45618 h 4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49" h="45618">
                    <a:moveTo>
                      <a:pt x="0" y="45555"/>
                    </a:moveTo>
                    <a:lnTo>
                      <a:pt x="0" y="0"/>
                    </a:lnTo>
                    <a:lnTo>
                      <a:pt x="5599" y="0"/>
                    </a:lnTo>
                    <a:lnTo>
                      <a:pt x="5599" y="16351"/>
                    </a:lnTo>
                    <a:cubicBezTo>
                      <a:pt x="8208" y="13297"/>
                      <a:pt x="11516" y="11834"/>
                      <a:pt x="15461" y="11834"/>
                    </a:cubicBezTo>
                    <a:cubicBezTo>
                      <a:pt x="17878" y="11834"/>
                      <a:pt x="20041" y="12343"/>
                      <a:pt x="21823" y="13297"/>
                    </a:cubicBezTo>
                    <a:cubicBezTo>
                      <a:pt x="23605" y="14252"/>
                      <a:pt x="24941" y="15588"/>
                      <a:pt x="25704" y="17306"/>
                    </a:cubicBezTo>
                    <a:cubicBezTo>
                      <a:pt x="26468" y="19024"/>
                      <a:pt x="26849" y="21441"/>
                      <a:pt x="26849" y="24686"/>
                    </a:cubicBezTo>
                    <a:lnTo>
                      <a:pt x="26849" y="45618"/>
                    </a:lnTo>
                    <a:lnTo>
                      <a:pt x="21250" y="45618"/>
                    </a:lnTo>
                    <a:lnTo>
                      <a:pt x="21250" y="24686"/>
                    </a:lnTo>
                    <a:cubicBezTo>
                      <a:pt x="21250" y="21887"/>
                      <a:pt x="20678" y="19851"/>
                      <a:pt x="19405" y="18578"/>
                    </a:cubicBezTo>
                    <a:cubicBezTo>
                      <a:pt x="18196" y="17306"/>
                      <a:pt x="16479" y="16669"/>
                      <a:pt x="14252" y="16669"/>
                    </a:cubicBezTo>
                    <a:cubicBezTo>
                      <a:pt x="12598" y="16669"/>
                      <a:pt x="11071" y="17115"/>
                      <a:pt x="9607" y="17942"/>
                    </a:cubicBezTo>
                    <a:cubicBezTo>
                      <a:pt x="8144" y="18769"/>
                      <a:pt x="7126" y="19978"/>
                      <a:pt x="6490" y="21441"/>
                    </a:cubicBezTo>
                    <a:cubicBezTo>
                      <a:pt x="5853" y="22905"/>
                      <a:pt x="5535" y="24941"/>
                      <a:pt x="5535" y="27549"/>
                    </a:cubicBezTo>
                    <a:lnTo>
                      <a:pt x="5535" y="45618"/>
                    </a:lnTo>
                    <a:lnTo>
                      <a:pt x="0" y="45618"/>
                    </a:lnTo>
                    <a:close/>
                  </a:path>
                </a:pathLst>
              </a:custGeom>
              <a:grpFill/>
              <a:ln w="6361" cap="flat">
                <a:noFill/>
                <a:prstDash val="solid"/>
                <a:miter/>
              </a:ln>
            </p:spPr>
            <p:txBody>
              <a:bodyPr rtlCol="0" anchor="ctr"/>
              <a:lstStyle/>
              <a:p>
                <a:endParaRPr lang="da-DK"/>
              </a:p>
            </p:txBody>
          </p:sp>
          <p:sp>
            <p:nvSpPr>
              <p:cNvPr id="187" name="Freeform: Shape 186">
                <a:extLst>
                  <a:ext uri="{FF2B5EF4-FFF2-40B4-BE49-F238E27FC236}">
                    <a16:creationId xmlns:a16="http://schemas.microsoft.com/office/drawing/2014/main" id="{67F05509-5CDB-4B8E-BBD0-B1F462A22FE9}"/>
                  </a:ext>
                </a:extLst>
              </p:cNvPr>
              <p:cNvSpPr/>
              <p:nvPr/>
            </p:nvSpPr>
            <p:spPr>
              <a:xfrm>
                <a:off x="151857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grpFill/>
              <a:ln w="6361" cap="flat">
                <a:noFill/>
                <a:prstDash val="solid"/>
                <a:miter/>
              </a:ln>
            </p:spPr>
            <p:txBody>
              <a:bodyPr rtlCol="0" anchor="ctr"/>
              <a:lstStyle/>
              <a:p>
                <a:endParaRPr lang="da-DK"/>
              </a:p>
            </p:txBody>
          </p:sp>
          <p:sp>
            <p:nvSpPr>
              <p:cNvPr id="188" name="Freeform: Shape 187">
                <a:extLst>
                  <a:ext uri="{FF2B5EF4-FFF2-40B4-BE49-F238E27FC236}">
                    <a16:creationId xmlns:a16="http://schemas.microsoft.com/office/drawing/2014/main" id="{8AC7977D-64D4-45E6-AF54-96F91CBE639A}"/>
                  </a:ext>
                </a:extLst>
              </p:cNvPr>
              <p:cNvSpPr/>
              <p:nvPr/>
            </p:nvSpPr>
            <p:spPr>
              <a:xfrm>
                <a:off x="1553698" y="3622989"/>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7"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grpFill/>
              <a:ln w="6361" cap="flat">
                <a:noFill/>
                <a:prstDash val="solid"/>
                <a:miter/>
              </a:ln>
            </p:spPr>
            <p:txBody>
              <a:bodyPr rtlCol="0" anchor="ctr"/>
              <a:lstStyle/>
              <a:p>
                <a:endParaRPr lang="da-DK"/>
              </a:p>
            </p:txBody>
          </p:sp>
          <p:sp>
            <p:nvSpPr>
              <p:cNvPr id="189" name="Freeform: Shape 188">
                <a:extLst>
                  <a:ext uri="{FF2B5EF4-FFF2-40B4-BE49-F238E27FC236}">
                    <a16:creationId xmlns:a16="http://schemas.microsoft.com/office/drawing/2014/main" id="{EDBD697C-9004-4B71-BABE-92E1C4D7BEAF}"/>
                  </a:ext>
                </a:extLst>
              </p:cNvPr>
              <p:cNvSpPr/>
              <p:nvPr/>
            </p:nvSpPr>
            <p:spPr>
              <a:xfrm>
                <a:off x="158932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90" y="8844"/>
                      <a:pt x="6235" y="11134"/>
                      <a:pt x="6044" y="13997"/>
                    </a:cubicBezTo>
                    <a:close/>
                  </a:path>
                </a:pathLst>
              </a:custGeom>
              <a:grpFill/>
              <a:ln w="6361" cap="flat">
                <a:noFill/>
                <a:prstDash val="solid"/>
                <a:miter/>
              </a:ln>
            </p:spPr>
            <p:txBody>
              <a:bodyPr rtlCol="0" anchor="ctr"/>
              <a:lstStyle/>
              <a:p>
                <a:endParaRPr lang="da-DK"/>
              </a:p>
            </p:txBody>
          </p:sp>
          <p:sp>
            <p:nvSpPr>
              <p:cNvPr id="190" name="Freeform: Shape 189">
                <a:extLst>
                  <a:ext uri="{FF2B5EF4-FFF2-40B4-BE49-F238E27FC236}">
                    <a16:creationId xmlns:a16="http://schemas.microsoft.com/office/drawing/2014/main" id="{9CAA5D5B-442B-4488-B2B7-609FDD66E536}"/>
                  </a:ext>
                </a:extLst>
              </p:cNvPr>
              <p:cNvSpPr/>
              <p:nvPr/>
            </p:nvSpPr>
            <p:spPr>
              <a:xfrm>
                <a:off x="1626484" y="3634759"/>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grpFill/>
              <a:ln w="6361" cap="flat">
                <a:noFill/>
                <a:prstDash val="solid"/>
                <a:miter/>
              </a:ln>
            </p:spPr>
            <p:txBody>
              <a:bodyPr rtlCol="0" anchor="ctr"/>
              <a:lstStyle/>
              <a:p>
                <a:endParaRPr lang="da-DK"/>
              </a:p>
            </p:txBody>
          </p:sp>
          <p:sp>
            <p:nvSpPr>
              <p:cNvPr id="191" name="Freeform: Shape 190">
                <a:extLst>
                  <a:ext uri="{FF2B5EF4-FFF2-40B4-BE49-F238E27FC236}">
                    <a16:creationId xmlns:a16="http://schemas.microsoft.com/office/drawing/2014/main" id="{1462162E-DA6D-4F56-AC6F-BA6579639EF8}"/>
                  </a:ext>
                </a:extLst>
              </p:cNvPr>
              <p:cNvSpPr/>
              <p:nvPr/>
            </p:nvSpPr>
            <p:spPr>
              <a:xfrm>
                <a:off x="1645826" y="3662181"/>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grpFill/>
              <a:ln w="6361" cap="flat">
                <a:noFill/>
                <a:prstDash val="solid"/>
                <a:miter/>
              </a:ln>
            </p:spPr>
            <p:txBody>
              <a:bodyPr rtlCol="0" anchor="ctr"/>
              <a:lstStyle/>
              <a:p>
                <a:endParaRPr lang="da-DK"/>
              </a:p>
            </p:txBody>
          </p:sp>
        </p:grpSp>
        <p:grpSp>
          <p:nvGrpSpPr>
            <p:cNvPr id="137" name="Graphic 5">
              <a:extLst>
                <a:ext uri="{FF2B5EF4-FFF2-40B4-BE49-F238E27FC236}">
                  <a16:creationId xmlns:a16="http://schemas.microsoft.com/office/drawing/2014/main" id="{B9195075-A9ED-41EA-B376-D9EE0E60292C}"/>
                </a:ext>
              </a:extLst>
            </p:cNvPr>
            <p:cNvGrpSpPr/>
            <p:nvPr/>
          </p:nvGrpSpPr>
          <p:grpSpPr>
            <a:xfrm>
              <a:off x="632997" y="3239655"/>
              <a:ext cx="440022" cy="431242"/>
              <a:chOff x="632997" y="3239655"/>
              <a:chExt cx="440022" cy="431242"/>
            </a:xfrm>
            <a:grpFill/>
          </p:grpSpPr>
          <p:sp>
            <p:nvSpPr>
              <p:cNvPr id="138" name="Freeform: Shape 137">
                <a:extLst>
                  <a:ext uri="{FF2B5EF4-FFF2-40B4-BE49-F238E27FC236}">
                    <a16:creationId xmlns:a16="http://schemas.microsoft.com/office/drawing/2014/main" id="{B95A73A7-18DD-48CB-B50C-8EE0BD518EA7}"/>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39" name="Freeform: Shape 138">
                <a:extLst>
                  <a:ext uri="{FF2B5EF4-FFF2-40B4-BE49-F238E27FC236}">
                    <a16:creationId xmlns:a16="http://schemas.microsoft.com/office/drawing/2014/main" id="{C69C8BC2-51D4-4F38-9792-5FD10EFBC212}"/>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0" name="Freeform: Shape 139">
                <a:extLst>
                  <a:ext uri="{FF2B5EF4-FFF2-40B4-BE49-F238E27FC236}">
                    <a16:creationId xmlns:a16="http://schemas.microsoft.com/office/drawing/2014/main" id="{541FCB7B-9B45-4E59-8514-9B47AD510C19}"/>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1" name="Freeform: Shape 140">
                <a:extLst>
                  <a:ext uri="{FF2B5EF4-FFF2-40B4-BE49-F238E27FC236}">
                    <a16:creationId xmlns:a16="http://schemas.microsoft.com/office/drawing/2014/main" id="{B164C0AC-F6C5-4E7C-8D4F-13C8C892E12C}"/>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2" name="Freeform: Shape 141">
                <a:extLst>
                  <a:ext uri="{FF2B5EF4-FFF2-40B4-BE49-F238E27FC236}">
                    <a16:creationId xmlns:a16="http://schemas.microsoft.com/office/drawing/2014/main" id="{D1BBB65F-0047-4783-9BEA-68449A1C52F6}"/>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3" name="Freeform: Shape 142">
                <a:extLst>
                  <a:ext uri="{FF2B5EF4-FFF2-40B4-BE49-F238E27FC236}">
                    <a16:creationId xmlns:a16="http://schemas.microsoft.com/office/drawing/2014/main" id="{B8015861-32E7-4CC0-BCE1-2CD142E15D48}"/>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sp>
            <p:nvSpPr>
              <p:cNvPr id="144" name="Freeform: Shape 143">
                <a:extLst>
                  <a:ext uri="{FF2B5EF4-FFF2-40B4-BE49-F238E27FC236}">
                    <a16:creationId xmlns:a16="http://schemas.microsoft.com/office/drawing/2014/main" id="{53EDAD37-F12F-44DB-B3D1-B0ED9B485612}"/>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grpFill/>
              <a:ln w="6361" cap="flat">
                <a:noFill/>
                <a:prstDash val="solid"/>
                <a:miter/>
              </a:ln>
            </p:spPr>
            <p:txBody>
              <a:bodyPr rtlCol="0" anchor="ctr"/>
              <a:lstStyle/>
              <a:p>
                <a:endParaRPr lang="da-DK"/>
              </a:p>
            </p:txBody>
          </p:sp>
        </p:grpSp>
      </p:grpSp>
    </p:spTree>
    <p:extLst>
      <p:ext uri="{BB962C8B-B14F-4D97-AF65-F5344CB8AC3E}">
        <p14:creationId xmlns:p14="http://schemas.microsoft.com/office/powerpoint/2010/main" val="63754966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vid for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tx1"/>
                </a:solidFill>
              </a:defRPr>
            </a:lvl1pPr>
          </a:lstStyle>
          <a:p>
            <a:r>
              <a:rPr lang="da-DK"/>
              <a:t>Klik for at tilføje overskrift</a:t>
            </a:r>
          </a:p>
        </p:txBody>
      </p:sp>
      <p:sp>
        <p:nvSpPr>
          <p:cNvPr id="13" name="Date Placeholder 14">
            <a:extLst>
              <a:ext uri="{FF2B5EF4-FFF2-40B4-BE49-F238E27FC236}">
                <a16:creationId xmlns:a16="http://schemas.microsoft.com/office/drawing/2014/main" id="{5161ABAB-6DB4-433A-ACC8-A0EC0AACAD0C}"/>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2-05-2025</a:t>
            </a:fld>
            <a:endParaRPr lang="da-DK"/>
          </a:p>
        </p:txBody>
      </p:sp>
      <p:sp>
        <p:nvSpPr>
          <p:cNvPr id="14" name="Date Placeholder 14">
            <a:extLst>
              <a:ext uri="{FF2B5EF4-FFF2-40B4-BE49-F238E27FC236}">
                <a16:creationId xmlns:a16="http://schemas.microsoft.com/office/drawing/2014/main" id="{BC3A8B03-9EA5-416E-BD54-B87E6C4A6781}"/>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Tree>
    <p:extLst>
      <p:ext uri="{BB962C8B-B14F-4D97-AF65-F5344CB8AC3E}">
        <p14:creationId xmlns:p14="http://schemas.microsoft.com/office/powerpoint/2010/main" val="88187566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og indholdsobjek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B0751AEF-1843-451A-9418-F0E0C3DC69E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0248BF5A-3EA4-44A2-85A9-D816B038DD0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32757030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05658C06-E668-41FD-BC8E-10BED683B81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D2F70ACF-A56D-4728-A5F0-F1701EF89A04}"/>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10788197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92F94B-372B-44FF-85CE-284E468B95F6}"/>
              </a:ext>
            </a:extLst>
          </p:cNvPr>
          <p:cNvSpPr>
            <a:spLocks noGrp="1"/>
          </p:cNvSpPr>
          <p:nvPr>
            <p:ph type="title"/>
          </p:nvPr>
        </p:nvSpPr>
        <p:spPr>
          <a:xfrm>
            <a:off x="831850" y="1089251"/>
            <a:ext cx="10565494" cy="2852737"/>
          </a:xfrm>
          <a:prstGeom prst="rect">
            <a:avLst/>
          </a:prstGeom>
        </p:spPr>
        <p:txBody>
          <a:bodyPr anchor="b"/>
          <a:lstStyle>
            <a:lvl1pPr>
              <a:defRPr sz="6000"/>
            </a:lvl1pPr>
          </a:lstStyle>
          <a:p>
            <a:r>
              <a:rPr lang="da-DK"/>
              <a:t>Klik for at redigere titeltypografien i masteren</a:t>
            </a:r>
          </a:p>
        </p:txBody>
      </p:sp>
      <p:sp>
        <p:nvSpPr>
          <p:cNvPr id="3" name="Text Placeholder 2">
            <a:extLst>
              <a:ext uri="{FF2B5EF4-FFF2-40B4-BE49-F238E27FC236}">
                <a16:creationId xmlns:a16="http://schemas.microsoft.com/office/drawing/2014/main" id="{37C17825-7FA2-4B73-BC87-EECC0ED07FE5}"/>
              </a:ext>
            </a:extLst>
          </p:cNvPr>
          <p:cNvSpPr>
            <a:spLocks noGrp="1"/>
          </p:cNvSpPr>
          <p:nvPr>
            <p:ph type="body" idx="1"/>
          </p:nvPr>
        </p:nvSpPr>
        <p:spPr>
          <a:xfrm>
            <a:off x="831850" y="4045176"/>
            <a:ext cx="10565494"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a-DK"/>
              <a:t>Klik for at redigere teksttypografierne i masteren</a:t>
            </a:r>
          </a:p>
        </p:txBody>
      </p:sp>
      <p:cxnSp>
        <p:nvCxnSpPr>
          <p:cNvPr id="14" name="Straight Connector 13">
            <a:extLst>
              <a:ext uri="{FF2B5EF4-FFF2-40B4-BE49-F238E27FC236}">
                <a16:creationId xmlns:a16="http://schemas.microsoft.com/office/drawing/2014/main" id="{A5B5FD55-0E05-49F6-82D8-C722792197BB}"/>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Slide Number Placeholder 5">
            <a:extLst>
              <a:ext uri="{FF2B5EF4-FFF2-40B4-BE49-F238E27FC236}">
                <a16:creationId xmlns:a16="http://schemas.microsoft.com/office/drawing/2014/main" id="{4D78D4F0-8246-432B-AE2E-DF98A507D1D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5FFD3951-4B8E-457A-AF38-BA4B4322B66D}"/>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363152196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 indholdsobjekter">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14F577-AB74-4B32-B9FE-A92FDE34CD8C}"/>
              </a:ext>
            </a:extLst>
          </p:cNvPr>
          <p:cNvSpPr>
            <a:spLocks noGrp="1"/>
          </p:cNvSpPr>
          <p:nvPr>
            <p:ph sz="half" idx="1"/>
          </p:nvPr>
        </p:nvSpPr>
        <p:spPr>
          <a:xfrm>
            <a:off x="838201" y="1219200"/>
            <a:ext cx="4931229" cy="479469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Content Placeholder 3">
            <a:extLst>
              <a:ext uri="{FF2B5EF4-FFF2-40B4-BE49-F238E27FC236}">
                <a16:creationId xmlns:a16="http://schemas.microsoft.com/office/drawing/2014/main" id="{2DF8F4A2-3EF1-4703-BAE5-6CE954858890}"/>
              </a:ext>
            </a:extLst>
          </p:cNvPr>
          <p:cNvSpPr>
            <a:spLocks noGrp="1"/>
          </p:cNvSpPr>
          <p:nvPr>
            <p:ph sz="half" idx="2"/>
          </p:nvPr>
        </p:nvSpPr>
        <p:spPr>
          <a:xfrm>
            <a:off x="6466115" y="1219200"/>
            <a:ext cx="4931229" cy="479469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12" name="Straight Connector 11">
            <a:extLst>
              <a:ext uri="{FF2B5EF4-FFF2-40B4-BE49-F238E27FC236}">
                <a16:creationId xmlns:a16="http://schemas.microsoft.com/office/drawing/2014/main" id="{D25423A8-0B2D-41DE-BC82-01AAAD4D7DBE}"/>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AABA8C7C-84AF-4117-A127-4FC88A318BA2}"/>
              </a:ext>
            </a:extLst>
          </p:cNvPr>
          <p:cNvSpPr txBox="1">
            <a:spLocks/>
          </p:cNvSpPr>
          <p:nvPr userDrawn="1"/>
        </p:nvSpPr>
        <p:spPr>
          <a:xfrm>
            <a:off x="764059" y="248496"/>
            <a:ext cx="10633284" cy="6944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91ABE20C-0416-4896-B824-0B67F848B576}"/>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DDD2AEA9-AF89-4ECB-9839-2DB54B767289}"/>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17206304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un titel">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7" name="Slide Number Placeholder 5">
            <a:extLst>
              <a:ext uri="{FF2B5EF4-FFF2-40B4-BE49-F238E27FC236}">
                <a16:creationId xmlns:a16="http://schemas.microsoft.com/office/drawing/2014/main" id="{74A2011A-AB7A-4D6D-BCAB-42396622677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9" name="Date Placeholder 2">
            <a:extLst>
              <a:ext uri="{FF2B5EF4-FFF2-40B4-BE49-F238E27FC236}">
                <a16:creationId xmlns:a16="http://schemas.microsoft.com/office/drawing/2014/main" id="{CEEF95ED-1387-4C95-AA19-9C1626DE619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31408021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om">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2519537-D7FE-4352-8267-4691F584EC0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37175440-D7DA-48D2-9FC9-CE4D7225957B}"/>
              </a:ext>
            </a:extLst>
          </p:cNvPr>
          <p:cNvSpPr>
            <a:spLocks noGrp="1"/>
          </p:cNvSpPr>
          <p:nvPr>
            <p:ph type="title"/>
          </p:nvPr>
        </p:nvSpPr>
        <p:spPr>
          <a:xfrm>
            <a:off x="764058" y="248496"/>
            <a:ext cx="10633285"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7" name="Slide Number Placeholder 5">
            <a:extLst>
              <a:ext uri="{FF2B5EF4-FFF2-40B4-BE49-F238E27FC236}">
                <a16:creationId xmlns:a16="http://schemas.microsoft.com/office/drawing/2014/main" id="{9EF8FF89-C031-404F-A69A-F265A665D5A3}"/>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C52E4480-EDC2-4C02-8A47-AD6173F2043E}"/>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42776924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F06B3A-3DAB-4961-8328-45F435A6CB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da-DK"/>
              <a:t>Klik for at redigere titeltypografien i masteren</a:t>
            </a:r>
          </a:p>
        </p:txBody>
      </p:sp>
      <p:sp>
        <p:nvSpPr>
          <p:cNvPr id="3" name="Content Placeholder 2">
            <a:extLst>
              <a:ext uri="{FF2B5EF4-FFF2-40B4-BE49-F238E27FC236}">
                <a16:creationId xmlns:a16="http://schemas.microsoft.com/office/drawing/2014/main" id="{439C56CF-41E9-4178-A748-B254988BA39A}"/>
              </a:ext>
            </a:extLst>
          </p:cNvPr>
          <p:cNvSpPr>
            <a:spLocks noGrp="1"/>
          </p:cNvSpPr>
          <p:nvPr>
            <p:ph idx="1"/>
          </p:nvPr>
        </p:nvSpPr>
        <p:spPr>
          <a:xfrm>
            <a:off x="5183188" y="987425"/>
            <a:ext cx="6214156"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Text Placeholder 3">
            <a:extLst>
              <a:ext uri="{FF2B5EF4-FFF2-40B4-BE49-F238E27FC236}">
                <a16:creationId xmlns:a16="http://schemas.microsoft.com/office/drawing/2014/main" id="{817FBD2E-7C5B-4900-A7A6-470F504C1D4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cxnSp>
        <p:nvCxnSpPr>
          <p:cNvPr id="10" name="Straight Connector 9">
            <a:extLst>
              <a:ext uri="{FF2B5EF4-FFF2-40B4-BE49-F238E27FC236}">
                <a16:creationId xmlns:a16="http://schemas.microsoft.com/office/drawing/2014/main" id="{F4F248CA-28F5-4EF0-AC29-D8C0D431219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B074A1A1-8396-45AD-8519-9892BB82D02F}"/>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1" name="Date Placeholder 2">
            <a:extLst>
              <a:ext uri="{FF2B5EF4-FFF2-40B4-BE49-F238E27FC236}">
                <a16:creationId xmlns:a16="http://schemas.microsoft.com/office/drawing/2014/main" id="{05F6E847-EF2D-4AE6-AD34-50A73E56962B}"/>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343275973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E8C621-0B97-4C7C-B6C0-830F755612EC}"/>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da-DK"/>
              <a:t>Klik for at redigere titeltypografien i masteren</a:t>
            </a:r>
          </a:p>
        </p:txBody>
      </p:sp>
      <p:sp>
        <p:nvSpPr>
          <p:cNvPr id="3" name="Picture Placeholder 2">
            <a:extLst>
              <a:ext uri="{FF2B5EF4-FFF2-40B4-BE49-F238E27FC236}">
                <a16:creationId xmlns:a16="http://schemas.microsoft.com/office/drawing/2014/main" id="{46BE7B75-9BF4-4401-B191-BB3908E1EBE2}"/>
              </a:ext>
            </a:extLst>
          </p:cNvPr>
          <p:cNvSpPr>
            <a:spLocks noGrp="1"/>
          </p:cNvSpPr>
          <p:nvPr>
            <p:ph type="pic" idx="1"/>
          </p:nvPr>
        </p:nvSpPr>
        <p:spPr>
          <a:xfrm>
            <a:off x="5183188" y="987425"/>
            <a:ext cx="6214156"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på ikonet for at tilføje et billede</a:t>
            </a:r>
          </a:p>
        </p:txBody>
      </p:sp>
      <p:sp>
        <p:nvSpPr>
          <p:cNvPr id="4" name="Text Placeholder 3">
            <a:extLst>
              <a:ext uri="{FF2B5EF4-FFF2-40B4-BE49-F238E27FC236}">
                <a16:creationId xmlns:a16="http://schemas.microsoft.com/office/drawing/2014/main" id="{00233DD2-FA4D-47F9-8892-625CA25DF5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a-DK"/>
              <a:t>Klik for at redigere teksttypografierne i masteren</a:t>
            </a:r>
          </a:p>
        </p:txBody>
      </p:sp>
      <p:cxnSp>
        <p:nvCxnSpPr>
          <p:cNvPr id="10" name="Straight Connector 9">
            <a:extLst>
              <a:ext uri="{FF2B5EF4-FFF2-40B4-BE49-F238E27FC236}">
                <a16:creationId xmlns:a16="http://schemas.microsoft.com/office/drawing/2014/main" id="{EFE0AF08-08E3-45E3-9742-C8B6E2926BB4}"/>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A7C20CAB-C827-4D9D-89DA-EAD5E03067D0}"/>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1" name="Date Placeholder 2">
            <a:extLst>
              <a:ext uri="{FF2B5EF4-FFF2-40B4-BE49-F238E27FC236}">
                <a16:creationId xmlns:a16="http://schemas.microsoft.com/office/drawing/2014/main" id="{FEE037F5-F845-4A59-BC5A-B8D3EB4A5DBD}"/>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289495078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og lodret teks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ED3B1CA5-2BDE-4BB5-BBA0-411DD54C830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9" name="Straight Connector 8">
            <a:extLst>
              <a:ext uri="{FF2B5EF4-FFF2-40B4-BE49-F238E27FC236}">
                <a16:creationId xmlns:a16="http://schemas.microsoft.com/office/drawing/2014/main" id="{88905425-0F8F-42E7-9785-D1DE2BD25732}"/>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B402CF81-21B2-4C69-99B5-B2D2CE00F43F}"/>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8" name="Slide Number Placeholder 5">
            <a:extLst>
              <a:ext uri="{FF2B5EF4-FFF2-40B4-BE49-F238E27FC236}">
                <a16:creationId xmlns:a16="http://schemas.microsoft.com/office/drawing/2014/main" id="{0CAEEB8D-63C0-4BD3-953D-EB1951D55AA9}"/>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FC9D9886-C887-4D2E-882D-C8DA2BAAE279}"/>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337261551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0FFFE99-DDD3-44D9-A560-AD74CB3A9BAF}"/>
              </a:ext>
            </a:extLst>
          </p:cNvPr>
          <p:cNvSpPr>
            <a:spLocks noGrp="1"/>
          </p:cNvSpPr>
          <p:nvPr>
            <p:ph type="title" orient="vert"/>
          </p:nvPr>
        </p:nvSpPr>
        <p:spPr>
          <a:xfrm>
            <a:off x="8904515" y="365125"/>
            <a:ext cx="2492829" cy="5648766"/>
          </a:xfrm>
          <a:prstGeom prst="rect">
            <a:avLst/>
          </a:prstGeom>
        </p:spPr>
        <p:txBody>
          <a:bodyPr vert="eaVert"/>
          <a:lstStyle/>
          <a:p>
            <a:r>
              <a:rPr lang="da-DK"/>
              <a:t>Klik for at redigere titeltypografien i masteren</a:t>
            </a:r>
          </a:p>
        </p:txBody>
      </p:sp>
      <p:sp>
        <p:nvSpPr>
          <p:cNvPr id="3" name="Vertical Text Placeholder 2">
            <a:extLst>
              <a:ext uri="{FF2B5EF4-FFF2-40B4-BE49-F238E27FC236}">
                <a16:creationId xmlns:a16="http://schemas.microsoft.com/office/drawing/2014/main" id="{1B66AEED-6426-46ED-A5C0-2ED3B3105DF7}"/>
              </a:ext>
            </a:extLst>
          </p:cNvPr>
          <p:cNvSpPr>
            <a:spLocks noGrp="1"/>
          </p:cNvSpPr>
          <p:nvPr>
            <p:ph type="body" orient="vert" idx="1"/>
          </p:nvPr>
        </p:nvSpPr>
        <p:spPr>
          <a:xfrm>
            <a:off x="764060" y="365125"/>
            <a:ext cx="7900970" cy="5648766"/>
          </a:xfrm>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9" name="Straight Connector 8">
            <a:extLst>
              <a:ext uri="{FF2B5EF4-FFF2-40B4-BE49-F238E27FC236}">
                <a16:creationId xmlns:a16="http://schemas.microsoft.com/office/drawing/2014/main" id="{DF473211-8EE3-4C93-9983-0F126719DF94}"/>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99058BE5-B828-449D-9426-FEBF833BF12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54DC5E31-E833-4DD4-97C6-EE22EA26A52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5746916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4400">
                <a:solidFill>
                  <a:schemeClr val="tx1"/>
                </a:solidFill>
              </a:defRPr>
            </a:lvl1pPr>
          </a:lstStyle>
          <a:p>
            <a:r>
              <a:rPr lang="da-DK"/>
              <a:t>Klik for at tilføje overskrift</a:t>
            </a:r>
          </a:p>
        </p:txBody>
      </p:sp>
      <p:sp>
        <p:nvSpPr>
          <p:cNvPr id="19" name="text" descr="{&quot;templafy&quot;:{&quot;id&quot;:&quot;4f455b05-4319-4f8f-8f7d-79f450a749aa&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SIS</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1" name="Straight Connector 10">
            <a:extLst>
              <a:ext uri="{FF2B5EF4-FFF2-40B4-BE49-F238E27FC236}">
                <a16:creationId xmlns:a16="http://schemas.microsoft.com/office/drawing/2014/main" id="{EEFBD90C-157B-45E5-8A90-9560C86CAB4C}"/>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descr="{&quot;templafy&quot;:{&quot;id&quot;:&quot;859008e1-1671-4807-8867-2aaa4d8b9bc1&quot;}}" title="Form.Date">
            <a:extLst>
              <a:ext uri="{FF2B5EF4-FFF2-40B4-BE49-F238E27FC236}">
                <a16:creationId xmlns:a16="http://schemas.microsoft.com/office/drawing/2014/main" id="{508E925B-663E-4A1A-8916-BC4FCFEA746C}"/>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a:solidFill>
                  <a:schemeClr val="tx1"/>
                </a:solidFill>
              </a:rPr>
              <a:t>2025</a:t>
            </a:r>
          </a:p>
        </p:txBody>
      </p:sp>
      <p:sp>
        <p:nvSpPr>
          <p:cNvPr id="17" name="Date Placeholder 14">
            <a:extLst>
              <a:ext uri="{FF2B5EF4-FFF2-40B4-BE49-F238E27FC236}">
                <a16:creationId xmlns:a16="http://schemas.microsoft.com/office/drawing/2014/main" id="{D63CFED0-47FC-4852-81C1-6B705FD6417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3" name="TextBox 2">
            <a:extLst>
              <a:ext uri="{FF2B5EF4-FFF2-40B4-BE49-F238E27FC236}">
                <a16:creationId xmlns:a16="http://schemas.microsoft.com/office/drawing/2014/main" id="{2D2565F4-7FB3-4F2B-AED8-4859D42935AE}"/>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28288113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7D645976-D738-4A9C-AFF5-7C4855F7030B}"/>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5DA2D0FD-D62A-492E-B8A9-6B72B5866822}"/>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424642630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214F577-AB74-4B32-B9FE-A92FDE34CD8C}"/>
              </a:ext>
            </a:extLst>
          </p:cNvPr>
          <p:cNvSpPr>
            <a:spLocks noGrp="1"/>
          </p:cNvSpPr>
          <p:nvPr>
            <p:ph sz="half" idx="1"/>
          </p:nvPr>
        </p:nvSpPr>
        <p:spPr>
          <a:xfrm>
            <a:off x="838201" y="1219200"/>
            <a:ext cx="4931229" cy="479469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4" name="Content Placeholder 3">
            <a:extLst>
              <a:ext uri="{FF2B5EF4-FFF2-40B4-BE49-F238E27FC236}">
                <a16:creationId xmlns:a16="http://schemas.microsoft.com/office/drawing/2014/main" id="{2DF8F4A2-3EF1-4703-BAE5-6CE954858890}"/>
              </a:ext>
            </a:extLst>
          </p:cNvPr>
          <p:cNvSpPr>
            <a:spLocks noGrp="1"/>
          </p:cNvSpPr>
          <p:nvPr>
            <p:ph sz="half" idx="2"/>
          </p:nvPr>
        </p:nvSpPr>
        <p:spPr>
          <a:xfrm>
            <a:off x="6466115" y="1219200"/>
            <a:ext cx="4931229" cy="4794691"/>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12" name="Straight Connector 11">
            <a:extLst>
              <a:ext uri="{FF2B5EF4-FFF2-40B4-BE49-F238E27FC236}">
                <a16:creationId xmlns:a16="http://schemas.microsoft.com/office/drawing/2014/main" id="{D25423A8-0B2D-41DE-BC82-01AAAD4D7DBE}"/>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AABA8C7C-84AF-4117-A127-4FC88A318BA2}"/>
              </a:ext>
            </a:extLst>
          </p:cNvPr>
          <p:cNvSpPr txBox="1">
            <a:spLocks/>
          </p:cNvSpPr>
          <p:nvPr userDrawn="1"/>
        </p:nvSpPr>
        <p:spPr>
          <a:xfrm>
            <a:off x="764059" y="248496"/>
            <a:ext cx="10633284" cy="6944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kern="1200">
                <a:solidFill>
                  <a:schemeClr val="tx1"/>
                </a:solidFill>
                <a:latin typeface="+mj-lt"/>
                <a:ea typeface="+mj-ea"/>
                <a:cs typeface="+mj-cs"/>
              </a:defRPr>
            </a:lvl1p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F9D1606C-BA04-4D3A-BAFF-E0C25CF9826A}"/>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FFABB0F3-1BAC-4448-9DFB-1368B9A3843E}"/>
              </a:ext>
            </a:extLst>
          </p:cNvPr>
          <p:cNvSpPr>
            <a:spLocks noGrp="1"/>
          </p:cNvSpPr>
          <p:nvPr>
            <p:ph type="dt" sz="half" idx="10"/>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35699776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7" name="Slide Number Placeholder 5">
            <a:extLst>
              <a:ext uri="{FF2B5EF4-FFF2-40B4-BE49-F238E27FC236}">
                <a16:creationId xmlns:a16="http://schemas.microsoft.com/office/drawing/2014/main" id="{4CFFA4C1-CA99-4FA5-A71B-F2B578C7C7DC}"/>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9" name="Date Placeholder 2">
            <a:extLst>
              <a:ext uri="{FF2B5EF4-FFF2-40B4-BE49-F238E27FC236}">
                <a16:creationId xmlns:a16="http://schemas.microsoft.com/office/drawing/2014/main" id="{E5E4B20D-78C3-4B72-A9C4-520915C8FF3E}"/>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7396719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2519537-D7FE-4352-8267-4691F584EC0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37175440-D7DA-48D2-9FC9-CE4D7225957B}"/>
              </a:ext>
            </a:extLst>
          </p:cNvPr>
          <p:cNvSpPr>
            <a:spLocks noGrp="1"/>
          </p:cNvSpPr>
          <p:nvPr>
            <p:ph type="title"/>
          </p:nvPr>
        </p:nvSpPr>
        <p:spPr>
          <a:xfrm>
            <a:off x="764058" y="248496"/>
            <a:ext cx="10633285"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7" name="Slide Number Placeholder 5">
            <a:extLst>
              <a:ext uri="{FF2B5EF4-FFF2-40B4-BE49-F238E27FC236}">
                <a16:creationId xmlns:a16="http://schemas.microsoft.com/office/drawing/2014/main" id="{CA3EBB37-854C-4911-9771-10C10A54138D}"/>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C0CBC1D3-FCB2-44FC-BE4D-0FB505EB94F2}"/>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22465867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3" name="Vertical Text Placeholder 2">
            <a:extLst>
              <a:ext uri="{FF2B5EF4-FFF2-40B4-BE49-F238E27FC236}">
                <a16:creationId xmlns:a16="http://schemas.microsoft.com/office/drawing/2014/main" id="{ED3B1CA5-2BDE-4BB5-BBA0-411DD54C830C}"/>
              </a:ext>
            </a:extLst>
          </p:cNvPr>
          <p:cNvSpPr>
            <a:spLocks noGrp="1"/>
          </p:cNvSpPr>
          <p:nvPr>
            <p:ph type="body" orient="vert" idx="1"/>
          </p:nvPr>
        </p:nvSpPr>
        <p:spPr/>
        <p:txBody>
          <a:bodyPr vert="eaVert"/>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9" name="Straight Connector 8">
            <a:extLst>
              <a:ext uri="{FF2B5EF4-FFF2-40B4-BE49-F238E27FC236}">
                <a16:creationId xmlns:a16="http://schemas.microsoft.com/office/drawing/2014/main" id="{88905425-0F8F-42E7-9785-D1DE2BD25732}"/>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B402CF81-21B2-4C69-99B5-B2D2CE00F43F}"/>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8" name="Slide Number Placeholder 5">
            <a:extLst>
              <a:ext uri="{FF2B5EF4-FFF2-40B4-BE49-F238E27FC236}">
                <a16:creationId xmlns:a16="http://schemas.microsoft.com/office/drawing/2014/main" id="{D4E92CEF-CD07-4B6F-AB03-84B0EA80A493}"/>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6030B449-287A-456D-ACD0-FDF0A212E0A8}"/>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8834561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Kun titel">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5D3E055-40BF-48B3-B8C1-EC9B8DBA2790}"/>
              </a:ext>
            </a:extLst>
          </p:cNvPr>
          <p:cNvGraphicFramePr>
            <a:graphicFrameLocks noChangeAspect="1"/>
          </p:cNvGraphicFramePr>
          <p:nvPr userDrawn="1">
            <p:custDataLst>
              <p:tags r:id="rId1"/>
            </p:custDataLst>
            <p:extLst>
              <p:ext uri="{D42A27DB-BD31-4B8C-83A1-F6EECF244321}">
                <p14:modId xmlns:p14="http://schemas.microsoft.com/office/powerpoint/2010/main" val="2581934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2" progId="TCLayout.ActiveDocument.1">
                  <p:embed/>
                </p:oleObj>
              </mc:Choice>
              <mc:Fallback>
                <p:oleObj name="think-cell Slide" r:id="rId3" imgW="411" imgH="412" progId="TCLayout.ActiveDocument.1">
                  <p:embed/>
                  <p:pic>
                    <p:nvPicPr>
                      <p:cNvPr id="4" name="Object 3" hidden="1">
                        <a:extLst>
                          <a:ext uri="{FF2B5EF4-FFF2-40B4-BE49-F238E27FC236}">
                            <a16:creationId xmlns:a16="http://schemas.microsoft.com/office/drawing/2014/main" id="{D5D3E055-40BF-48B3-B8C1-EC9B8DBA279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9" name="Straight Connector 8">
            <a:extLst>
              <a:ext uri="{FF2B5EF4-FFF2-40B4-BE49-F238E27FC236}">
                <a16:creationId xmlns:a16="http://schemas.microsoft.com/office/drawing/2014/main" id="{04686B77-7F7A-487B-9C03-EF8005BF1087}"/>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Title Placeholder 1">
            <a:extLst>
              <a:ext uri="{FF2B5EF4-FFF2-40B4-BE49-F238E27FC236}">
                <a16:creationId xmlns:a16="http://schemas.microsoft.com/office/drawing/2014/main" id="{E38228DE-5C82-4F5E-A806-FEFDDA9CDAC0}"/>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8" name="Slide Number Placeholder 5">
            <a:extLst>
              <a:ext uri="{FF2B5EF4-FFF2-40B4-BE49-F238E27FC236}">
                <a16:creationId xmlns:a16="http://schemas.microsoft.com/office/drawing/2014/main" id="{231BDB71-E03E-471F-84F4-20FE22BB04F9}"/>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AB7E9653-8A75-4014-BB69-2E38E02395EF}"/>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2034179946"/>
      </p:ext>
    </p:extLst>
  </p:cSld>
  <p:clrMapOvr>
    <a:masterClrMapping/>
  </p:clrMapOvr>
  <p:extLst>
    <p:ext uri="{DCECCB84-F9BA-43D5-87BE-67443E8EF086}">
      <p15:sldGuideLst xmlns:p15="http://schemas.microsoft.com/office/powerpoint/2012/main">
        <p15:guide id="1" pos="1117">
          <p15:clr>
            <a:srgbClr val="F26B43"/>
          </p15:clr>
        </p15:guide>
        <p15:guide id="2" pos="6984">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m. bullets">
    <p:spTree>
      <p:nvGrpSpPr>
        <p:cNvPr id="1" name=""/>
        <p:cNvGrpSpPr/>
        <p:nvPr/>
      </p:nvGrpSpPr>
      <p:grpSpPr>
        <a:xfrm>
          <a:off x="0" y="0"/>
          <a:ext cx="0" cy="0"/>
          <a:chOff x="0" y="0"/>
          <a:chExt cx="0" cy="0"/>
        </a:xfrm>
      </p:grpSpPr>
      <p:sp>
        <p:nvSpPr>
          <p:cNvPr id="3" name="Title 4"/>
          <p:cNvSpPr>
            <a:spLocks noGrp="1"/>
          </p:cNvSpPr>
          <p:nvPr>
            <p:ph type="title" hasCustomPrompt="1"/>
          </p:nvPr>
        </p:nvSpPr>
        <p:spPr>
          <a:xfrm>
            <a:off x="766763" y="657226"/>
            <a:ext cx="5149879" cy="1408112"/>
          </a:xfrm>
          <a:prstGeom prst="rect">
            <a:avLst/>
          </a:prstGeom>
        </p:spPr>
        <p:txBody>
          <a:bodyPr lIns="0" tIns="0"/>
          <a:lstStyle>
            <a:lvl1pPr>
              <a:defRPr sz="3600" baseline="0">
                <a:latin typeface="+mn-lt"/>
              </a:defRPr>
            </a:lvl1pPr>
          </a:lstStyle>
          <a:p>
            <a:r>
              <a:rPr lang="en-US"/>
              <a:t>KLIK HER FOR AT ÆNDRE TITEL</a:t>
            </a:r>
          </a:p>
        </p:txBody>
      </p:sp>
      <p:sp>
        <p:nvSpPr>
          <p:cNvPr id="5" name="Pladsholder til tekst 10"/>
          <p:cNvSpPr>
            <a:spLocks noGrp="1"/>
          </p:cNvSpPr>
          <p:nvPr>
            <p:ph type="body" sz="quarter" idx="12" hasCustomPrompt="1"/>
          </p:nvPr>
        </p:nvSpPr>
        <p:spPr>
          <a:xfrm>
            <a:off x="766762" y="2205038"/>
            <a:ext cx="10853737" cy="3704284"/>
          </a:xfrm>
        </p:spPr>
        <p:txBody>
          <a:bodyPr/>
          <a:lstStyle>
            <a:lvl1pPr marL="285750" indent="-285750">
              <a:buFontTx/>
              <a:buBlip>
                <a:blip r:embed="rId2"/>
              </a:buBlip>
              <a:defRPr/>
            </a:lvl1pPr>
          </a:lstStyle>
          <a:p>
            <a:pPr lvl="0"/>
            <a:r>
              <a:rPr lang="da-DK"/>
              <a:t>Indsæt bullets</a:t>
            </a:r>
          </a:p>
        </p:txBody>
      </p:sp>
      <p:sp>
        <p:nvSpPr>
          <p:cNvPr id="6" name="Pladsholder til tekst 6"/>
          <p:cNvSpPr>
            <a:spLocks noGrp="1"/>
          </p:cNvSpPr>
          <p:nvPr>
            <p:ph type="body" sz="quarter" idx="13" hasCustomPrompt="1"/>
          </p:nvPr>
        </p:nvSpPr>
        <p:spPr>
          <a:xfrm>
            <a:off x="3071814" y="6363837"/>
            <a:ext cx="1712688" cy="282204"/>
          </a:xfrm>
        </p:spPr>
        <p:txBody>
          <a:bodyPr tIns="0">
            <a:noAutofit/>
          </a:bodyPr>
          <a:lstStyle>
            <a:lvl1pPr marL="0" indent="0">
              <a:lnSpc>
                <a:spcPct val="100000"/>
              </a:lnSpc>
              <a:buNone/>
              <a:defRPr sz="600" b="1" spc="170" baseline="0">
                <a:latin typeface="+mn-lt"/>
              </a:defRPr>
            </a:lvl1pPr>
          </a:lstStyle>
          <a:p>
            <a:pPr lvl="0"/>
            <a:r>
              <a:rPr lang="da-DK"/>
              <a:t>INDSÆT POWERPOINT- ELLER ENHEDSNAVN HER</a:t>
            </a:r>
          </a:p>
        </p:txBody>
      </p:sp>
    </p:spTree>
    <p:extLst>
      <p:ext uri="{BB962C8B-B14F-4D97-AF65-F5344CB8AC3E}">
        <p14:creationId xmlns:p14="http://schemas.microsoft.com/office/powerpoint/2010/main" val="39399653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B0751AEF-1843-451A-9418-F0E0C3DC69E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0248BF5A-3EA4-44A2-85A9-D816B038DD0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spTree>
    <p:extLst>
      <p:ext uri="{BB962C8B-B14F-4D97-AF65-F5344CB8AC3E}">
        <p14:creationId xmlns:p14="http://schemas.microsoft.com/office/powerpoint/2010/main" val="4641798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Overskrift og indhold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5366267" cy="1884283"/>
          </a:xfrm>
        </p:spPr>
        <p:txBody>
          <a:bodyPr/>
          <a:lstStyle>
            <a:lvl1pPr>
              <a:defRPr/>
            </a:lvl1pPr>
          </a:lstStyle>
          <a:p>
            <a:r>
              <a:rPr lang="da-DK"/>
              <a:t>Klik for at tilføje overskrift</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156000" y="1028246"/>
            <a:ext cx="5216400" cy="4825354"/>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21" name="Straight Connector 20">
            <a:extLst>
              <a:ext uri="{FF2B5EF4-FFF2-40B4-BE49-F238E27FC236}">
                <a16:creationId xmlns:a16="http://schemas.microsoft.com/office/drawing/2014/main" id="{5D6B1FAA-D7ED-4C71-8DC4-E5439F01BCEB}"/>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Logo black">
            <a:extLst>
              <a:ext uri="{FF2B5EF4-FFF2-40B4-BE49-F238E27FC236}">
                <a16:creationId xmlns:a16="http://schemas.microsoft.com/office/drawing/2014/main" id="{CAAF367F-3818-457C-9EE1-320E9050AE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4" name="Footer Placeholder 3">
            <a:extLst>
              <a:ext uri="{FF2B5EF4-FFF2-40B4-BE49-F238E27FC236}">
                <a16:creationId xmlns:a16="http://schemas.microsoft.com/office/drawing/2014/main" id="{496ECF2D-BB4C-4004-9F8E-08239A46461C}"/>
              </a:ext>
            </a:extLst>
          </p:cNvPr>
          <p:cNvSpPr>
            <a:spLocks noGrp="1"/>
          </p:cNvSpPr>
          <p:nvPr>
            <p:ph type="ftr" sz="quarter" idx="21"/>
          </p:nvPr>
        </p:nvSpPr>
        <p:spPr/>
        <p:txBody>
          <a:bodyPr/>
          <a:lstStyle/>
          <a:p>
            <a:endParaRPr lang="da-DK"/>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20" name="TextBox 19">
            <a:extLst>
              <a:ext uri="{FF2B5EF4-FFF2-40B4-BE49-F238E27FC236}">
                <a16:creationId xmlns:a16="http://schemas.microsoft.com/office/drawing/2014/main" id="{E75150F5-CFA6-40F1-B2B7-79337C2232BB}"/>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7486834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ort forsid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BBCAF46D-9983-4AEE-9B8A-24654CDEDDB0}"/>
              </a:ext>
            </a:extLst>
          </p:cNvPr>
          <p:cNvSpPr/>
          <p:nvPr userDrawn="1"/>
        </p:nvSpPr>
        <p:spPr>
          <a:xfrm>
            <a:off x="0" y="0"/>
            <a:ext cx="1218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err="1"/>
          </a:p>
        </p:txBody>
      </p:sp>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bg1"/>
                </a:solidFill>
              </a:defRPr>
            </a:lvl1pPr>
          </a:lstStyle>
          <a:p>
            <a:r>
              <a:rPr lang="da-DK"/>
              <a:t>Klik for at tilføje overskrift</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sp>
        <p:nvSpPr>
          <p:cNvPr id="13" name="date" descr="{&quot;templafy&quot;:{&quot;id&quot;:&quot;6a23ad53-0fd3-41b1-9f5b-f5f96ba0309b&quot;}}" title="Form.Date">
            <a:extLst>
              <a:ext uri="{FF2B5EF4-FFF2-40B4-BE49-F238E27FC236}">
                <a16:creationId xmlns:a16="http://schemas.microsoft.com/office/drawing/2014/main" id="{10301B40-E355-4D99-B296-A15FB5BC3A4C}"/>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bg1"/>
                </a:solidFill>
              </a:rPr>
              <a:t> 2025</a:t>
            </a:r>
          </a:p>
        </p:txBody>
      </p:sp>
      <p:sp>
        <p:nvSpPr>
          <p:cNvPr id="11" name="Date Placeholder 14">
            <a:extLst>
              <a:ext uri="{FF2B5EF4-FFF2-40B4-BE49-F238E27FC236}">
                <a16:creationId xmlns:a16="http://schemas.microsoft.com/office/drawing/2014/main" id="{D4E1389B-CA3B-4709-956D-F396D960BBC8}"/>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4" name="Date Placeholder 14">
            <a:extLst>
              <a:ext uri="{FF2B5EF4-FFF2-40B4-BE49-F238E27FC236}">
                <a16:creationId xmlns:a16="http://schemas.microsoft.com/office/drawing/2014/main" id="{8A94F1C1-AE36-4BBA-B958-8FC614A9472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Tree>
    <p:extLst>
      <p:ext uri="{BB962C8B-B14F-4D97-AF65-F5344CB8AC3E}">
        <p14:creationId xmlns:p14="http://schemas.microsoft.com/office/powerpoint/2010/main" val="25424018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b" anchorCtr="0"/>
          <a:lstStyle>
            <a:lvl1pPr algn="l">
              <a:lnSpc>
                <a:spcPct val="100000"/>
              </a:lnSpc>
              <a:defRPr sz="44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A915360E-F247-49FB-821B-5399F1326472}"/>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7" name="Date Placeholder 14">
            <a:extLst>
              <a:ext uri="{FF2B5EF4-FFF2-40B4-BE49-F238E27FC236}">
                <a16:creationId xmlns:a16="http://schemas.microsoft.com/office/drawing/2014/main" id="{FB068F22-0263-44BB-8333-C5643293F39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2-05-2025</a:t>
            </a:fld>
            <a:endParaRPr lang="da-DK"/>
          </a:p>
        </p:txBody>
      </p:sp>
      <p:sp>
        <p:nvSpPr>
          <p:cNvPr id="8" name="Date Placeholder 14">
            <a:extLst>
              <a:ext uri="{FF2B5EF4-FFF2-40B4-BE49-F238E27FC236}">
                <a16:creationId xmlns:a16="http://schemas.microsoft.com/office/drawing/2014/main" id="{2D08A2CA-4B19-4B39-B540-F97244C446A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10" name="TextBox 9">
            <a:extLst>
              <a:ext uri="{FF2B5EF4-FFF2-40B4-BE49-F238E27FC236}">
                <a16:creationId xmlns:a16="http://schemas.microsoft.com/office/drawing/2014/main" id="{7EB9F81D-3EAD-42E8-88EC-432C25D7A8F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4197767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Hvid for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tx1"/>
                </a:solidFill>
              </a:defRPr>
            </a:lvl1pPr>
          </a:lstStyle>
          <a:p>
            <a:r>
              <a:rPr lang="da-DK"/>
              <a:t>Klik for at tilføje overskrift</a:t>
            </a:r>
          </a:p>
        </p:txBody>
      </p:sp>
      <p:sp>
        <p:nvSpPr>
          <p:cNvPr id="13" name="Date Placeholder 14">
            <a:extLst>
              <a:ext uri="{FF2B5EF4-FFF2-40B4-BE49-F238E27FC236}">
                <a16:creationId xmlns:a16="http://schemas.microsoft.com/office/drawing/2014/main" id="{5161ABAB-6DB4-433A-ACC8-A0EC0AACAD0C}"/>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4" name="Date Placeholder 14">
            <a:extLst>
              <a:ext uri="{FF2B5EF4-FFF2-40B4-BE49-F238E27FC236}">
                <a16:creationId xmlns:a16="http://schemas.microsoft.com/office/drawing/2014/main" id="{BC3A8B03-9EA5-416E-BD54-B87E6C4A6781}"/>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Tree>
    <p:extLst>
      <p:ext uri="{BB962C8B-B14F-4D97-AF65-F5344CB8AC3E}">
        <p14:creationId xmlns:p14="http://schemas.microsoft.com/office/powerpoint/2010/main" val="14911084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4400">
                <a:solidFill>
                  <a:schemeClr val="tx1"/>
                </a:solidFill>
              </a:defRPr>
            </a:lvl1pPr>
          </a:lstStyle>
          <a:p>
            <a:r>
              <a:rPr lang="da-DK"/>
              <a:t>Klik for at tilføje overskrift</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2" name="date" descr="{&quot;templafy&quot;:{&quot;id&quot;:&quot;859008e1-1671-4807-8867-2aaa4d8b9bc1&quot;}}" title="Form.Date">
            <a:extLst>
              <a:ext uri="{FF2B5EF4-FFF2-40B4-BE49-F238E27FC236}">
                <a16:creationId xmlns:a16="http://schemas.microsoft.com/office/drawing/2014/main" id="{508E925B-663E-4A1A-8916-BC4FCFEA746C}"/>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5</a:t>
            </a:r>
          </a:p>
        </p:txBody>
      </p:sp>
      <p:sp>
        <p:nvSpPr>
          <p:cNvPr id="17" name="Date Placeholder 14">
            <a:extLst>
              <a:ext uri="{FF2B5EF4-FFF2-40B4-BE49-F238E27FC236}">
                <a16:creationId xmlns:a16="http://schemas.microsoft.com/office/drawing/2014/main" id="{D63CFED0-47FC-4852-81C1-6B705FD6417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TextBox 2">
            <a:extLst>
              <a:ext uri="{FF2B5EF4-FFF2-40B4-BE49-F238E27FC236}">
                <a16:creationId xmlns:a16="http://schemas.microsoft.com/office/drawing/2014/main" id="{2D2565F4-7FB3-4F2B-AED8-4859D42935AE}"/>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
        <p:nvSpPr>
          <p:cNvPr id="4" name="text" descr="{&quot;templafy&quot;:{&quot;id&quot;:&quot;4f455b05-4319-4f8f-8f7d-79f450a749aa&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360363" y="643513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dirty="0"/>
              <a:t>SDU SIS</a:t>
            </a:r>
          </a:p>
        </p:txBody>
      </p:sp>
      <p:cxnSp>
        <p:nvCxnSpPr>
          <p:cNvPr id="5" name="Straight Connector 4">
            <a:extLst>
              <a:ext uri="{FF2B5EF4-FFF2-40B4-BE49-F238E27FC236}">
                <a16:creationId xmlns:a16="http://schemas.microsoft.com/office/drawing/2014/main" id="{EEFBD90C-157B-45E5-8A90-9560C86CAB4C}"/>
              </a:ext>
            </a:extLst>
          </p:cNvPr>
          <p:cNvCxnSpPr>
            <a:cxnSpLocks/>
          </p:cNvCxnSpPr>
          <p:nvPr userDrawn="1"/>
        </p:nvCxnSpPr>
        <p:spPr>
          <a:xfrm>
            <a:off x="359600" y="669990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3375258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b" anchorCtr="0"/>
          <a:lstStyle>
            <a:lvl1pPr algn="l">
              <a:lnSpc>
                <a:spcPct val="100000"/>
              </a:lnSpc>
              <a:defRPr sz="44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A915360E-F247-49FB-821B-5399F1326472}"/>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7" name="Date Placeholder 14">
            <a:extLst>
              <a:ext uri="{FF2B5EF4-FFF2-40B4-BE49-F238E27FC236}">
                <a16:creationId xmlns:a16="http://schemas.microsoft.com/office/drawing/2014/main" id="{FB068F22-0263-44BB-8333-C5643293F39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8" name="Date Placeholder 14">
            <a:extLst>
              <a:ext uri="{FF2B5EF4-FFF2-40B4-BE49-F238E27FC236}">
                <a16:creationId xmlns:a16="http://schemas.microsoft.com/office/drawing/2014/main" id="{2D08A2CA-4B19-4B39-B540-F97244C446A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10" name="TextBox 9">
            <a:extLst>
              <a:ext uri="{FF2B5EF4-FFF2-40B4-BE49-F238E27FC236}">
                <a16:creationId xmlns:a16="http://schemas.microsoft.com/office/drawing/2014/main" id="{7EB9F81D-3EAD-42E8-88EC-432C25D7A8F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34536127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Overskrift og indhold 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6673356" y="1700212"/>
            <a:ext cx="4693920" cy="4141788"/>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a:xfrm>
            <a:off x="6915600" y="6376129"/>
            <a:ext cx="2240432" cy="180000"/>
          </a:xfrm>
          <a:prstGeom prst="rect">
            <a:avLst/>
          </a:prstGeom>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30279626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Overskrift og indhold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5366267" cy="1884283"/>
          </a:xfrm>
        </p:spPr>
        <p:txBody>
          <a:bodyPr/>
          <a:lstStyle>
            <a:lvl1pPr>
              <a:defRPr/>
            </a:lvl1pPr>
          </a:lstStyle>
          <a:p>
            <a:r>
              <a:rPr lang="da-DK"/>
              <a:t>Klik for at tilføje overskrift</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156000" y="1028246"/>
            <a:ext cx="5216400" cy="4825354"/>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9" name="date" descr="{&quot;templafy&quot;:{&quot;id&quot;:&quot;558967ed-2075-4fc2-a054-c4b351a87a31&quot;}}" title="Form.Date">
            <a:extLst>
              <a:ext uri="{FF2B5EF4-FFF2-40B4-BE49-F238E27FC236}">
                <a16:creationId xmlns:a16="http://schemas.microsoft.com/office/drawing/2014/main" id="{38150A77-BE4E-404D-B314-A1C41C791C1B}"/>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endParaRPr lang="da-DK" sz="1200" b="0">
              <a:solidFill>
                <a:schemeClr val="tx1"/>
              </a:solidFill>
            </a:endParaRPr>
          </a:p>
        </p:txBody>
      </p:sp>
      <p:cxnSp>
        <p:nvCxnSpPr>
          <p:cNvPr id="21" name="Straight Connector 20">
            <a:extLst>
              <a:ext uri="{FF2B5EF4-FFF2-40B4-BE49-F238E27FC236}">
                <a16:creationId xmlns:a16="http://schemas.microsoft.com/office/drawing/2014/main" id="{5D6B1FAA-D7ED-4C71-8DC4-E5439F01BCEB}"/>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4" name="Footer Placeholder 3">
            <a:extLst>
              <a:ext uri="{FF2B5EF4-FFF2-40B4-BE49-F238E27FC236}">
                <a16:creationId xmlns:a16="http://schemas.microsoft.com/office/drawing/2014/main" id="{496ECF2D-BB4C-4004-9F8E-08239A46461C}"/>
              </a:ext>
            </a:extLst>
          </p:cNvPr>
          <p:cNvSpPr>
            <a:spLocks noGrp="1"/>
          </p:cNvSpPr>
          <p:nvPr>
            <p:ph type="ftr" sz="quarter" idx="21"/>
          </p:nvPr>
        </p:nvSpPr>
        <p:spPr>
          <a:xfrm>
            <a:off x="6915600" y="6376129"/>
            <a:ext cx="2240432" cy="180000"/>
          </a:xfrm>
          <a:prstGeom prst="rect">
            <a:avLst/>
          </a:prstGeom>
        </p:spPr>
        <p:txBody>
          <a:bodyPr/>
          <a:lstStyle/>
          <a:p>
            <a:endParaRPr lang="da-DK"/>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20" name="TextBox 19">
            <a:extLst>
              <a:ext uri="{FF2B5EF4-FFF2-40B4-BE49-F238E27FC236}">
                <a16:creationId xmlns:a16="http://schemas.microsoft.com/office/drawing/2014/main" id="{E75150F5-CFA6-40F1-B2B7-79337C2232BB}"/>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226673568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Overskrift og indhold 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6" y="999173"/>
            <a:ext cx="10952579" cy="701040"/>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414696" y="1989138"/>
            <a:ext cx="10952580" cy="38528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a:xfrm>
            <a:off x="6915600" y="6376129"/>
            <a:ext cx="2240432" cy="180000"/>
          </a:xfrm>
          <a:prstGeom prst="rect">
            <a:avLst/>
          </a:prstGeom>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6466169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Indhold og teks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92202" y="1006605"/>
            <a:ext cx="4680000" cy="1938338"/>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5" name="Text Placeholder 4">
            <a:extLst>
              <a:ext uri="{FF2B5EF4-FFF2-40B4-BE49-F238E27FC236}">
                <a16:creationId xmlns:a16="http://schemas.microsoft.com/office/drawing/2014/main" id="{BCB99C08-64C3-4ADA-9CD2-FBE2ED8551F6}"/>
              </a:ext>
            </a:extLst>
          </p:cNvPr>
          <p:cNvSpPr>
            <a:spLocks noGrp="1"/>
          </p:cNvSpPr>
          <p:nvPr>
            <p:ph type="body" sz="quarter" idx="13"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9" name="text" descr="{&quot;templafy&quot;:{&quot;id&quot;:&quot;65556a86-d746-4687-a0d7-2a9534b12547&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dirty="0"/>
              <a:t>SDU SIS</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2" name="Straight Connector 11">
            <a:extLst>
              <a:ext uri="{FF2B5EF4-FFF2-40B4-BE49-F238E27FC236}">
                <a16:creationId xmlns:a16="http://schemas.microsoft.com/office/drawing/2014/main" id="{ECEA2A3A-0B73-49AA-824B-85FAE9B16B10}"/>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e" descr="{&quot;templafy&quot;:{&quot;id&quot;:&quot;238ce84f-c437-42e2-9186-cc2a0b3d944a&quot;}}" title="Form.Date">
            <a:extLst>
              <a:ext uri="{FF2B5EF4-FFF2-40B4-BE49-F238E27FC236}">
                <a16:creationId xmlns:a16="http://schemas.microsoft.com/office/drawing/2014/main" id="{6189AE65-D68D-4102-AA1D-2A3BCB6F21BF}"/>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5</a:t>
            </a:r>
          </a:p>
        </p:txBody>
      </p:sp>
      <p:sp>
        <p:nvSpPr>
          <p:cNvPr id="18" name="Date Placeholder 14">
            <a:extLst>
              <a:ext uri="{FF2B5EF4-FFF2-40B4-BE49-F238E27FC236}">
                <a16:creationId xmlns:a16="http://schemas.microsoft.com/office/drawing/2014/main" id="{A09FC7B4-885C-4F9D-BD71-AE2FBDB3869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6" name="Content Placeholder 5">
            <a:extLst>
              <a:ext uri="{FF2B5EF4-FFF2-40B4-BE49-F238E27FC236}">
                <a16:creationId xmlns:a16="http://schemas.microsoft.com/office/drawing/2014/main" id="{2B8FEE58-0FE9-4218-904C-188D46CD214D}"/>
              </a:ext>
            </a:extLst>
          </p:cNvPr>
          <p:cNvSpPr>
            <a:spLocks noGrp="1"/>
          </p:cNvSpPr>
          <p:nvPr>
            <p:ph sz="quarter" idx="15" hasCustomPrompt="1"/>
          </p:nvPr>
        </p:nvSpPr>
        <p:spPr>
          <a:xfrm>
            <a:off x="422432" y="1000443"/>
            <a:ext cx="5077365" cy="4853157"/>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Date Placeholder 12">
            <a:extLst>
              <a:ext uri="{FF2B5EF4-FFF2-40B4-BE49-F238E27FC236}">
                <a16:creationId xmlns:a16="http://schemas.microsoft.com/office/drawing/2014/main" id="{3F302217-B569-449A-8422-B6650C9BB084}"/>
              </a:ext>
            </a:extLst>
          </p:cNvPr>
          <p:cNvSpPr>
            <a:spLocks noGrp="1"/>
          </p:cNvSpPr>
          <p:nvPr>
            <p:ph type="dt" sz="half" idx="16"/>
          </p:nvPr>
        </p:nvSpPr>
        <p:spPr/>
        <p:txBody>
          <a:bodyPr/>
          <a:lstStyle/>
          <a:p>
            <a:fld id="{F1A13B18-F5ED-4611-8DBB-F05123AFBA22}" type="datetimeFigureOut">
              <a:rPr lang="da-DK" smtClean="0"/>
              <a:pPr/>
              <a:t>08-05-2025</a:t>
            </a:fld>
            <a:endParaRPr lang="da-DK"/>
          </a:p>
        </p:txBody>
      </p:sp>
      <p:sp>
        <p:nvSpPr>
          <p:cNvPr id="14" name="Footer Placeholder 13">
            <a:extLst>
              <a:ext uri="{FF2B5EF4-FFF2-40B4-BE49-F238E27FC236}">
                <a16:creationId xmlns:a16="http://schemas.microsoft.com/office/drawing/2014/main" id="{DF36464C-AEF7-4BFD-9A97-813102BCA484}"/>
              </a:ext>
            </a:extLst>
          </p:cNvPr>
          <p:cNvSpPr>
            <a:spLocks noGrp="1"/>
          </p:cNvSpPr>
          <p:nvPr>
            <p:ph type="ftr" sz="quarter" idx="17"/>
          </p:nvPr>
        </p:nvSpPr>
        <p:spPr>
          <a:xfrm>
            <a:off x="6915600" y="6376129"/>
            <a:ext cx="2240432" cy="180000"/>
          </a:xfrm>
          <a:prstGeom prst="rect">
            <a:avLst/>
          </a:prstGeom>
        </p:spPr>
        <p:txBody>
          <a:bodyPr/>
          <a:lstStyle/>
          <a:p>
            <a:endParaRPr lang="da-DK"/>
          </a:p>
        </p:txBody>
      </p:sp>
      <p:sp>
        <p:nvSpPr>
          <p:cNvPr id="24" name="Slide Number Placeholder 23">
            <a:extLst>
              <a:ext uri="{FF2B5EF4-FFF2-40B4-BE49-F238E27FC236}">
                <a16:creationId xmlns:a16="http://schemas.microsoft.com/office/drawing/2014/main" id="{58D7263E-B2E5-4CB9-9AAF-C0006E4A0400}"/>
              </a:ext>
            </a:extLst>
          </p:cNvPr>
          <p:cNvSpPr>
            <a:spLocks noGrp="1"/>
          </p:cNvSpPr>
          <p:nvPr>
            <p:ph type="sldNum" sz="quarter" idx="18"/>
          </p:nvPr>
        </p:nvSpPr>
        <p:spPr/>
        <p:txBody>
          <a:bodyPr/>
          <a:lstStyle/>
          <a:p>
            <a:fld id="{45D37B1E-C366-494F-A587-962AD9AABC83}" type="slidenum">
              <a:rPr lang="da-DK" smtClean="0"/>
              <a:pPr/>
              <a:t>‹#›</a:t>
            </a:fld>
            <a:endParaRPr lang="da-DK"/>
          </a:p>
        </p:txBody>
      </p:sp>
      <p:sp>
        <p:nvSpPr>
          <p:cNvPr id="17" name="TextBox 16">
            <a:extLst>
              <a:ext uri="{FF2B5EF4-FFF2-40B4-BE49-F238E27FC236}">
                <a16:creationId xmlns:a16="http://schemas.microsoft.com/office/drawing/2014/main" id="{1BBAA208-28D6-470D-B539-73F9AC20E86C}"/>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4280772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B9A67-E62D-400C-BC42-A3A96AAED25F}"/>
              </a:ext>
            </a:extLst>
          </p:cNvPr>
          <p:cNvSpPr>
            <a:spLocks noGrp="1"/>
          </p:cNvSpPr>
          <p:nvPr>
            <p:ph type="title" hasCustomPrompt="1"/>
          </p:nvPr>
        </p:nvSpPr>
        <p:spPr>
          <a:xfrm>
            <a:off x="410401" y="1028247"/>
            <a:ext cx="2502000" cy="432000"/>
          </a:xfrm>
        </p:spPr>
        <p:txBody>
          <a:bodyPr/>
          <a:lstStyle>
            <a:lvl1pPr>
              <a:lnSpc>
                <a:spcPct val="110000"/>
              </a:lnSpc>
              <a:defRPr sz="1200"/>
            </a:lvl1pPr>
          </a:lstStyle>
          <a:p>
            <a:r>
              <a:rPr lang="da-DK" noProof="0"/>
              <a:t>Klik for at tilføje underoverskrift</a:t>
            </a:r>
            <a:endParaRPr lang="da-DK"/>
          </a:p>
        </p:txBody>
      </p:sp>
      <p:sp>
        <p:nvSpPr>
          <p:cNvPr id="14" name="Content Placeholder 13">
            <a:extLst>
              <a:ext uri="{FF2B5EF4-FFF2-40B4-BE49-F238E27FC236}">
                <a16:creationId xmlns:a16="http://schemas.microsoft.com/office/drawing/2014/main" id="{E60E8CAC-51BD-4862-8B6E-BD3E315677C4}"/>
              </a:ext>
            </a:extLst>
          </p:cNvPr>
          <p:cNvSpPr>
            <a:spLocks noGrp="1"/>
          </p:cNvSpPr>
          <p:nvPr>
            <p:ph sz="quarter" idx="13" hasCustomPrompt="1"/>
          </p:nvPr>
        </p:nvSpPr>
        <p:spPr>
          <a:xfrm>
            <a:off x="411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5" name="Subtitle 2">
            <a:extLst>
              <a:ext uri="{FF2B5EF4-FFF2-40B4-BE49-F238E27FC236}">
                <a16:creationId xmlns:a16="http://schemas.microsoft.com/office/drawing/2014/main" id="{25135A09-8F8A-4D87-8C43-B3A0A80BE2F5}"/>
              </a:ext>
            </a:extLst>
          </p:cNvPr>
          <p:cNvSpPr>
            <a:spLocks noGrp="1"/>
          </p:cNvSpPr>
          <p:nvPr>
            <p:ph type="subTitle" idx="1" hasCustomPrompt="1"/>
          </p:nvPr>
        </p:nvSpPr>
        <p:spPr>
          <a:xfrm>
            <a:off x="3273164" y="1028246"/>
            <a:ext cx="2502000" cy="432000"/>
          </a:xfrm>
        </p:spPr>
        <p:txBody>
          <a:bodyPr/>
          <a:lstStyle>
            <a:lvl1pPr marL="0" indent="0" algn="l">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tilføje underoverskrift</a:t>
            </a:r>
            <a:endParaRPr lang="da-DK"/>
          </a:p>
        </p:txBody>
      </p:sp>
      <p:sp>
        <p:nvSpPr>
          <p:cNvPr id="17" name="Content Placeholder 16">
            <a:extLst>
              <a:ext uri="{FF2B5EF4-FFF2-40B4-BE49-F238E27FC236}">
                <a16:creationId xmlns:a16="http://schemas.microsoft.com/office/drawing/2014/main" id="{462D92C6-668E-491E-B394-72897FAB3085}"/>
              </a:ext>
            </a:extLst>
          </p:cNvPr>
          <p:cNvSpPr>
            <a:spLocks noGrp="1"/>
          </p:cNvSpPr>
          <p:nvPr>
            <p:ph sz="quarter" idx="14" hasCustomPrompt="1"/>
          </p:nvPr>
        </p:nvSpPr>
        <p:spPr>
          <a:xfrm>
            <a:off x="3273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9" name="Text Placeholder 18">
            <a:extLst>
              <a:ext uri="{FF2B5EF4-FFF2-40B4-BE49-F238E27FC236}">
                <a16:creationId xmlns:a16="http://schemas.microsoft.com/office/drawing/2014/main" id="{C0F1B1F1-CA40-4EA4-AB68-69DBBD61ED9D}"/>
              </a:ext>
            </a:extLst>
          </p:cNvPr>
          <p:cNvSpPr>
            <a:spLocks noGrp="1"/>
          </p:cNvSpPr>
          <p:nvPr>
            <p:ph type="body" sz="quarter" idx="15" hasCustomPrompt="1"/>
          </p:nvPr>
        </p:nvSpPr>
        <p:spPr>
          <a:xfrm>
            <a:off x="6135163" y="1028246"/>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1" name="Content Placeholder 20">
            <a:extLst>
              <a:ext uri="{FF2B5EF4-FFF2-40B4-BE49-F238E27FC236}">
                <a16:creationId xmlns:a16="http://schemas.microsoft.com/office/drawing/2014/main" id="{3DBEE0FF-2C0E-499E-ACAF-B6F421AF13D5}"/>
              </a:ext>
            </a:extLst>
          </p:cNvPr>
          <p:cNvSpPr>
            <a:spLocks noGrp="1"/>
          </p:cNvSpPr>
          <p:nvPr>
            <p:ph sz="quarter" idx="16" hasCustomPrompt="1"/>
          </p:nvPr>
        </p:nvSpPr>
        <p:spPr>
          <a:xfrm>
            <a:off x="6135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Text Placeholder 22">
            <a:extLst>
              <a:ext uri="{FF2B5EF4-FFF2-40B4-BE49-F238E27FC236}">
                <a16:creationId xmlns:a16="http://schemas.microsoft.com/office/drawing/2014/main" id="{F091117C-5AED-4416-88BA-F1C88ACD7A25}"/>
              </a:ext>
            </a:extLst>
          </p:cNvPr>
          <p:cNvSpPr>
            <a:spLocks noGrp="1"/>
          </p:cNvSpPr>
          <p:nvPr>
            <p:ph type="body" sz="quarter" idx="17" hasCustomPrompt="1"/>
          </p:nvPr>
        </p:nvSpPr>
        <p:spPr>
          <a:xfrm>
            <a:off x="8997162" y="1028247"/>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5" name="Content Placeholder 24">
            <a:extLst>
              <a:ext uri="{FF2B5EF4-FFF2-40B4-BE49-F238E27FC236}">
                <a16:creationId xmlns:a16="http://schemas.microsoft.com/office/drawing/2014/main" id="{C66F31E1-769E-4E9A-9DCC-2C64321A89C1}"/>
              </a:ext>
            </a:extLst>
          </p:cNvPr>
          <p:cNvSpPr>
            <a:spLocks noGrp="1"/>
          </p:cNvSpPr>
          <p:nvPr>
            <p:ph sz="quarter" idx="18" hasCustomPrompt="1"/>
          </p:nvPr>
        </p:nvSpPr>
        <p:spPr>
          <a:xfrm>
            <a:off x="8997161" y="1475354"/>
            <a:ext cx="2501999"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8" name="Date Placeholder 14">
            <a:extLst>
              <a:ext uri="{FF2B5EF4-FFF2-40B4-BE49-F238E27FC236}">
                <a16:creationId xmlns:a16="http://schemas.microsoft.com/office/drawing/2014/main" id="{1DCD95D8-07B6-42C0-8767-A640B7CA853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5" name="Date Placeholder 4">
            <a:extLst>
              <a:ext uri="{FF2B5EF4-FFF2-40B4-BE49-F238E27FC236}">
                <a16:creationId xmlns:a16="http://schemas.microsoft.com/office/drawing/2014/main" id="{8E588C40-671D-463C-8463-D77B96C28D88}"/>
              </a:ext>
            </a:extLst>
          </p:cNvPr>
          <p:cNvSpPr>
            <a:spLocks noGrp="1"/>
          </p:cNvSpPr>
          <p:nvPr>
            <p:ph type="dt" sz="half" idx="19"/>
          </p:nvPr>
        </p:nvSpPr>
        <p:spPr/>
        <p:txBody>
          <a:bodyPr/>
          <a:lstStyle/>
          <a:p>
            <a:fld id="{F1A13B18-F5ED-4611-8DBB-F05123AFBA22}" type="datetimeFigureOut">
              <a:rPr lang="da-DK" smtClean="0"/>
              <a:pPr/>
              <a:t>08-05-2025</a:t>
            </a:fld>
            <a:endParaRPr lang="da-DK"/>
          </a:p>
        </p:txBody>
      </p:sp>
      <p:sp>
        <p:nvSpPr>
          <p:cNvPr id="6" name="Footer Placeholder 5">
            <a:extLst>
              <a:ext uri="{FF2B5EF4-FFF2-40B4-BE49-F238E27FC236}">
                <a16:creationId xmlns:a16="http://schemas.microsoft.com/office/drawing/2014/main" id="{2846E2E0-2E23-491A-B165-353CDF3F79E2}"/>
              </a:ext>
            </a:extLst>
          </p:cNvPr>
          <p:cNvSpPr>
            <a:spLocks noGrp="1"/>
          </p:cNvSpPr>
          <p:nvPr>
            <p:ph type="ftr" sz="quarter" idx="20"/>
          </p:nvPr>
        </p:nvSpPr>
        <p:spPr>
          <a:xfrm>
            <a:off x="6915600" y="6376129"/>
            <a:ext cx="2240432" cy="180000"/>
          </a:xfrm>
          <a:prstGeom prst="rect">
            <a:avLst/>
          </a:prstGeom>
        </p:spPr>
        <p:txBody>
          <a:bodyPr/>
          <a:lstStyle/>
          <a:p>
            <a:endParaRPr lang="da-DK"/>
          </a:p>
        </p:txBody>
      </p:sp>
      <p:sp>
        <p:nvSpPr>
          <p:cNvPr id="7" name="Slide Number Placeholder 6">
            <a:extLst>
              <a:ext uri="{FF2B5EF4-FFF2-40B4-BE49-F238E27FC236}">
                <a16:creationId xmlns:a16="http://schemas.microsoft.com/office/drawing/2014/main" id="{35B93800-6F51-413B-BA21-0A9967FF3386}"/>
              </a:ext>
            </a:extLst>
          </p:cNvPr>
          <p:cNvSpPr>
            <a:spLocks noGrp="1"/>
          </p:cNvSpPr>
          <p:nvPr>
            <p:ph type="sldNum" sz="quarter" idx="21"/>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6897650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llede og indhold">
    <p:spTree>
      <p:nvGrpSpPr>
        <p:cNvPr id="1" name=""/>
        <p:cNvGrpSpPr/>
        <p:nvPr/>
      </p:nvGrpSpPr>
      <p:grpSpPr>
        <a:xfrm>
          <a:off x="0" y="0"/>
          <a:ext cx="0" cy="0"/>
          <a:chOff x="0" y="0"/>
          <a:chExt cx="0" cy="0"/>
        </a:xfrm>
      </p:grpSpPr>
      <p:sp>
        <p:nvSpPr>
          <p:cNvPr id="10" name="Pladsholder til billede 3"/>
          <p:cNvSpPr>
            <a:spLocks noGrp="1"/>
          </p:cNvSpPr>
          <p:nvPr>
            <p:ph type="pic" sz="quarter" idx="13" hasCustomPrompt="1"/>
          </p:nvPr>
        </p:nvSpPr>
        <p:spPr>
          <a:xfrm>
            <a:off x="0" y="0"/>
            <a:ext cx="6099300" cy="6858000"/>
          </a:xfrm>
          <a:solidFill>
            <a:schemeClr val="bg1"/>
          </a:solidFill>
        </p:spPr>
        <p:txBody>
          <a:bodyPr/>
          <a:lstStyle>
            <a:lvl1pPr marL="0" indent="0" algn="ctr">
              <a:buNone/>
              <a:defRPr sz="1200"/>
            </a:lvl1pPr>
          </a:lstStyle>
          <a:p>
            <a:r>
              <a:rPr lang="da-DK"/>
              <a:t>Vælg pladsholderen og indsæt billede via Templafy/Skyfish eller ikon eller logo via Templafy/Billeder</a:t>
            </a:r>
          </a:p>
        </p:txBody>
      </p:sp>
      <p:sp>
        <p:nvSpPr>
          <p:cNvPr id="8" name="Titel 1"/>
          <p:cNvSpPr>
            <a:spLocks noGrp="1"/>
          </p:cNvSpPr>
          <p:nvPr>
            <p:ph type="title" hasCustomPrompt="1"/>
          </p:nvPr>
        </p:nvSpPr>
        <p:spPr>
          <a:xfrm>
            <a:off x="6692401" y="1076109"/>
            <a:ext cx="4680000" cy="1822734"/>
          </a:xfrm>
        </p:spPr>
        <p:txBody>
          <a:bodyPr/>
          <a:lstStyle>
            <a:lvl1pPr>
              <a:defRPr/>
            </a:lvl1pPr>
          </a:lstStyle>
          <a:p>
            <a:r>
              <a:rPr lang="da-DK"/>
              <a:t>Klik for at tilføje overskrift, maksimalt 3 linjer</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692400"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text" descr="{&quot;templafy&quot;:{&quot;id&quot;:&quot;7dfbda98-fd3b-47f6-906d-39947fb1b234&quot;}}" title="UserProfile.Institut.InstituteDCU_{{DocumentLanguage}}">
            <a:extLst>
              <a:ext uri="{FF2B5EF4-FFF2-40B4-BE49-F238E27FC236}">
                <a16:creationId xmlns:a16="http://schemas.microsoft.com/office/drawing/2014/main" id="{060969B2-E177-4704-95D4-119A98BB90C5}"/>
              </a:ext>
            </a:extLst>
          </p:cNvPr>
          <p:cNvSpPr txBox="1">
            <a:spLocks/>
          </p:cNvSpPr>
          <p:nvPr userDrawn="1"/>
        </p:nvSpPr>
        <p:spPr>
          <a:xfrm>
            <a:off x="6692400" y="249585"/>
            <a:ext cx="4680000" cy="478677"/>
          </a:xfrm>
          <a:prstGeom prst="rect">
            <a:avLst/>
          </a:prstGeom>
          <a:noFill/>
        </p:spPr>
        <p:txBody>
          <a:bodyPr wrap="square" lIns="1080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8" name="Straight Connector 17">
            <a:extLst>
              <a:ext uri="{FF2B5EF4-FFF2-40B4-BE49-F238E27FC236}">
                <a16:creationId xmlns:a16="http://schemas.microsoft.com/office/drawing/2014/main" id="{B68D6574-D545-4AC1-804C-76EBF3BEC544}"/>
              </a:ext>
            </a:extLst>
          </p:cNvPr>
          <p:cNvCxnSpPr>
            <a:cxnSpLocks/>
          </p:cNvCxnSpPr>
          <p:nvPr userDrawn="1"/>
        </p:nvCxnSpPr>
        <p:spPr>
          <a:xfrm>
            <a:off x="6691637"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e" descr="{&quot;templafy&quot;:{&quot;id&quot;:&quot;ea6d2255-9531-478e-9e48-a9ad84cf4859&quot;}}" title="Form.Date">
            <a:extLst>
              <a:ext uri="{FF2B5EF4-FFF2-40B4-BE49-F238E27FC236}">
                <a16:creationId xmlns:a16="http://schemas.microsoft.com/office/drawing/2014/main" id="{38150A77-BE4E-404D-B314-A1C41C791C1B}"/>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5</a:t>
            </a:r>
          </a:p>
        </p:txBody>
      </p:sp>
      <p:pic>
        <p:nvPicPr>
          <p:cNvPr id="20" name="Logo black">
            <a:extLst>
              <a:ext uri="{FF2B5EF4-FFF2-40B4-BE49-F238E27FC236}">
                <a16:creationId xmlns:a16="http://schemas.microsoft.com/office/drawing/2014/main" id="{1421C492-A651-4EE4-BB8B-C6886E7B5C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92400" y="6294893"/>
            <a:ext cx="784800" cy="211840"/>
          </a:xfrm>
          <a:prstGeom prst="rect">
            <a:avLst/>
          </a:prstGeom>
        </p:spPr>
      </p:pic>
      <p:sp>
        <p:nvSpPr>
          <p:cNvPr id="30" name="Date Placeholder 14">
            <a:extLst>
              <a:ext uri="{FF2B5EF4-FFF2-40B4-BE49-F238E27FC236}">
                <a16:creationId xmlns:a16="http://schemas.microsoft.com/office/drawing/2014/main" id="{2C4B35A0-F8F7-420F-9E06-CC0AAAA0B84F}"/>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22" name="TextBox 21">
            <a:extLst>
              <a:ext uri="{FF2B5EF4-FFF2-40B4-BE49-F238E27FC236}">
                <a16:creationId xmlns:a16="http://schemas.microsoft.com/office/drawing/2014/main" id="{7C94981C-CC58-4018-9B19-5053EFA6B6A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22741338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Billede og tekst (CV)">
    <p:spTree>
      <p:nvGrpSpPr>
        <p:cNvPr id="1" name=""/>
        <p:cNvGrpSpPr/>
        <p:nvPr/>
      </p:nvGrpSpPr>
      <p:grpSpPr>
        <a:xfrm>
          <a:off x="0" y="0"/>
          <a:ext cx="0" cy="0"/>
          <a:chOff x="0" y="0"/>
          <a:chExt cx="0" cy="0"/>
        </a:xfrm>
      </p:grpSpPr>
      <p:sp>
        <p:nvSpPr>
          <p:cNvPr id="7" name="Titel 1"/>
          <p:cNvSpPr>
            <a:spLocks noGrp="1"/>
          </p:cNvSpPr>
          <p:nvPr>
            <p:ph type="title" hasCustomPrompt="1"/>
          </p:nvPr>
        </p:nvSpPr>
        <p:spPr>
          <a:xfrm>
            <a:off x="6710399" y="1700213"/>
            <a:ext cx="4677070" cy="1436392"/>
          </a:xfrm>
        </p:spPr>
        <p:txBody>
          <a:bodyPr/>
          <a:lstStyle>
            <a:lvl1pPr>
              <a:defRPr sz="4800"/>
            </a:lvl1pPr>
          </a:lstStyle>
          <a:p>
            <a:r>
              <a:rPr lang="da-DK"/>
              <a:t>Overskrift i </a:t>
            </a:r>
            <a:r>
              <a:rPr lang="da-DK" err="1"/>
              <a:t>maks</a:t>
            </a:r>
            <a:r>
              <a:rPr lang="da-DK"/>
              <a:t> 2 linjer</a:t>
            </a:r>
          </a:p>
        </p:txBody>
      </p:sp>
      <p:sp>
        <p:nvSpPr>
          <p:cNvPr id="15" name="Text Placeholder 4">
            <a:extLst>
              <a:ext uri="{FF2B5EF4-FFF2-40B4-BE49-F238E27FC236}">
                <a16:creationId xmlns:a16="http://schemas.microsoft.com/office/drawing/2014/main" id="{6FAAEFF0-FCE4-48D6-A0D1-A458F3CD3EB3}"/>
              </a:ext>
            </a:extLst>
          </p:cNvPr>
          <p:cNvSpPr>
            <a:spLocks noGrp="1"/>
          </p:cNvSpPr>
          <p:nvPr>
            <p:ph type="body" sz="quarter" idx="19"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6" name="Text Placeholder 5">
            <a:extLst>
              <a:ext uri="{FF2B5EF4-FFF2-40B4-BE49-F238E27FC236}">
                <a16:creationId xmlns:a16="http://schemas.microsoft.com/office/drawing/2014/main" id="{2F21E6D3-406B-4DA0-9B5A-6A2F208BAF71}"/>
              </a:ext>
            </a:extLst>
          </p:cNvPr>
          <p:cNvSpPr>
            <a:spLocks noGrp="1"/>
          </p:cNvSpPr>
          <p:nvPr>
            <p:ph type="body" sz="quarter" idx="18" hasCustomPrompt="1"/>
          </p:nvPr>
        </p:nvSpPr>
        <p:spPr>
          <a:xfrm>
            <a:off x="6710399" y="452437"/>
            <a:ext cx="4659277" cy="790493"/>
          </a:xfrm>
        </p:spPr>
        <p:txBody>
          <a:bodyPr anchor="b" anchorCtr="0"/>
          <a:lstStyle>
            <a:lvl1pPr marL="0" indent="0">
              <a:buFont typeface="Arial" panose="020B0604020202020204" pitchFamily="34" charset="0"/>
              <a:buNone/>
              <a:defRPr/>
            </a:lvl1pPr>
          </a:lstStyle>
          <a:p>
            <a:pPr lvl="0"/>
            <a:r>
              <a:rPr lang="da-DK"/>
              <a:t>Klik for at indsætte tekst (f.eks. job titel)</a:t>
            </a:r>
          </a:p>
        </p:txBody>
      </p:sp>
      <p:sp>
        <p:nvSpPr>
          <p:cNvPr id="10" name="Pladsholder til billede 3"/>
          <p:cNvSpPr>
            <a:spLocks noGrp="1"/>
          </p:cNvSpPr>
          <p:nvPr>
            <p:ph type="pic" sz="quarter" idx="13" hasCustomPrompt="1"/>
          </p:nvPr>
        </p:nvSpPr>
        <p:spPr>
          <a:xfrm>
            <a:off x="411163" y="1016000"/>
            <a:ext cx="4043879" cy="4804038"/>
          </a:xfrm>
          <a:noFill/>
        </p:spPr>
        <p:txBody>
          <a:bodyPr/>
          <a:lstStyle>
            <a:lvl1pPr marL="0" indent="0" algn="ctr">
              <a:buNone/>
              <a:defRPr sz="1100"/>
            </a:lvl1pPr>
          </a:lstStyle>
          <a:p>
            <a:r>
              <a:rPr lang="da-DK"/>
              <a:t>Vælg pladsholderen og indsæt billede via Templafy/Skyfish eller ikon eller logo via Templafy/Billeder</a:t>
            </a:r>
          </a:p>
        </p:txBody>
      </p:sp>
      <p:sp>
        <p:nvSpPr>
          <p:cNvPr id="18" name="Date Placeholder 14">
            <a:extLst>
              <a:ext uri="{FF2B5EF4-FFF2-40B4-BE49-F238E27FC236}">
                <a16:creationId xmlns:a16="http://schemas.microsoft.com/office/drawing/2014/main" id="{4AC2696B-BD55-4932-A36E-BCC4318F22B0}"/>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4" name="Date Placeholder 3">
            <a:extLst>
              <a:ext uri="{FF2B5EF4-FFF2-40B4-BE49-F238E27FC236}">
                <a16:creationId xmlns:a16="http://schemas.microsoft.com/office/drawing/2014/main" id="{01591D0A-163E-46D9-B4AE-DA2791457328}"/>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5" name="Footer Placeholder 4">
            <a:extLst>
              <a:ext uri="{FF2B5EF4-FFF2-40B4-BE49-F238E27FC236}">
                <a16:creationId xmlns:a16="http://schemas.microsoft.com/office/drawing/2014/main" id="{CD31645F-3EEE-4ACC-9DE8-38B996FFAD12}"/>
              </a:ext>
            </a:extLst>
          </p:cNvPr>
          <p:cNvSpPr>
            <a:spLocks noGrp="1"/>
          </p:cNvSpPr>
          <p:nvPr>
            <p:ph type="ftr" sz="quarter" idx="21"/>
          </p:nvPr>
        </p:nvSpPr>
        <p:spPr>
          <a:xfrm>
            <a:off x="6915600" y="6376129"/>
            <a:ext cx="2240432" cy="180000"/>
          </a:xfrm>
          <a:prstGeom prst="rect">
            <a:avLst/>
          </a:prstGeom>
        </p:spPr>
        <p:txBody>
          <a:bodyPr/>
          <a:lstStyle/>
          <a:p>
            <a:endParaRPr lang="da-DK"/>
          </a:p>
        </p:txBody>
      </p:sp>
      <p:sp>
        <p:nvSpPr>
          <p:cNvPr id="11" name="Slide Number Placeholder 10">
            <a:extLst>
              <a:ext uri="{FF2B5EF4-FFF2-40B4-BE49-F238E27FC236}">
                <a16:creationId xmlns:a16="http://schemas.microsoft.com/office/drawing/2014/main" id="{DA9685AE-678B-466E-B97B-590BC795CFDA}"/>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12" name="TextBox 11">
            <a:extLst>
              <a:ext uri="{FF2B5EF4-FFF2-40B4-BE49-F238E27FC236}">
                <a16:creationId xmlns:a16="http://schemas.microsoft.com/office/drawing/2014/main" id="{4E308762-F27B-4C02-A3F6-05048278412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
        <p:nvSpPr>
          <p:cNvPr id="14" name="text" descr="{&quot;templafy&quot;:{&quot;id&quot;:&quot;84e0002e-7a76-4fca-9560-2d84df16dbb4&quot;}}" title="UserProfile.Institut.InstituteDCU_{{DocumentLanguage}}">
            <a:extLst>
              <a:ext uri="{FF2B5EF4-FFF2-40B4-BE49-F238E27FC236}">
                <a16:creationId xmlns:a16="http://schemas.microsoft.com/office/drawing/2014/main" id="{DF6D8BC8-E65A-425F-8A88-41B507F8A632}"/>
              </a:ext>
            </a:extLst>
          </p:cNvPr>
          <p:cNvSpPr txBox="1">
            <a:spLocks/>
          </p:cNvSpPr>
          <p:nvPr userDrawn="1"/>
        </p:nvSpPr>
        <p:spPr>
          <a:xfrm>
            <a:off x="411160" y="442422"/>
            <a:ext cx="602734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cxnSp>
        <p:nvCxnSpPr>
          <p:cNvPr id="16" name="Straight Connector 15">
            <a:extLst>
              <a:ext uri="{FF2B5EF4-FFF2-40B4-BE49-F238E27FC236}">
                <a16:creationId xmlns:a16="http://schemas.microsoft.com/office/drawing/2014/main" id="{07D7BB8A-9FF7-4F5F-964E-11BE0AD89A9E}"/>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A0D29C7-1B08-47AE-80F0-21F12DFA77C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9" name="Rectangle 18">
            <a:extLst>
              <a:ext uri="{FF2B5EF4-FFF2-40B4-BE49-F238E27FC236}">
                <a16:creationId xmlns:a16="http://schemas.microsoft.com/office/drawing/2014/main" id="{BBE87218-65BF-484A-9BC3-CFE3F6FD4ECC}"/>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Tree>
    <p:extLst>
      <p:ext uri="{BB962C8B-B14F-4D97-AF65-F5344CB8AC3E}">
        <p14:creationId xmlns:p14="http://schemas.microsoft.com/office/powerpoint/2010/main" val="4154383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Overskrift og indhold 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6673356" y="1700212"/>
            <a:ext cx="4693920" cy="4141788"/>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2-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79506969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Overskrift og bille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400"/>
            </a:lvl1pPr>
          </a:lstStyle>
          <a:p>
            <a:r>
              <a:rPr lang="da-DK"/>
              <a:t>Vælg pladsholderen og indsæt billede via Templafy/Skyfish eller ikon eller logo via Templafy/Billeder</a:t>
            </a:r>
          </a:p>
        </p:txBody>
      </p:sp>
      <p:sp>
        <p:nvSpPr>
          <p:cNvPr id="17" name="Date Placeholder 14">
            <a:extLst>
              <a:ext uri="{FF2B5EF4-FFF2-40B4-BE49-F238E27FC236}">
                <a16:creationId xmlns:a16="http://schemas.microsoft.com/office/drawing/2014/main" id="{360EC57D-D72D-43A3-90BC-3ACC9F8BC95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8" name="Date Placeholder 14">
            <a:extLst>
              <a:ext uri="{FF2B5EF4-FFF2-40B4-BE49-F238E27FC236}">
                <a16:creationId xmlns:a16="http://schemas.microsoft.com/office/drawing/2014/main" id="{36B2A848-B2AD-472A-AC10-0002D162D52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920C039-324F-433E-90A2-B9FAD2872EC2}"/>
              </a:ext>
            </a:extLst>
          </p:cNvPr>
          <p:cNvSpPr>
            <a:spLocks noGrp="1"/>
          </p:cNvSpPr>
          <p:nvPr>
            <p:ph type="ftr" sz="quarter" idx="15"/>
          </p:nvPr>
        </p:nvSpPr>
        <p:spPr>
          <a:xfrm>
            <a:off x="6915600" y="6376129"/>
            <a:ext cx="2240432" cy="180000"/>
          </a:xfrm>
          <a:prstGeom prst="rect">
            <a:avLst/>
          </a:prstGeom>
        </p:spPr>
        <p:txBody>
          <a:bodyPr/>
          <a:lstStyle/>
          <a:p>
            <a:endParaRPr lang="da-DK"/>
          </a:p>
        </p:txBody>
      </p:sp>
      <p:sp>
        <p:nvSpPr>
          <p:cNvPr id="4" name="Slide Number Placeholder 3">
            <a:extLst>
              <a:ext uri="{FF2B5EF4-FFF2-40B4-BE49-F238E27FC236}">
                <a16:creationId xmlns:a16="http://schemas.microsoft.com/office/drawing/2014/main" id="{417D6F82-73FC-4F13-BFEC-9200E77E1527}"/>
              </a:ext>
            </a:extLst>
          </p:cNvPr>
          <p:cNvSpPr>
            <a:spLocks noGrp="1"/>
          </p:cNvSpPr>
          <p:nvPr>
            <p:ph type="sldNum" sz="quarter" idx="16"/>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97443204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Fire ikoner">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FA71C01-3350-42F9-9392-0F3379095A93}"/>
              </a:ext>
            </a:extLst>
          </p:cNvPr>
          <p:cNvSpPr>
            <a:spLocks noGrp="1"/>
          </p:cNvSpPr>
          <p:nvPr>
            <p:ph sz="quarter" idx="13" hasCustomPrompt="1"/>
          </p:nvPr>
        </p:nvSpPr>
        <p:spPr>
          <a:xfrm>
            <a:off x="2932902" y="1700213"/>
            <a:ext cx="936000" cy="936000"/>
          </a:xfrm>
        </p:spPr>
        <p:txBody>
          <a:bodyPr wrap="none"/>
          <a:lstStyle>
            <a:lvl1pPr marL="0" indent="0">
              <a:buNone/>
              <a:defRPr sz="1000"/>
            </a:lvl1pPr>
          </a:lstStyle>
          <a:p>
            <a:pPr lvl="0"/>
            <a:r>
              <a:rPr lang="da-DK"/>
              <a:t>Indsæt logo: Vælg pladsholderen, indsæt logo via Templafy/Billeder</a:t>
            </a:r>
          </a:p>
        </p:txBody>
      </p:sp>
      <p:sp>
        <p:nvSpPr>
          <p:cNvPr id="11" name="Text Placeholder 10">
            <a:extLst>
              <a:ext uri="{FF2B5EF4-FFF2-40B4-BE49-F238E27FC236}">
                <a16:creationId xmlns:a16="http://schemas.microsoft.com/office/drawing/2014/main" id="{C0A09C85-3CCC-44AB-A808-AA96845B1281}"/>
              </a:ext>
            </a:extLst>
          </p:cNvPr>
          <p:cNvSpPr>
            <a:spLocks noGrp="1"/>
          </p:cNvSpPr>
          <p:nvPr>
            <p:ph type="body" sz="quarter" idx="14" hasCustomPrompt="1"/>
          </p:nvPr>
        </p:nvSpPr>
        <p:spPr>
          <a:xfrm>
            <a:off x="2932902" y="2733129"/>
            <a:ext cx="3564000" cy="756000"/>
          </a:xfrm>
        </p:spPr>
        <p:txBody>
          <a:bodyPr/>
          <a:lstStyle>
            <a:lvl1pPr marL="0" indent="0">
              <a:buFont typeface="Arial" panose="020B0604020202020204" pitchFamily="34" charset="0"/>
              <a:buChar char="​"/>
              <a:defRPr sz="21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13" name="Content Placeholder 12">
            <a:extLst>
              <a:ext uri="{FF2B5EF4-FFF2-40B4-BE49-F238E27FC236}">
                <a16:creationId xmlns:a16="http://schemas.microsoft.com/office/drawing/2014/main" id="{3F35B7FD-E0E2-4581-BAC7-8858E530AFEA}"/>
              </a:ext>
            </a:extLst>
          </p:cNvPr>
          <p:cNvSpPr>
            <a:spLocks noGrp="1"/>
          </p:cNvSpPr>
          <p:nvPr>
            <p:ph sz="quarter" idx="15" hasCustomPrompt="1"/>
          </p:nvPr>
        </p:nvSpPr>
        <p:spPr>
          <a:xfrm>
            <a:off x="2934000"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15" name="Text Placeholder 14">
            <a:extLst>
              <a:ext uri="{FF2B5EF4-FFF2-40B4-BE49-F238E27FC236}">
                <a16:creationId xmlns:a16="http://schemas.microsoft.com/office/drawing/2014/main" id="{52C92166-E723-47D5-9A87-3354EB28C43E}"/>
              </a:ext>
            </a:extLst>
          </p:cNvPr>
          <p:cNvSpPr>
            <a:spLocks noGrp="1"/>
          </p:cNvSpPr>
          <p:nvPr>
            <p:ph type="body" sz="quarter" idx="16" hasCustomPrompt="1"/>
          </p:nvPr>
        </p:nvSpPr>
        <p:spPr>
          <a:xfrm>
            <a:off x="2932112" y="5093240"/>
            <a:ext cx="3564000" cy="756000"/>
          </a:xfrm>
        </p:spPr>
        <p:txBody>
          <a:bodyPr/>
          <a:lstStyle>
            <a:lvl1pPr marL="0" indent="0">
              <a:buFont typeface="Arial" panose="020B0604020202020204" pitchFamily="34" charset="0"/>
              <a:buChar char="​"/>
              <a:defRPr sz="2000" b="1"/>
            </a:lvl1pPr>
            <a:lvl2pPr marL="252000">
              <a:defRPr/>
            </a:lvl2pPr>
            <a:lvl3pPr marL="252000" indent="0">
              <a:buNone/>
              <a:defRPr/>
            </a:lvl3pPr>
          </a:lstStyle>
          <a:p>
            <a:pPr lvl="0"/>
            <a:r>
              <a:rPr lang="da-DK"/>
              <a:t>Klik for at tilføje overskrift</a:t>
            </a:r>
          </a:p>
          <a:p>
            <a:pPr lvl="1"/>
            <a:r>
              <a:rPr lang="da-DK"/>
              <a:t>Second level</a:t>
            </a:r>
          </a:p>
        </p:txBody>
      </p:sp>
      <p:sp>
        <p:nvSpPr>
          <p:cNvPr id="17" name="Content Placeholder 16">
            <a:extLst>
              <a:ext uri="{FF2B5EF4-FFF2-40B4-BE49-F238E27FC236}">
                <a16:creationId xmlns:a16="http://schemas.microsoft.com/office/drawing/2014/main" id="{AE23DA26-37CC-4CA7-8253-FD9AB459D2EF}"/>
              </a:ext>
            </a:extLst>
          </p:cNvPr>
          <p:cNvSpPr>
            <a:spLocks noGrp="1"/>
          </p:cNvSpPr>
          <p:nvPr>
            <p:ph sz="quarter" idx="17" hasCustomPrompt="1"/>
          </p:nvPr>
        </p:nvSpPr>
        <p:spPr>
          <a:xfrm>
            <a:off x="7474740" y="1700213"/>
            <a:ext cx="936000" cy="936000"/>
          </a:xfrm>
        </p:spPr>
        <p:txBody>
          <a:bodyPr wrap="none"/>
          <a:lstStyle>
            <a:lvl1pPr marL="0" indent="0">
              <a:buNone/>
              <a:defRPr sz="1000"/>
            </a:lvl1pPr>
            <a:lvl2pPr marL="252000" indent="0">
              <a:buNone/>
              <a:defRPr sz="1000"/>
            </a:lvl2pPr>
          </a:lstStyle>
          <a:p>
            <a:pPr lvl="0"/>
            <a:r>
              <a:rPr lang="da-DK"/>
              <a:t>Indsæt logo: Vælg pladsholderen, indsæt logo via Templafy/Billeder</a:t>
            </a:r>
          </a:p>
        </p:txBody>
      </p:sp>
      <p:sp>
        <p:nvSpPr>
          <p:cNvPr id="19" name="Text Placeholder 18">
            <a:extLst>
              <a:ext uri="{FF2B5EF4-FFF2-40B4-BE49-F238E27FC236}">
                <a16:creationId xmlns:a16="http://schemas.microsoft.com/office/drawing/2014/main" id="{62682726-03AB-4490-8664-993881FA0BB1}"/>
              </a:ext>
            </a:extLst>
          </p:cNvPr>
          <p:cNvSpPr>
            <a:spLocks noGrp="1"/>
          </p:cNvSpPr>
          <p:nvPr>
            <p:ph type="body" sz="quarter" idx="18" hasCustomPrompt="1"/>
          </p:nvPr>
        </p:nvSpPr>
        <p:spPr>
          <a:xfrm>
            <a:off x="7459663" y="273240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21" name="Content Placeholder 20">
            <a:extLst>
              <a:ext uri="{FF2B5EF4-FFF2-40B4-BE49-F238E27FC236}">
                <a16:creationId xmlns:a16="http://schemas.microsoft.com/office/drawing/2014/main" id="{762625AB-198B-4F37-9382-C78FD9118D5A}"/>
              </a:ext>
            </a:extLst>
          </p:cNvPr>
          <p:cNvSpPr>
            <a:spLocks noGrp="1"/>
          </p:cNvSpPr>
          <p:nvPr>
            <p:ph sz="quarter" idx="19" hasCustomPrompt="1"/>
          </p:nvPr>
        </p:nvSpPr>
        <p:spPr>
          <a:xfrm>
            <a:off x="7459663"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23" name="Text Placeholder 22">
            <a:extLst>
              <a:ext uri="{FF2B5EF4-FFF2-40B4-BE49-F238E27FC236}">
                <a16:creationId xmlns:a16="http://schemas.microsoft.com/office/drawing/2014/main" id="{D8AE7F93-F2C6-4199-8D16-CFB4D977F63E}"/>
              </a:ext>
            </a:extLst>
          </p:cNvPr>
          <p:cNvSpPr>
            <a:spLocks noGrp="1"/>
          </p:cNvSpPr>
          <p:nvPr>
            <p:ph type="body" sz="quarter" idx="20" hasCustomPrompt="1"/>
          </p:nvPr>
        </p:nvSpPr>
        <p:spPr>
          <a:xfrm>
            <a:off x="7473948" y="509324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p:txBody>
      </p:sp>
      <p:sp>
        <p:nvSpPr>
          <p:cNvPr id="3" name="Footer Placeholder 2">
            <a:extLst>
              <a:ext uri="{FF2B5EF4-FFF2-40B4-BE49-F238E27FC236}">
                <a16:creationId xmlns:a16="http://schemas.microsoft.com/office/drawing/2014/main" id="{0C4D261F-AFF9-422D-9FB3-5AE92F19507E}"/>
              </a:ext>
            </a:extLst>
          </p:cNvPr>
          <p:cNvSpPr>
            <a:spLocks noGrp="1"/>
          </p:cNvSpPr>
          <p:nvPr>
            <p:ph type="ftr" sz="quarter" idx="10"/>
          </p:nvPr>
        </p:nvSpPr>
        <p:spPr>
          <a:xfrm>
            <a:off x="6915600" y="6376129"/>
            <a:ext cx="2240432" cy="180000"/>
          </a:xfrm>
          <a:prstGeom prst="rect">
            <a:avLst/>
          </a:prstGeom>
        </p:spPr>
        <p:txBody>
          <a:bodyPr/>
          <a:lstStyle/>
          <a:p>
            <a:endParaRPr lang="da-DK"/>
          </a:p>
        </p:txBody>
      </p:sp>
      <p:sp>
        <p:nvSpPr>
          <p:cNvPr id="4" name="Date Placeholder 3">
            <a:extLst>
              <a:ext uri="{FF2B5EF4-FFF2-40B4-BE49-F238E27FC236}">
                <a16:creationId xmlns:a16="http://schemas.microsoft.com/office/drawing/2014/main" id="{21133E6A-A4F4-491B-846E-1DACC83D9BB7}"/>
              </a:ext>
            </a:extLst>
          </p:cNvPr>
          <p:cNvSpPr>
            <a:spLocks noGrp="1"/>
          </p:cNvSpPr>
          <p:nvPr>
            <p:ph type="dt" sz="half" idx="11"/>
          </p:nvPr>
        </p:nvSpPr>
        <p:spPr/>
        <p:txBody>
          <a:bodyPr/>
          <a:lstStyle/>
          <a:p>
            <a:fld id="{F1A13B18-F5ED-4611-8DBB-F05123AFBA22}" type="datetimeFigureOut">
              <a:rPr lang="da-DK" smtClean="0"/>
              <a:pPr/>
              <a:t>08-05-2025</a:t>
            </a:fld>
            <a:endParaRPr lang="da-DK"/>
          </a:p>
        </p:txBody>
      </p:sp>
      <p:sp>
        <p:nvSpPr>
          <p:cNvPr id="5" name="Slide Number Placeholder 4">
            <a:extLst>
              <a:ext uri="{FF2B5EF4-FFF2-40B4-BE49-F238E27FC236}">
                <a16:creationId xmlns:a16="http://schemas.microsoft.com/office/drawing/2014/main" id="{6C38E8B2-EC82-4BE1-85C6-8F272596913A}"/>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21701992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Overskrift og log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6F8A6A9-890A-4EA2-8FA4-EA834B1A12F4}"/>
              </a:ext>
            </a:extLst>
          </p:cNvPr>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1" name="Date Placeholder 14">
            <a:extLst>
              <a:ext uri="{FF2B5EF4-FFF2-40B4-BE49-F238E27FC236}">
                <a16:creationId xmlns:a16="http://schemas.microsoft.com/office/drawing/2014/main" id="{705F52FC-7E26-46C0-8E8B-4445D500B9C7}"/>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7" name="Date Placeholder 6">
            <a:extLst>
              <a:ext uri="{FF2B5EF4-FFF2-40B4-BE49-F238E27FC236}">
                <a16:creationId xmlns:a16="http://schemas.microsoft.com/office/drawing/2014/main" id="{D01B1D99-4B52-4731-AEC4-C722464A7D1B}"/>
              </a:ext>
            </a:extLst>
          </p:cNvPr>
          <p:cNvSpPr>
            <a:spLocks noGrp="1"/>
          </p:cNvSpPr>
          <p:nvPr>
            <p:ph type="dt" sz="half" idx="10"/>
          </p:nvPr>
        </p:nvSpPr>
        <p:spPr/>
        <p:txBody>
          <a:bodyPr/>
          <a:lstStyle/>
          <a:p>
            <a:fld id="{F1A13B18-F5ED-4611-8DBB-F05123AFBA22}" type="datetimeFigureOut">
              <a:rPr lang="da-DK" smtClean="0"/>
              <a:pPr/>
              <a:t>08-05-2025</a:t>
            </a:fld>
            <a:endParaRPr lang="da-DK"/>
          </a:p>
        </p:txBody>
      </p:sp>
      <p:sp>
        <p:nvSpPr>
          <p:cNvPr id="9" name="Footer Placeholder 8">
            <a:extLst>
              <a:ext uri="{FF2B5EF4-FFF2-40B4-BE49-F238E27FC236}">
                <a16:creationId xmlns:a16="http://schemas.microsoft.com/office/drawing/2014/main" id="{F5FCEDFC-AE26-4F9F-9153-1837190678EF}"/>
              </a:ext>
            </a:extLst>
          </p:cNvPr>
          <p:cNvSpPr>
            <a:spLocks noGrp="1"/>
          </p:cNvSpPr>
          <p:nvPr>
            <p:ph type="ftr" sz="quarter" idx="11"/>
          </p:nvPr>
        </p:nvSpPr>
        <p:spPr>
          <a:xfrm>
            <a:off x="6915600" y="6376129"/>
            <a:ext cx="2240432" cy="180000"/>
          </a:xfrm>
          <a:prstGeom prst="rect">
            <a:avLst/>
          </a:prstGeom>
        </p:spPr>
        <p:txBody>
          <a:bodyPr/>
          <a:lstStyle/>
          <a:p>
            <a:endParaRPr lang="da-DK"/>
          </a:p>
        </p:txBody>
      </p:sp>
      <p:sp>
        <p:nvSpPr>
          <p:cNvPr id="12" name="Slide Number Placeholder 11">
            <a:extLst>
              <a:ext uri="{FF2B5EF4-FFF2-40B4-BE49-F238E27FC236}">
                <a16:creationId xmlns:a16="http://schemas.microsoft.com/office/drawing/2014/main" id="{4B452C39-88DE-4155-8ED8-643714B1A9FE}"/>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209228333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o indholdsobjekter">
    <p:bg>
      <p:bgPr>
        <a:solidFill>
          <a:schemeClr val="tx1">
            <a:lumMod val="95000"/>
          </a:schemeClr>
        </a:solidFill>
        <a:effectLst/>
      </p:bgPr>
    </p:bg>
    <p:spTree>
      <p:nvGrpSpPr>
        <p:cNvPr id="1" name=""/>
        <p:cNvGrpSpPr/>
        <p:nvPr/>
      </p:nvGrpSpPr>
      <p:grpSpPr>
        <a:xfrm>
          <a:off x="0" y="0"/>
          <a:ext cx="0" cy="0"/>
          <a:chOff x="0" y="0"/>
          <a:chExt cx="0" cy="0"/>
        </a:xfrm>
      </p:grpSpPr>
      <p:sp>
        <p:nvSpPr>
          <p:cNvPr id="8" name="Pladsholder til tekst 1">
            <a:extLst>
              <a:ext uri="{FF2B5EF4-FFF2-40B4-BE49-F238E27FC236}">
                <a16:creationId xmlns:a16="http://schemas.microsoft.com/office/drawing/2014/main" id="{F6BEDF15-6186-47CE-A9E7-621E7E54D759}"/>
              </a:ext>
            </a:extLst>
          </p:cNvPr>
          <p:cNvSpPr>
            <a:spLocks noGrp="1"/>
          </p:cNvSpPr>
          <p:nvPr>
            <p:ph type="body" sz="quarter" idx="4294967295"/>
          </p:nvPr>
        </p:nvSpPr>
        <p:spPr>
          <a:xfrm>
            <a:off x="730250" y="1876425"/>
            <a:ext cx="7092950" cy="4038600"/>
          </a:xfrm>
        </p:spPr>
        <p:txBody>
          <a:bodyPr/>
          <a:lstStyle>
            <a:lvl1pPr>
              <a:defRPr>
                <a:solidFill>
                  <a:schemeClr val="tx2">
                    <a:lumMod val="50000"/>
                  </a:schemeClr>
                </a:solidFill>
              </a:defRPr>
            </a:lvl1pPr>
          </a:lstStyle>
          <a:p>
            <a:pPr lvl="0"/>
            <a:r>
              <a:rPr lang="da-DK"/>
              <a:t>Rediger typografien i masterens</a:t>
            </a:r>
          </a:p>
        </p:txBody>
      </p:sp>
      <p:sp>
        <p:nvSpPr>
          <p:cNvPr id="9" name="Titel 5">
            <a:extLst>
              <a:ext uri="{FF2B5EF4-FFF2-40B4-BE49-F238E27FC236}">
                <a16:creationId xmlns:a16="http://schemas.microsoft.com/office/drawing/2014/main" id="{2B8DD9F0-0E2B-4094-BFB6-72800557111E}"/>
              </a:ext>
            </a:extLst>
          </p:cNvPr>
          <p:cNvSpPr>
            <a:spLocks noGrp="1"/>
          </p:cNvSpPr>
          <p:nvPr>
            <p:ph type="title"/>
          </p:nvPr>
        </p:nvSpPr>
        <p:spPr>
          <a:xfrm>
            <a:off x="731520" y="516468"/>
            <a:ext cx="10728960" cy="934890"/>
          </a:xfrm>
        </p:spPr>
        <p:txBody>
          <a:bodyPr/>
          <a:lstStyle>
            <a:lvl1pPr>
              <a:defRPr>
                <a:solidFill>
                  <a:schemeClr val="tx2">
                    <a:lumMod val="50000"/>
                  </a:schemeClr>
                </a:solidFill>
              </a:defRPr>
            </a:lvl1pPr>
          </a:lstStyle>
          <a:p>
            <a:r>
              <a:rPr lang="da-DK"/>
              <a:t>Klik for at redigere i master</a:t>
            </a:r>
          </a:p>
        </p:txBody>
      </p:sp>
    </p:spTree>
    <p:extLst>
      <p:ext uri="{BB962C8B-B14F-4D97-AF65-F5344CB8AC3E}">
        <p14:creationId xmlns:p14="http://schemas.microsoft.com/office/powerpoint/2010/main" val="768755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om">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E2519537-D7FE-4352-8267-4691F584EC0A}"/>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itle Placeholder 1">
            <a:extLst>
              <a:ext uri="{FF2B5EF4-FFF2-40B4-BE49-F238E27FC236}">
                <a16:creationId xmlns:a16="http://schemas.microsoft.com/office/drawing/2014/main" id="{37175440-D7DA-48D2-9FC9-CE4D7225957B}"/>
              </a:ext>
            </a:extLst>
          </p:cNvPr>
          <p:cNvSpPr>
            <a:spLocks noGrp="1"/>
          </p:cNvSpPr>
          <p:nvPr>
            <p:ph type="title"/>
          </p:nvPr>
        </p:nvSpPr>
        <p:spPr>
          <a:xfrm>
            <a:off x="764059" y="248496"/>
            <a:ext cx="9478312"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7" name="Slide Number Placeholder 5">
            <a:extLst>
              <a:ext uri="{FF2B5EF4-FFF2-40B4-BE49-F238E27FC236}">
                <a16:creationId xmlns:a16="http://schemas.microsoft.com/office/drawing/2014/main" id="{9EF8FF89-C031-404F-A69A-F265A665D5A3}"/>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0" name="Date Placeholder 2">
            <a:extLst>
              <a:ext uri="{FF2B5EF4-FFF2-40B4-BE49-F238E27FC236}">
                <a16:creationId xmlns:a16="http://schemas.microsoft.com/office/drawing/2014/main" id="{C52E4480-EDC2-4C02-8A47-AD6173F2043E}"/>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grpSp>
        <p:nvGrpSpPr>
          <p:cNvPr id="2" name="Group 7">
            <a:extLst>
              <a:ext uri="{FF2B5EF4-FFF2-40B4-BE49-F238E27FC236}">
                <a16:creationId xmlns:a16="http://schemas.microsoft.com/office/drawing/2014/main" id="{F3D04233-13B1-9576-3CB0-13281C2D82D0}"/>
              </a:ext>
            </a:extLst>
          </p:cNvPr>
          <p:cNvGrpSpPr>
            <a:grpSpLocks/>
          </p:cNvGrpSpPr>
          <p:nvPr userDrawn="1"/>
        </p:nvGrpSpPr>
        <p:grpSpPr>
          <a:xfrm>
            <a:off x="10541782" y="326698"/>
            <a:ext cx="1469181" cy="538076"/>
            <a:chOff x="632997" y="3237301"/>
            <a:chExt cx="1214135" cy="444667"/>
          </a:xfrm>
        </p:grpSpPr>
        <p:grpSp>
          <p:nvGrpSpPr>
            <p:cNvPr id="3" name="Graphic 5">
              <a:extLst>
                <a:ext uri="{FF2B5EF4-FFF2-40B4-BE49-F238E27FC236}">
                  <a16:creationId xmlns:a16="http://schemas.microsoft.com/office/drawing/2014/main" id="{863282CC-53F1-3EA2-E9FE-135D7A3B6E33}"/>
                </a:ext>
              </a:extLst>
            </p:cNvPr>
            <p:cNvGrpSpPr/>
            <p:nvPr/>
          </p:nvGrpSpPr>
          <p:grpSpPr>
            <a:xfrm>
              <a:off x="1202431" y="3237301"/>
              <a:ext cx="644701" cy="179292"/>
              <a:chOff x="1202431" y="3237301"/>
              <a:chExt cx="644701" cy="179292"/>
            </a:xfrm>
            <a:solidFill>
              <a:srgbClr val="084F45"/>
            </a:solidFill>
          </p:grpSpPr>
          <p:sp>
            <p:nvSpPr>
              <p:cNvPr id="64" name="Freeform: Shape 67">
                <a:extLst>
                  <a:ext uri="{FF2B5EF4-FFF2-40B4-BE49-F238E27FC236}">
                    <a16:creationId xmlns:a16="http://schemas.microsoft.com/office/drawing/2014/main" id="{E112C5D6-8EDF-25C1-B26D-CBA01B5BA1F3}"/>
                  </a:ext>
                </a:extLst>
              </p:cNvPr>
              <p:cNvSpPr/>
              <p:nvPr/>
            </p:nvSpPr>
            <p:spPr>
              <a:xfrm>
                <a:off x="1202431" y="3239718"/>
                <a:ext cx="108415" cy="136600"/>
              </a:xfrm>
              <a:custGeom>
                <a:avLst/>
                <a:gdLst>
                  <a:gd name="connsiteX0" fmla="*/ 0 w 108415"/>
                  <a:gd name="connsiteY0" fmla="*/ 136601 h 136600"/>
                  <a:gd name="connsiteX1" fmla="*/ 0 w 108415"/>
                  <a:gd name="connsiteY1" fmla="*/ 0 h 136600"/>
                  <a:gd name="connsiteX2" fmla="*/ 26849 w 108415"/>
                  <a:gd name="connsiteY2" fmla="*/ 0 h 136600"/>
                  <a:gd name="connsiteX3" fmla="*/ 82775 w 108415"/>
                  <a:gd name="connsiteY3" fmla="*/ 91237 h 136600"/>
                  <a:gd name="connsiteX4" fmla="*/ 82775 w 108415"/>
                  <a:gd name="connsiteY4" fmla="*/ 0 h 136600"/>
                  <a:gd name="connsiteX5" fmla="*/ 108415 w 108415"/>
                  <a:gd name="connsiteY5" fmla="*/ 0 h 136600"/>
                  <a:gd name="connsiteX6" fmla="*/ 108415 w 108415"/>
                  <a:gd name="connsiteY6" fmla="*/ 136601 h 136600"/>
                  <a:gd name="connsiteX7" fmla="*/ 80739 w 108415"/>
                  <a:gd name="connsiteY7" fmla="*/ 136601 h 136600"/>
                  <a:gd name="connsiteX8" fmla="*/ 25640 w 108415"/>
                  <a:gd name="connsiteY8" fmla="*/ 47527 h 136600"/>
                  <a:gd name="connsiteX9" fmla="*/ 25640 w 108415"/>
                  <a:gd name="connsiteY9" fmla="*/ 136601 h 136600"/>
                  <a:gd name="connsiteX10" fmla="*/ 0 w 108415"/>
                  <a:gd name="connsiteY10" fmla="*/ 136601 h 1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15" h="136600">
                    <a:moveTo>
                      <a:pt x="0" y="136601"/>
                    </a:moveTo>
                    <a:lnTo>
                      <a:pt x="0" y="0"/>
                    </a:lnTo>
                    <a:lnTo>
                      <a:pt x="26849" y="0"/>
                    </a:lnTo>
                    <a:lnTo>
                      <a:pt x="82775" y="91237"/>
                    </a:lnTo>
                    <a:lnTo>
                      <a:pt x="82775" y="0"/>
                    </a:lnTo>
                    <a:lnTo>
                      <a:pt x="108415" y="0"/>
                    </a:lnTo>
                    <a:lnTo>
                      <a:pt x="108415" y="136601"/>
                    </a:lnTo>
                    <a:lnTo>
                      <a:pt x="80739" y="136601"/>
                    </a:lnTo>
                    <a:lnTo>
                      <a:pt x="25640" y="47527"/>
                    </a:lnTo>
                    <a:lnTo>
                      <a:pt x="25640" y="136601"/>
                    </a:lnTo>
                    <a:lnTo>
                      <a:pt x="0" y="136601"/>
                    </a:lnTo>
                    <a:close/>
                  </a:path>
                </a:pathLst>
              </a:custGeom>
              <a:solidFill>
                <a:srgbClr val="084F45"/>
              </a:solidFill>
              <a:ln w="6361" cap="flat">
                <a:noFill/>
                <a:prstDash val="solid"/>
                <a:miter/>
              </a:ln>
            </p:spPr>
            <p:txBody>
              <a:bodyPr rtlCol="0" anchor="ctr"/>
              <a:lstStyle/>
              <a:p>
                <a:endParaRPr lang="da-DK"/>
              </a:p>
            </p:txBody>
          </p:sp>
          <p:sp>
            <p:nvSpPr>
              <p:cNvPr id="65" name="Freeform: Shape 68">
                <a:extLst>
                  <a:ext uri="{FF2B5EF4-FFF2-40B4-BE49-F238E27FC236}">
                    <a16:creationId xmlns:a16="http://schemas.microsoft.com/office/drawing/2014/main" id="{657EB2EE-354B-A11D-6C5E-9D76639FE587}"/>
                  </a:ext>
                </a:extLst>
              </p:cNvPr>
              <p:cNvSpPr/>
              <p:nvPr/>
            </p:nvSpPr>
            <p:spPr>
              <a:xfrm>
                <a:off x="1323571" y="3277384"/>
                <a:ext cx="101734" cy="139208"/>
              </a:xfrm>
              <a:custGeom>
                <a:avLst/>
                <a:gdLst>
                  <a:gd name="connsiteX0" fmla="*/ 0 w 101734"/>
                  <a:gd name="connsiteY0" fmla="*/ 0 h 139208"/>
                  <a:gd name="connsiteX1" fmla="*/ 27867 w 101734"/>
                  <a:gd name="connsiteY1" fmla="*/ 0 h 139208"/>
                  <a:gd name="connsiteX2" fmla="*/ 51535 w 101734"/>
                  <a:gd name="connsiteY2" fmla="*/ 70241 h 139208"/>
                  <a:gd name="connsiteX3" fmla="*/ 74631 w 101734"/>
                  <a:gd name="connsiteY3" fmla="*/ 0 h 139208"/>
                  <a:gd name="connsiteX4" fmla="*/ 101735 w 101734"/>
                  <a:gd name="connsiteY4" fmla="*/ 0 h 139208"/>
                  <a:gd name="connsiteX5" fmla="*/ 66805 w 101734"/>
                  <a:gd name="connsiteY5" fmla="*/ 95245 h 139208"/>
                  <a:gd name="connsiteX6" fmla="*/ 60570 w 101734"/>
                  <a:gd name="connsiteY6" fmla="*/ 112487 h 139208"/>
                  <a:gd name="connsiteX7" fmla="*/ 54017 w 101734"/>
                  <a:gd name="connsiteY7" fmla="*/ 125721 h 139208"/>
                  <a:gd name="connsiteX8" fmla="*/ 46827 w 101734"/>
                  <a:gd name="connsiteY8" fmla="*/ 133165 h 139208"/>
                  <a:gd name="connsiteX9" fmla="*/ 36838 w 101734"/>
                  <a:gd name="connsiteY9" fmla="*/ 137618 h 139208"/>
                  <a:gd name="connsiteX10" fmla="*/ 23477 w 101734"/>
                  <a:gd name="connsiteY10" fmla="*/ 139209 h 139208"/>
                  <a:gd name="connsiteX11" fmla="*/ 8653 w 101734"/>
                  <a:gd name="connsiteY11" fmla="*/ 137618 h 139208"/>
                  <a:gd name="connsiteX12" fmla="*/ 6299 w 101734"/>
                  <a:gd name="connsiteY12" fmla="*/ 117131 h 139208"/>
                  <a:gd name="connsiteX13" fmla="*/ 17369 w 101734"/>
                  <a:gd name="connsiteY13" fmla="*/ 118340 h 139208"/>
                  <a:gd name="connsiteX14" fmla="*/ 30858 w 101734"/>
                  <a:gd name="connsiteY14" fmla="*/ 112996 h 139208"/>
                  <a:gd name="connsiteX15" fmla="*/ 37538 w 101734"/>
                  <a:gd name="connsiteY15" fmla="*/ 99317 h 139208"/>
                  <a:gd name="connsiteX16" fmla="*/ 0 w 101734"/>
                  <a:gd name="connsiteY16" fmla="*/ 0 h 13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39208">
                    <a:moveTo>
                      <a:pt x="0" y="0"/>
                    </a:moveTo>
                    <a:lnTo>
                      <a:pt x="27867" y="0"/>
                    </a:lnTo>
                    <a:lnTo>
                      <a:pt x="51535" y="70241"/>
                    </a:lnTo>
                    <a:lnTo>
                      <a:pt x="74631" y="0"/>
                    </a:lnTo>
                    <a:lnTo>
                      <a:pt x="101735" y="0"/>
                    </a:lnTo>
                    <a:lnTo>
                      <a:pt x="66805" y="95245"/>
                    </a:lnTo>
                    <a:lnTo>
                      <a:pt x="60570" y="112487"/>
                    </a:lnTo>
                    <a:cubicBezTo>
                      <a:pt x="58279" y="118277"/>
                      <a:pt x="56053" y="122667"/>
                      <a:pt x="54017" y="125721"/>
                    </a:cubicBezTo>
                    <a:cubicBezTo>
                      <a:pt x="51917" y="128775"/>
                      <a:pt x="49563" y="131256"/>
                      <a:pt x="46827" y="133165"/>
                    </a:cubicBezTo>
                    <a:cubicBezTo>
                      <a:pt x="44155" y="135073"/>
                      <a:pt x="40783" y="136537"/>
                      <a:pt x="36838" y="137618"/>
                    </a:cubicBezTo>
                    <a:cubicBezTo>
                      <a:pt x="32894" y="138700"/>
                      <a:pt x="28440" y="139209"/>
                      <a:pt x="23477" y="139209"/>
                    </a:cubicBezTo>
                    <a:cubicBezTo>
                      <a:pt x="18451" y="139209"/>
                      <a:pt x="13488" y="138700"/>
                      <a:pt x="8653" y="137618"/>
                    </a:cubicBezTo>
                    <a:lnTo>
                      <a:pt x="6299" y="117131"/>
                    </a:lnTo>
                    <a:cubicBezTo>
                      <a:pt x="10371" y="117959"/>
                      <a:pt x="14125" y="118340"/>
                      <a:pt x="17369" y="118340"/>
                    </a:cubicBezTo>
                    <a:cubicBezTo>
                      <a:pt x="23477" y="118340"/>
                      <a:pt x="27995" y="116559"/>
                      <a:pt x="30858" y="112996"/>
                    </a:cubicBezTo>
                    <a:cubicBezTo>
                      <a:pt x="33784" y="109433"/>
                      <a:pt x="36011" y="104852"/>
                      <a:pt x="37538" y="99317"/>
                    </a:cubicBezTo>
                    <a:lnTo>
                      <a:pt x="0" y="0"/>
                    </a:lnTo>
                    <a:close/>
                  </a:path>
                </a:pathLst>
              </a:custGeom>
              <a:solidFill>
                <a:srgbClr val="084F45"/>
              </a:solidFill>
              <a:ln w="6361" cap="flat">
                <a:noFill/>
                <a:prstDash val="solid"/>
                <a:miter/>
              </a:ln>
            </p:spPr>
            <p:txBody>
              <a:bodyPr rtlCol="0" anchor="ctr"/>
              <a:lstStyle/>
              <a:p>
                <a:endParaRPr lang="da-DK"/>
              </a:p>
            </p:txBody>
          </p:sp>
          <p:sp>
            <p:nvSpPr>
              <p:cNvPr id="66" name="Freeform: Shape 69">
                <a:extLst>
                  <a:ext uri="{FF2B5EF4-FFF2-40B4-BE49-F238E27FC236}">
                    <a16:creationId xmlns:a16="http://schemas.microsoft.com/office/drawing/2014/main" id="{D9BD1684-4D56-63DD-D8B5-8281B50B0C2B}"/>
                  </a:ext>
                </a:extLst>
              </p:cNvPr>
              <p:cNvSpPr/>
              <p:nvPr/>
            </p:nvSpPr>
            <p:spPr>
              <a:xfrm>
                <a:off x="1435231" y="3242518"/>
                <a:ext cx="58343" cy="136091"/>
              </a:xfrm>
              <a:custGeom>
                <a:avLst/>
                <a:gdLst>
                  <a:gd name="connsiteX0" fmla="*/ 56116 w 58343"/>
                  <a:gd name="connsiteY0" fmla="*/ 34866 h 136091"/>
                  <a:gd name="connsiteX1" fmla="*/ 56116 w 58343"/>
                  <a:gd name="connsiteY1" fmla="*/ 55735 h 136091"/>
                  <a:gd name="connsiteX2" fmla="*/ 38238 w 58343"/>
                  <a:gd name="connsiteY2" fmla="*/ 55735 h 136091"/>
                  <a:gd name="connsiteX3" fmla="*/ 38238 w 58343"/>
                  <a:gd name="connsiteY3" fmla="*/ 95627 h 136091"/>
                  <a:gd name="connsiteX4" fmla="*/ 38747 w 58343"/>
                  <a:gd name="connsiteY4" fmla="*/ 109751 h 136091"/>
                  <a:gd name="connsiteX5" fmla="*/ 41101 w 58343"/>
                  <a:gd name="connsiteY5" fmla="*/ 113060 h 136091"/>
                  <a:gd name="connsiteX6" fmla="*/ 45555 w 58343"/>
                  <a:gd name="connsiteY6" fmla="*/ 114396 h 136091"/>
                  <a:gd name="connsiteX7" fmla="*/ 56116 w 58343"/>
                  <a:gd name="connsiteY7" fmla="*/ 111851 h 136091"/>
                  <a:gd name="connsiteX8" fmla="*/ 58343 w 58343"/>
                  <a:gd name="connsiteY8" fmla="*/ 132147 h 136091"/>
                  <a:gd name="connsiteX9" fmla="*/ 37665 w 58343"/>
                  <a:gd name="connsiteY9" fmla="*/ 136091 h 136091"/>
                  <a:gd name="connsiteX10" fmla="*/ 24877 w 58343"/>
                  <a:gd name="connsiteY10" fmla="*/ 133737 h 136091"/>
                  <a:gd name="connsiteX11" fmla="*/ 16542 w 58343"/>
                  <a:gd name="connsiteY11" fmla="*/ 127566 h 136091"/>
                  <a:gd name="connsiteX12" fmla="*/ 12852 w 58343"/>
                  <a:gd name="connsiteY12" fmla="*/ 117386 h 136091"/>
                  <a:gd name="connsiteX13" fmla="*/ 12025 w 58343"/>
                  <a:gd name="connsiteY13" fmla="*/ 98935 h 136091"/>
                  <a:gd name="connsiteX14" fmla="*/ 12025 w 58343"/>
                  <a:gd name="connsiteY14" fmla="*/ 55798 h 136091"/>
                  <a:gd name="connsiteX15" fmla="*/ 0 w 58343"/>
                  <a:gd name="connsiteY15" fmla="*/ 55798 h 136091"/>
                  <a:gd name="connsiteX16" fmla="*/ 0 w 58343"/>
                  <a:gd name="connsiteY16" fmla="*/ 34929 h 136091"/>
                  <a:gd name="connsiteX17" fmla="*/ 12025 w 58343"/>
                  <a:gd name="connsiteY17" fmla="*/ 34929 h 136091"/>
                  <a:gd name="connsiteX18" fmla="*/ 12025 w 58343"/>
                  <a:gd name="connsiteY18" fmla="*/ 15270 h 136091"/>
                  <a:gd name="connsiteX19" fmla="*/ 38302 w 58343"/>
                  <a:gd name="connsiteY19" fmla="*/ 0 h 136091"/>
                  <a:gd name="connsiteX20" fmla="*/ 38302 w 58343"/>
                  <a:gd name="connsiteY20" fmla="*/ 34929 h 136091"/>
                  <a:gd name="connsiteX21" fmla="*/ 56116 w 58343"/>
                  <a:gd name="connsiteY21" fmla="*/ 34929 h 13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343" h="136091">
                    <a:moveTo>
                      <a:pt x="56116" y="34866"/>
                    </a:moveTo>
                    <a:lnTo>
                      <a:pt x="56116" y="55735"/>
                    </a:lnTo>
                    <a:lnTo>
                      <a:pt x="38238" y="55735"/>
                    </a:lnTo>
                    <a:lnTo>
                      <a:pt x="38238" y="95627"/>
                    </a:lnTo>
                    <a:cubicBezTo>
                      <a:pt x="38238" y="103707"/>
                      <a:pt x="38429" y="108415"/>
                      <a:pt x="38747" y="109751"/>
                    </a:cubicBezTo>
                    <a:cubicBezTo>
                      <a:pt x="39065" y="111087"/>
                      <a:pt x="39892" y="112169"/>
                      <a:pt x="41101" y="113060"/>
                    </a:cubicBezTo>
                    <a:cubicBezTo>
                      <a:pt x="42310" y="113950"/>
                      <a:pt x="43773" y="114396"/>
                      <a:pt x="45555" y="114396"/>
                    </a:cubicBezTo>
                    <a:cubicBezTo>
                      <a:pt x="47972" y="114396"/>
                      <a:pt x="51472" y="113569"/>
                      <a:pt x="56116" y="111851"/>
                    </a:cubicBezTo>
                    <a:lnTo>
                      <a:pt x="58343" y="132147"/>
                    </a:lnTo>
                    <a:cubicBezTo>
                      <a:pt x="52235" y="134755"/>
                      <a:pt x="45364" y="136091"/>
                      <a:pt x="37665" y="136091"/>
                    </a:cubicBezTo>
                    <a:cubicBezTo>
                      <a:pt x="32957" y="136091"/>
                      <a:pt x="28694" y="135328"/>
                      <a:pt x="24877" y="133737"/>
                    </a:cubicBezTo>
                    <a:cubicBezTo>
                      <a:pt x="21059" y="132147"/>
                      <a:pt x="18324" y="130111"/>
                      <a:pt x="16542" y="127566"/>
                    </a:cubicBezTo>
                    <a:cubicBezTo>
                      <a:pt x="14761" y="125021"/>
                      <a:pt x="13552" y="121649"/>
                      <a:pt x="12852" y="117386"/>
                    </a:cubicBezTo>
                    <a:cubicBezTo>
                      <a:pt x="12279" y="114332"/>
                      <a:pt x="12025" y="108161"/>
                      <a:pt x="12025" y="98935"/>
                    </a:cubicBezTo>
                    <a:lnTo>
                      <a:pt x="12025" y="55798"/>
                    </a:lnTo>
                    <a:lnTo>
                      <a:pt x="0" y="55798"/>
                    </a:lnTo>
                    <a:lnTo>
                      <a:pt x="0" y="34929"/>
                    </a:lnTo>
                    <a:lnTo>
                      <a:pt x="12025" y="34929"/>
                    </a:lnTo>
                    <a:lnTo>
                      <a:pt x="12025" y="15270"/>
                    </a:lnTo>
                    <a:lnTo>
                      <a:pt x="38302" y="0"/>
                    </a:lnTo>
                    <a:lnTo>
                      <a:pt x="38302" y="34929"/>
                    </a:lnTo>
                    <a:lnTo>
                      <a:pt x="56116" y="34929"/>
                    </a:lnTo>
                    <a:close/>
                  </a:path>
                </a:pathLst>
              </a:custGeom>
              <a:solidFill>
                <a:srgbClr val="084F45"/>
              </a:solidFill>
              <a:ln w="6361" cap="flat">
                <a:noFill/>
                <a:prstDash val="solid"/>
                <a:miter/>
              </a:ln>
            </p:spPr>
            <p:txBody>
              <a:bodyPr rtlCol="0" anchor="ctr"/>
              <a:lstStyle/>
              <a:p>
                <a:endParaRPr lang="da-DK"/>
              </a:p>
            </p:txBody>
          </p:sp>
          <p:sp>
            <p:nvSpPr>
              <p:cNvPr id="67" name="Freeform: Shape 70">
                <a:extLst>
                  <a:ext uri="{FF2B5EF4-FFF2-40B4-BE49-F238E27FC236}">
                    <a16:creationId xmlns:a16="http://schemas.microsoft.com/office/drawing/2014/main" id="{BBDFD92F-113C-5066-1237-9E34937448C8}"/>
                  </a:ext>
                </a:extLst>
              </p:cNvPr>
              <p:cNvSpPr/>
              <p:nvPr/>
            </p:nvSpPr>
            <p:spPr>
              <a:xfrm>
                <a:off x="1555734" y="3237301"/>
                <a:ext cx="111023" cy="141435"/>
              </a:xfrm>
              <a:custGeom>
                <a:avLst/>
                <a:gdLst>
                  <a:gd name="connsiteX0" fmla="*/ 0 w 111023"/>
                  <a:gd name="connsiteY0" fmla="*/ 94545 h 141435"/>
                  <a:gd name="connsiteX1" fmla="*/ 26849 w 111023"/>
                  <a:gd name="connsiteY1" fmla="*/ 91937 h 141435"/>
                  <a:gd name="connsiteX2" fmla="*/ 36647 w 111023"/>
                  <a:gd name="connsiteY2" fmla="*/ 111787 h 141435"/>
                  <a:gd name="connsiteX3" fmla="*/ 56625 w 111023"/>
                  <a:gd name="connsiteY3" fmla="*/ 118150 h 141435"/>
                  <a:gd name="connsiteX4" fmla="*/ 76730 w 111023"/>
                  <a:gd name="connsiteY4" fmla="*/ 112487 h 141435"/>
                  <a:gd name="connsiteX5" fmla="*/ 83475 w 111023"/>
                  <a:gd name="connsiteY5" fmla="*/ 99317 h 141435"/>
                  <a:gd name="connsiteX6" fmla="*/ 80611 w 111023"/>
                  <a:gd name="connsiteY6" fmla="*/ 91046 h 141435"/>
                  <a:gd name="connsiteX7" fmla="*/ 70686 w 111023"/>
                  <a:gd name="connsiteY7" fmla="*/ 85129 h 141435"/>
                  <a:gd name="connsiteX8" fmla="*/ 48609 w 111023"/>
                  <a:gd name="connsiteY8" fmla="*/ 79148 h 141435"/>
                  <a:gd name="connsiteX9" fmla="*/ 17497 w 111023"/>
                  <a:gd name="connsiteY9" fmla="*/ 65660 h 141435"/>
                  <a:gd name="connsiteX10" fmla="*/ 4899 w 111023"/>
                  <a:gd name="connsiteY10" fmla="*/ 38174 h 141435"/>
                  <a:gd name="connsiteX11" fmla="*/ 10816 w 111023"/>
                  <a:gd name="connsiteY11" fmla="*/ 18642 h 141435"/>
                  <a:gd name="connsiteX12" fmla="*/ 27867 w 111023"/>
                  <a:gd name="connsiteY12" fmla="*/ 4772 h 141435"/>
                  <a:gd name="connsiteX13" fmla="*/ 54780 w 111023"/>
                  <a:gd name="connsiteY13" fmla="*/ 0 h 141435"/>
                  <a:gd name="connsiteX14" fmla="*/ 93527 w 111023"/>
                  <a:gd name="connsiteY14" fmla="*/ 11262 h 141435"/>
                  <a:gd name="connsiteX15" fmla="*/ 107206 w 111023"/>
                  <a:gd name="connsiteY15" fmla="*/ 41356 h 141435"/>
                  <a:gd name="connsiteX16" fmla="*/ 79593 w 111023"/>
                  <a:gd name="connsiteY16" fmla="*/ 42564 h 141435"/>
                  <a:gd name="connsiteX17" fmla="*/ 72022 w 111023"/>
                  <a:gd name="connsiteY17" fmla="*/ 27422 h 141435"/>
                  <a:gd name="connsiteX18" fmla="*/ 54526 w 111023"/>
                  <a:gd name="connsiteY18" fmla="*/ 22841 h 141435"/>
                  <a:gd name="connsiteX19" fmla="*/ 35693 w 111023"/>
                  <a:gd name="connsiteY19" fmla="*/ 27804 h 141435"/>
                  <a:gd name="connsiteX20" fmla="*/ 31303 w 111023"/>
                  <a:gd name="connsiteY20" fmla="*/ 36266 h 141435"/>
                  <a:gd name="connsiteX21" fmla="*/ 35375 w 111023"/>
                  <a:gd name="connsiteY21" fmla="*/ 44537 h 141435"/>
                  <a:gd name="connsiteX22" fmla="*/ 60697 w 111023"/>
                  <a:gd name="connsiteY22" fmla="*/ 53699 h 141435"/>
                  <a:gd name="connsiteX23" fmla="*/ 90473 w 111023"/>
                  <a:gd name="connsiteY23" fmla="*/ 63560 h 141435"/>
                  <a:gd name="connsiteX24" fmla="*/ 105552 w 111023"/>
                  <a:gd name="connsiteY24" fmla="*/ 77430 h 141435"/>
                  <a:gd name="connsiteX25" fmla="*/ 111024 w 111023"/>
                  <a:gd name="connsiteY25" fmla="*/ 99190 h 141435"/>
                  <a:gd name="connsiteX26" fmla="*/ 104470 w 111023"/>
                  <a:gd name="connsiteY26" fmla="*/ 121204 h 141435"/>
                  <a:gd name="connsiteX27" fmla="*/ 86020 w 111023"/>
                  <a:gd name="connsiteY27" fmla="*/ 136473 h 141435"/>
                  <a:gd name="connsiteX28" fmla="*/ 56307 w 111023"/>
                  <a:gd name="connsiteY28" fmla="*/ 141436 h 141435"/>
                  <a:gd name="connsiteX29" fmla="*/ 16542 w 111023"/>
                  <a:gd name="connsiteY29" fmla="*/ 129475 h 141435"/>
                  <a:gd name="connsiteX30" fmla="*/ 0 w 111023"/>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23" h="141435">
                    <a:moveTo>
                      <a:pt x="0" y="94545"/>
                    </a:moveTo>
                    <a:lnTo>
                      <a:pt x="26849" y="91937"/>
                    </a:lnTo>
                    <a:cubicBezTo>
                      <a:pt x="28440" y="100971"/>
                      <a:pt x="31748" y="107588"/>
                      <a:pt x="36647" y="111787"/>
                    </a:cubicBezTo>
                    <a:cubicBezTo>
                      <a:pt x="41546" y="115986"/>
                      <a:pt x="48227" y="118150"/>
                      <a:pt x="56625" y="118150"/>
                    </a:cubicBezTo>
                    <a:cubicBezTo>
                      <a:pt x="65533" y="118150"/>
                      <a:pt x="72213" y="116304"/>
                      <a:pt x="76730" y="112487"/>
                    </a:cubicBezTo>
                    <a:cubicBezTo>
                      <a:pt x="81248" y="108733"/>
                      <a:pt x="83475" y="104343"/>
                      <a:pt x="83475" y="99317"/>
                    </a:cubicBezTo>
                    <a:cubicBezTo>
                      <a:pt x="83475" y="96072"/>
                      <a:pt x="82520" y="93336"/>
                      <a:pt x="80611" y="91046"/>
                    </a:cubicBezTo>
                    <a:cubicBezTo>
                      <a:pt x="78703" y="88755"/>
                      <a:pt x="75394" y="86783"/>
                      <a:pt x="70686" y="85129"/>
                    </a:cubicBezTo>
                    <a:cubicBezTo>
                      <a:pt x="67441" y="83984"/>
                      <a:pt x="60125" y="82011"/>
                      <a:pt x="48609" y="79148"/>
                    </a:cubicBezTo>
                    <a:cubicBezTo>
                      <a:pt x="33848" y="75458"/>
                      <a:pt x="23414" y="71004"/>
                      <a:pt x="17497" y="65660"/>
                    </a:cubicBezTo>
                    <a:cubicBezTo>
                      <a:pt x="9098" y="58152"/>
                      <a:pt x="4899" y="48990"/>
                      <a:pt x="4899" y="38174"/>
                    </a:cubicBezTo>
                    <a:cubicBezTo>
                      <a:pt x="4899" y="31239"/>
                      <a:pt x="6871" y="24686"/>
                      <a:pt x="10816" y="18642"/>
                    </a:cubicBezTo>
                    <a:cubicBezTo>
                      <a:pt x="14761" y="12598"/>
                      <a:pt x="20423" y="7953"/>
                      <a:pt x="27867" y="4772"/>
                    </a:cubicBezTo>
                    <a:cubicBezTo>
                      <a:pt x="35311" y="1591"/>
                      <a:pt x="44282" y="0"/>
                      <a:pt x="54780" y="0"/>
                    </a:cubicBezTo>
                    <a:cubicBezTo>
                      <a:pt x="71959" y="0"/>
                      <a:pt x="84811" y="3754"/>
                      <a:pt x="93527" y="11262"/>
                    </a:cubicBezTo>
                    <a:cubicBezTo>
                      <a:pt x="102244" y="18769"/>
                      <a:pt x="106761" y="28822"/>
                      <a:pt x="107206" y="41356"/>
                    </a:cubicBezTo>
                    <a:lnTo>
                      <a:pt x="79593" y="42564"/>
                    </a:lnTo>
                    <a:cubicBezTo>
                      <a:pt x="78385" y="35566"/>
                      <a:pt x="75903" y="30476"/>
                      <a:pt x="72022" y="27422"/>
                    </a:cubicBezTo>
                    <a:cubicBezTo>
                      <a:pt x="68141" y="24368"/>
                      <a:pt x="62288" y="22841"/>
                      <a:pt x="54526" y="22841"/>
                    </a:cubicBezTo>
                    <a:cubicBezTo>
                      <a:pt x="46509" y="22841"/>
                      <a:pt x="40210" y="24495"/>
                      <a:pt x="35693" y="27804"/>
                    </a:cubicBezTo>
                    <a:cubicBezTo>
                      <a:pt x="32766" y="29903"/>
                      <a:pt x="31303" y="32766"/>
                      <a:pt x="31303" y="36266"/>
                    </a:cubicBezTo>
                    <a:cubicBezTo>
                      <a:pt x="31303" y="39510"/>
                      <a:pt x="32639" y="42246"/>
                      <a:pt x="35375" y="44537"/>
                    </a:cubicBezTo>
                    <a:cubicBezTo>
                      <a:pt x="38874" y="47463"/>
                      <a:pt x="47336" y="50517"/>
                      <a:pt x="60697" y="53699"/>
                    </a:cubicBezTo>
                    <a:cubicBezTo>
                      <a:pt x="74058" y="56880"/>
                      <a:pt x="84047" y="60125"/>
                      <a:pt x="90473" y="63560"/>
                    </a:cubicBezTo>
                    <a:cubicBezTo>
                      <a:pt x="96899" y="66932"/>
                      <a:pt x="101926" y="71577"/>
                      <a:pt x="105552" y="77430"/>
                    </a:cubicBezTo>
                    <a:cubicBezTo>
                      <a:pt x="109179" y="83284"/>
                      <a:pt x="111024" y="90537"/>
                      <a:pt x="111024" y="99190"/>
                    </a:cubicBezTo>
                    <a:cubicBezTo>
                      <a:pt x="111024" y="107015"/>
                      <a:pt x="108861" y="114332"/>
                      <a:pt x="104470" y="121204"/>
                    </a:cubicBezTo>
                    <a:cubicBezTo>
                      <a:pt x="100080" y="128075"/>
                      <a:pt x="93973" y="133101"/>
                      <a:pt x="86020" y="136473"/>
                    </a:cubicBezTo>
                    <a:cubicBezTo>
                      <a:pt x="78067" y="139782"/>
                      <a:pt x="68141" y="141436"/>
                      <a:pt x="56307" y="141436"/>
                    </a:cubicBezTo>
                    <a:cubicBezTo>
                      <a:pt x="39065" y="141436"/>
                      <a:pt x="25768" y="137428"/>
                      <a:pt x="16542" y="129475"/>
                    </a:cubicBezTo>
                    <a:cubicBezTo>
                      <a:pt x="7317" y="121522"/>
                      <a:pt x="1781" y="109879"/>
                      <a:pt x="0" y="94545"/>
                    </a:cubicBezTo>
                    <a:close/>
                  </a:path>
                </a:pathLst>
              </a:custGeom>
              <a:solidFill>
                <a:srgbClr val="084F45"/>
              </a:solidFill>
              <a:ln w="6361" cap="flat">
                <a:noFill/>
                <a:prstDash val="solid"/>
                <a:miter/>
              </a:ln>
            </p:spPr>
            <p:txBody>
              <a:bodyPr rtlCol="0" anchor="ctr"/>
              <a:lstStyle/>
              <a:p>
                <a:endParaRPr lang="da-DK"/>
              </a:p>
            </p:txBody>
          </p:sp>
          <p:sp>
            <p:nvSpPr>
              <p:cNvPr id="68" name="Freeform: Shape 71">
                <a:extLst>
                  <a:ext uri="{FF2B5EF4-FFF2-40B4-BE49-F238E27FC236}">
                    <a16:creationId xmlns:a16="http://schemas.microsoft.com/office/drawing/2014/main" id="{99705D18-5BFF-BD66-C064-C50BD0A81343}"/>
                  </a:ext>
                </a:extLst>
              </p:cNvPr>
              <p:cNvSpPr/>
              <p:nvPr/>
            </p:nvSpPr>
            <p:spPr>
              <a:xfrm>
                <a:off x="1689217" y="3239718"/>
                <a:ext cx="27612" cy="136600"/>
              </a:xfrm>
              <a:custGeom>
                <a:avLst/>
                <a:gdLst>
                  <a:gd name="connsiteX0" fmla="*/ 0 w 27612"/>
                  <a:gd name="connsiteY0" fmla="*/ 136601 h 136600"/>
                  <a:gd name="connsiteX1" fmla="*/ 0 w 27612"/>
                  <a:gd name="connsiteY1" fmla="*/ 0 h 136600"/>
                  <a:gd name="connsiteX2" fmla="*/ 27613 w 27612"/>
                  <a:gd name="connsiteY2" fmla="*/ 0 h 136600"/>
                  <a:gd name="connsiteX3" fmla="*/ 27613 w 27612"/>
                  <a:gd name="connsiteY3" fmla="*/ 136601 h 136600"/>
                  <a:gd name="connsiteX4" fmla="*/ 0 w 27612"/>
                  <a:gd name="connsiteY4" fmla="*/ 136601 h 1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12" h="136600">
                    <a:moveTo>
                      <a:pt x="0" y="136601"/>
                    </a:moveTo>
                    <a:lnTo>
                      <a:pt x="0" y="0"/>
                    </a:lnTo>
                    <a:lnTo>
                      <a:pt x="27613" y="0"/>
                    </a:lnTo>
                    <a:lnTo>
                      <a:pt x="27613" y="136601"/>
                    </a:lnTo>
                    <a:lnTo>
                      <a:pt x="0" y="136601"/>
                    </a:lnTo>
                    <a:close/>
                  </a:path>
                </a:pathLst>
              </a:custGeom>
              <a:solidFill>
                <a:srgbClr val="084F45"/>
              </a:solidFill>
              <a:ln w="6361" cap="flat">
                <a:noFill/>
                <a:prstDash val="solid"/>
                <a:miter/>
              </a:ln>
            </p:spPr>
            <p:txBody>
              <a:bodyPr rtlCol="0" anchor="ctr"/>
              <a:lstStyle/>
              <a:p>
                <a:endParaRPr lang="da-DK"/>
              </a:p>
            </p:txBody>
          </p:sp>
          <p:sp>
            <p:nvSpPr>
              <p:cNvPr id="69" name="Freeform: Shape 72">
                <a:extLst>
                  <a:ext uri="{FF2B5EF4-FFF2-40B4-BE49-F238E27FC236}">
                    <a16:creationId xmlns:a16="http://schemas.microsoft.com/office/drawing/2014/main" id="{45DCC817-B05F-AC7B-CF9D-F4137452E2F8}"/>
                  </a:ext>
                </a:extLst>
              </p:cNvPr>
              <p:cNvSpPr/>
              <p:nvPr/>
            </p:nvSpPr>
            <p:spPr>
              <a:xfrm>
                <a:off x="1736044" y="3237301"/>
                <a:ext cx="111087" cy="141435"/>
              </a:xfrm>
              <a:custGeom>
                <a:avLst/>
                <a:gdLst>
                  <a:gd name="connsiteX0" fmla="*/ 0 w 111087"/>
                  <a:gd name="connsiteY0" fmla="*/ 94545 h 141435"/>
                  <a:gd name="connsiteX1" fmla="*/ 26849 w 111087"/>
                  <a:gd name="connsiteY1" fmla="*/ 91937 h 141435"/>
                  <a:gd name="connsiteX2" fmla="*/ 36711 w 111087"/>
                  <a:gd name="connsiteY2" fmla="*/ 111787 h 141435"/>
                  <a:gd name="connsiteX3" fmla="*/ 56689 w 111087"/>
                  <a:gd name="connsiteY3" fmla="*/ 118150 h 141435"/>
                  <a:gd name="connsiteX4" fmla="*/ 76794 w 111087"/>
                  <a:gd name="connsiteY4" fmla="*/ 112487 h 141435"/>
                  <a:gd name="connsiteX5" fmla="*/ 83538 w 111087"/>
                  <a:gd name="connsiteY5" fmla="*/ 99317 h 141435"/>
                  <a:gd name="connsiteX6" fmla="*/ 80675 w 111087"/>
                  <a:gd name="connsiteY6" fmla="*/ 91046 h 141435"/>
                  <a:gd name="connsiteX7" fmla="*/ 70750 w 111087"/>
                  <a:gd name="connsiteY7" fmla="*/ 85129 h 141435"/>
                  <a:gd name="connsiteX8" fmla="*/ 48672 w 111087"/>
                  <a:gd name="connsiteY8" fmla="*/ 79148 h 141435"/>
                  <a:gd name="connsiteX9" fmla="*/ 17560 w 111087"/>
                  <a:gd name="connsiteY9" fmla="*/ 65660 h 141435"/>
                  <a:gd name="connsiteX10" fmla="*/ 4963 w 111087"/>
                  <a:gd name="connsiteY10" fmla="*/ 38174 h 141435"/>
                  <a:gd name="connsiteX11" fmla="*/ 10880 w 111087"/>
                  <a:gd name="connsiteY11" fmla="*/ 18642 h 141435"/>
                  <a:gd name="connsiteX12" fmla="*/ 27931 w 111087"/>
                  <a:gd name="connsiteY12" fmla="*/ 4772 h 141435"/>
                  <a:gd name="connsiteX13" fmla="*/ 54844 w 111087"/>
                  <a:gd name="connsiteY13" fmla="*/ 0 h 141435"/>
                  <a:gd name="connsiteX14" fmla="*/ 93591 w 111087"/>
                  <a:gd name="connsiteY14" fmla="*/ 11262 h 141435"/>
                  <a:gd name="connsiteX15" fmla="*/ 107270 w 111087"/>
                  <a:gd name="connsiteY15" fmla="*/ 41356 h 141435"/>
                  <a:gd name="connsiteX16" fmla="*/ 79657 w 111087"/>
                  <a:gd name="connsiteY16" fmla="*/ 42564 h 141435"/>
                  <a:gd name="connsiteX17" fmla="*/ 72086 w 111087"/>
                  <a:gd name="connsiteY17" fmla="*/ 27422 h 141435"/>
                  <a:gd name="connsiteX18" fmla="*/ 54589 w 111087"/>
                  <a:gd name="connsiteY18" fmla="*/ 22841 h 141435"/>
                  <a:gd name="connsiteX19" fmla="*/ 35757 w 111087"/>
                  <a:gd name="connsiteY19" fmla="*/ 27804 h 141435"/>
                  <a:gd name="connsiteX20" fmla="*/ 31367 w 111087"/>
                  <a:gd name="connsiteY20" fmla="*/ 36266 h 141435"/>
                  <a:gd name="connsiteX21" fmla="*/ 35439 w 111087"/>
                  <a:gd name="connsiteY21" fmla="*/ 44537 h 141435"/>
                  <a:gd name="connsiteX22" fmla="*/ 60761 w 111087"/>
                  <a:gd name="connsiteY22" fmla="*/ 53699 h 141435"/>
                  <a:gd name="connsiteX23" fmla="*/ 90537 w 111087"/>
                  <a:gd name="connsiteY23" fmla="*/ 63560 h 141435"/>
                  <a:gd name="connsiteX24" fmla="*/ 105616 w 111087"/>
                  <a:gd name="connsiteY24" fmla="*/ 77430 h 141435"/>
                  <a:gd name="connsiteX25" fmla="*/ 111087 w 111087"/>
                  <a:gd name="connsiteY25" fmla="*/ 99190 h 141435"/>
                  <a:gd name="connsiteX26" fmla="*/ 104534 w 111087"/>
                  <a:gd name="connsiteY26" fmla="*/ 121204 h 141435"/>
                  <a:gd name="connsiteX27" fmla="*/ 86083 w 111087"/>
                  <a:gd name="connsiteY27" fmla="*/ 136473 h 141435"/>
                  <a:gd name="connsiteX28" fmla="*/ 56371 w 111087"/>
                  <a:gd name="connsiteY28" fmla="*/ 141436 h 141435"/>
                  <a:gd name="connsiteX29" fmla="*/ 16542 w 111087"/>
                  <a:gd name="connsiteY29" fmla="*/ 129475 h 141435"/>
                  <a:gd name="connsiteX30" fmla="*/ 0 w 111087"/>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87" h="141435">
                    <a:moveTo>
                      <a:pt x="0" y="94545"/>
                    </a:moveTo>
                    <a:lnTo>
                      <a:pt x="26849" y="91937"/>
                    </a:lnTo>
                    <a:cubicBezTo>
                      <a:pt x="28440" y="100971"/>
                      <a:pt x="31748" y="107588"/>
                      <a:pt x="36711" y="111787"/>
                    </a:cubicBezTo>
                    <a:cubicBezTo>
                      <a:pt x="41674" y="115986"/>
                      <a:pt x="48291" y="118150"/>
                      <a:pt x="56689" y="118150"/>
                    </a:cubicBezTo>
                    <a:cubicBezTo>
                      <a:pt x="65596" y="118150"/>
                      <a:pt x="72277" y="116304"/>
                      <a:pt x="76794" y="112487"/>
                    </a:cubicBezTo>
                    <a:cubicBezTo>
                      <a:pt x="81311" y="108733"/>
                      <a:pt x="83538" y="104343"/>
                      <a:pt x="83538" y="99317"/>
                    </a:cubicBezTo>
                    <a:cubicBezTo>
                      <a:pt x="83538" y="96072"/>
                      <a:pt x="82584" y="93336"/>
                      <a:pt x="80675" y="91046"/>
                    </a:cubicBezTo>
                    <a:cubicBezTo>
                      <a:pt x="78766" y="88755"/>
                      <a:pt x="75458" y="86783"/>
                      <a:pt x="70750" y="85129"/>
                    </a:cubicBezTo>
                    <a:cubicBezTo>
                      <a:pt x="67505" y="83984"/>
                      <a:pt x="60125" y="82011"/>
                      <a:pt x="48672" y="79148"/>
                    </a:cubicBezTo>
                    <a:cubicBezTo>
                      <a:pt x="33912" y="75458"/>
                      <a:pt x="23477" y="71004"/>
                      <a:pt x="17560" y="65660"/>
                    </a:cubicBezTo>
                    <a:cubicBezTo>
                      <a:pt x="9162" y="58152"/>
                      <a:pt x="4963" y="48990"/>
                      <a:pt x="4963" y="38174"/>
                    </a:cubicBezTo>
                    <a:cubicBezTo>
                      <a:pt x="4963" y="31239"/>
                      <a:pt x="6935" y="24686"/>
                      <a:pt x="10880" y="18642"/>
                    </a:cubicBezTo>
                    <a:cubicBezTo>
                      <a:pt x="14824" y="12598"/>
                      <a:pt x="20487" y="7953"/>
                      <a:pt x="27931" y="4772"/>
                    </a:cubicBezTo>
                    <a:cubicBezTo>
                      <a:pt x="35375" y="1591"/>
                      <a:pt x="44346" y="0"/>
                      <a:pt x="54844" y="0"/>
                    </a:cubicBezTo>
                    <a:cubicBezTo>
                      <a:pt x="72022" y="0"/>
                      <a:pt x="84874" y="3754"/>
                      <a:pt x="93591" y="11262"/>
                    </a:cubicBezTo>
                    <a:cubicBezTo>
                      <a:pt x="102307" y="18769"/>
                      <a:pt x="106825" y="28822"/>
                      <a:pt x="107270" y="41356"/>
                    </a:cubicBezTo>
                    <a:lnTo>
                      <a:pt x="79657" y="42564"/>
                    </a:lnTo>
                    <a:cubicBezTo>
                      <a:pt x="78448" y="35566"/>
                      <a:pt x="75967" y="30476"/>
                      <a:pt x="72086" y="27422"/>
                    </a:cubicBezTo>
                    <a:cubicBezTo>
                      <a:pt x="68205" y="24368"/>
                      <a:pt x="62351" y="22841"/>
                      <a:pt x="54589" y="22841"/>
                    </a:cubicBezTo>
                    <a:cubicBezTo>
                      <a:pt x="46573" y="22841"/>
                      <a:pt x="40274" y="24495"/>
                      <a:pt x="35757" y="27804"/>
                    </a:cubicBezTo>
                    <a:cubicBezTo>
                      <a:pt x="32830" y="29903"/>
                      <a:pt x="31367" y="32766"/>
                      <a:pt x="31367" y="36266"/>
                    </a:cubicBezTo>
                    <a:cubicBezTo>
                      <a:pt x="31367" y="39510"/>
                      <a:pt x="32703" y="42246"/>
                      <a:pt x="35439" y="44537"/>
                    </a:cubicBezTo>
                    <a:cubicBezTo>
                      <a:pt x="38938" y="47463"/>
                      <a:pt x="47400" y="50517"/>
                      <a:pt x="60761" y="53699"/>
                    </a:cubicBezTo>
                    <a:cubicBezTo>
                      <a:pt x="74122" y="56880"/>
                      <a:pt x="84111" y="60125"/>
                      <a:pt x="90537" y="63560"/>
                    </a:cubicBezTo>
                    <a:cubicBezTo>
                      <a:pt x="96963" y="66932"/>
                      <a:pt x="101989" y="71577"/>
                      <a:pt x="105616" y="77430"/>
                    </a:cubicBezTo>
                    <a:cubicBezTo>
                      <a:pt x="109242" y="83284"/>
                      <a:pt x="111087" y="90537"/>
                      <a:pt x="111087" y="99190"/>
                    </a:cubicBezTo>
                    <a:cubicBezTo>
                      <a:pt x="111087" y="107015"/>
                      <a:pt x="108924" y="114332"/>
                      <a:pt x="104534" y="121204"/>
                    </a:cubicBezTo>
                    <a:cubicBezTo>
                      <a:pt x="100144" y="128075"/>
                      <a:pt x="94036" y="133101"/>
                      <a:pt x="86083" y="136473"/>
                    </a:cubicBezTo>
                    <a:cubicBezTo>
                      <a:pt x="78130" y="139782"/>
                      <a:pt x="68205" y="141436"/>
                      <a:pt x="56371" y="141436"/>
                    </a:cubicBezTo>
                    <a:cubicBezTo>
                      <a:pt x="39129" y="141436"/>
                      <a:pt x="25831" y="137428"/>
                      <a:pt x="16542" y="129475"/>
                    </a:cubicBezTo>
                    <a:cubicBezTo>
                      <a:pt x="7380" y="121522"/>
                      <a:pt x="1845" y="109879"/>
                      <a:pt x="0" y="94545"/>
                    </a:cubicBezTo>
                    <a:close/>
                  </a:path>
                </a:pathLst>
              </a:custGeom>
              <a:solidFill>
                <a:srgbClr val="084F45"/>
              </a:solidFill>
              <a:ln w="6361" cap="flat">
                <a:noFill/>
                <a:prstDash val="solid"/>
                <a:miter/>
              </a:ln>
            </p:spPr>
            <p:txBody>
              <a:bodyPr rtlCol="0" anchor="ctr"/>
              <a:lstStyle/>
              <a:p>
                <a:endParaRPr lang="da-DK"/>
              </a:p>
            </p:txBody>
          </p:sp>
        </p:grpSp>
        <p:grpSp>
          <p:nvGrpSpPr>
            <p:cNvPr id="4" name="Graphic 5">
              <a:extLst>
                <a:ext uri="{FF2B5EF4-FFF2-40B4-BE49-F238E27FC236}">
                  <a16:creationId xmlns:a16="http://schemas.microsoft.com/office/drawing/2014/main" id="{662D7DC1-CACD-D774-0F1C-99F6DC637666}"/>
                </a:ext>
              </a:extLst>
            </p:cNvPr>
            <p:cNvGrpSpPr/>
            <p:nvPr/>
          </p:nvGrpSpPr>
          <p:grpSpPr>
            <a:xfrm>
              <a:off x="1202622" y="3457567"/>
              <a:ext cx="491876" cy="224401"/>
              <a:chOff x="1202622" y="3457567"/>
              <a:chExt cx="491876" cy="224401"/>
            </a:xfrm>
            <a:solidFill>
              <a:srgbClr val="084F45"/>
            </a:solidFill>
          </p:grpSpPr>
          <p:sp>
            <p:nvSpPr>
              <p:cNvPr id="17" name="Freeform: Shape 18">
                <a:extLst>
                  <a:ext uri="{FF2B5EF4-FFF2-40B4-BE49-F238E27FC236}">
                    <a16:creationId xmlns:a16="http://schemas.microsoft.com/office/drawing/2014/main" id="{DB352E98-020B-50B8-93DE-152299359B34}"/>
                  </a:ext>
                </a:extLst>
              </p:cNvPr>
              <p:cNvSpPr/>
              <p:nvPr/>
            </p:nvSpPr>
            <p:spPr>
              <a:xfrm>
                <a:off x="1202622" y="3457567"/>
                <a:ext cx="28503" cy="45554"/>
              </a:xfrm>
              <a:custGeom>
                <a:avLst/>
                <a:gdLst>
                  <a:gd name="connsiteX0" fmla="*/ 0 w 28503"/>
                  <a:gd name="connsiteY0" fmla="*/ 45555 h 45554"/>
                  <a:gd name="connsiteX1" fmla="*/ 0 w 28503"/>
                  <a:gd name="connsiteY1" fmla="*/ 0 h 45554"/>
                  <a:gd name="connsiteX2" fmla="*/ 6044 w 28503"/>
                  <a:gd name="connsiteY2" fmla="*/ 0 h 45554"/>
                  <a:gd name="connsiteX3" fmla="*/ 6044 w 28503"/>
                  <a:gd name="connsiteY3" fmla="*/ 40147 h 45554"/>
                  <a:gd name="connsiteX4" fmla="*/ 28504 w 28503"/>
                  <a:gd name="connsiteY4" fmla="*/ 40147 h 45554"/>
                  <a:gd name="connsiteX5" fmla="*/ 28504 w 28503"/>
                  <a:gd name="connsiteY5" fmla="*/ 45491 h 45554"/>
                  <a:gd name="connsiteX6" fmla="*/ 0 w 28503"/>
                  <a:gd name="connsiteY6"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03" h="45554">
                    <a:moveTo>
                      <a:pt x="0" y="45555"/>
                    </a:moveTo>
                    <a:lnTo>
                      <a:pt x="0" y="0"/>
                    </a:lnTo>
                    <a:lnTo>
                      <a:pt x="6044" y="0"/>
                    </a:lnTo>
                    <a:lnTo>
                      <a:pt x="6044" y="40147"/>
                    </a:lnTo>
                    <a:lnTo>
                      <a:pt x="28504" y="40147"/>
                    </a:lnTo>
                    <a:lnTo>
                      <a:pt x="28504" y="45491"/>
                    </a:lnTo>
                    <a:lnTo>
                      <a:pt x="0" y="45491"/>
                    </a:lnTo>
                    <a:close/>
                  </a:path>
                </a:pathLst>
              </a:custGeom>
              <a:solidFill>
                <a:srgbClr val="084F45"/>
              </a:solidFill>
              <a:ln w="6361" cap="flat">
                <a:noFill/>
                <a:prstDash val="solid"/>
                <a:miter/>
              </a:ln>
            </p:spPr>
            <p:txBody>
              <a:bodyPr rtlCol="0" anchor="ctr"/>
              <a:lstStyle/>
              <a:p>
                <a:endParaRPr lang="da-DK"/>
              </a:p>
            </p:txBody>
          </p:sp>
          <p:sp>
            <p:nvSpPr>
              <p:cNvPr id="18" name="Freeform: Shape 19">
                <a:extLst>
                  <a:ext uri="{FF2B5EF4-FFF2-40B4-BE49-F238E27FC236}">
                    <a16:creationId xmlns:a16="http://schemas.microsoft.com/office/drawing/2014/main" id="{01881A34-CE73-D081-8851-7ABC2EE5AEFE}"/>
                  </a:ext>
                </a:extLst>
              </p:cNvPr>
              <p:cNvSpPr/>
              <p:nvPr/>
            </p:nvSpPr>
            <p:spPr>
              <a:xfrm>
                <a:off x="1235770"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19" name="Freeform: Shape 21">
                <a:extLst>
                  <a:ext uri="{FF2B5EF4-FFF2-40B4-BE49-F238E27FC236}">
                    <a16:creationId xmlns:a16="http://schemas.microsoft.com/office/drawing/2014/main" id="{A52543B7-C52E-FB84-3C68-F463311149A0}"/>
                  </a:ext>
                </a:extLst>
              </p:cNvPr>
              <p:cNvSpPr/>
              <p:nvPr/>
            </p:nvSpPr>
            <p:spPr>
              <a:xfrm>
                <a:off x="126993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07 w 16033"/>
                  <a:gd name="connsiteY11" fmla="*/ 0 h 44918"/>
                  <a:gd name="connsiteX12" fmla="*/ 9607 w 16033"/>
                  <a:gd name="connsiteY12" fmla="*/ 11516 h 44918"/>
                  <a:gd name="connsiteX13" fmla="*/ 15206 w 16033"/>
                  <a:gd name="connsiteY13" fmla="*/ 11516 h 44918"/>
                  <a:gd name="connsiteX14" fmla="*/ 15206 w 16033"/>
                  <a:gd name="connsiteY14" fmla="*/ 15842 h 44918"/>
                  <a:gd name="connsiteX15" fmla="*/ 9607 w 16033"/>
                  <a:gd name="connsiteY15" fmla="*/ 15842 h 44918"/>
                  <a:gd name="connsiteX16" fmla="*/ 9607 w 16033"/>
                  <a:gd name="connsiteY16" fmla="*/ 35120 h 44918"/>
                  <a:gd name="connsiteX17" fmla="*/ 9925 w 16033"/>
                  <a:gd name="connsiteY17" fmla="*/ 38174 h 44918"/>
                  <a:gd name="connsiteX18" fmla="*/ 10880 w 16033"/>
                  <a:gd name="connsiteY18" fmla="*/ 39256 h 44918"/>
                  <a:gd name="connsiteX19" fmla="*/ 12788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07" y="0"/>
                    </a:lnTo>
                    <a:lnTo>
                      <a:pt x="9607" y="11516"/>
                    </a:lnTo>
                    <a:lnTo>
                      <a:pt x="15206" y="11516"/>
                    </a:lnTo>
                    <a:lnTo>
                      <a:pt x="15206" y="15842"/>
                    </a:lnTo>
                    <a:lnTo>
                      <a:pt x="9607" y="15842"/>
                    </a:lnTo>
                    <a:lnTo>
                      <a:pt x="9607" y="35120"/>
                    </a:lnTo>
                    <a:cubicBezTo>
                      <a:pt x="9607" y="36711"/>
                      <a:pt x="9734" y="37729"/>
                      <a:pt x="9925" y="38174"/>
                    </a:cubicBezTo>
                    <a:cubicBezTo>
                      <a:pt x="10116" y="38620"/>
                      <a:pt x="10434" y="39001"/>
                      <a:pt x="10880" y="39256"/>
                    </a:cubicBezTo>
                    <a:cubicBezTo>
                      <a:pt x="11325" y="39510"/>
                      <a:pt x="11961" y="39638"/>
                      <a:pt x="12788"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0" name="Freeform: Shape 22">
                <a:extLst>
                  <a:ext uri="{FF2B5EF4-FFF2-40B4-BE49-F238E27FC236}">
                    <a16:creationId xmlns:a16="http://schemas.microsoft.com/office/drawing/2014/main" id="{0B945253-5D50-0896-4025-02BD4B445479}"/>
                  </a:ext>
                </a:extLst>
              </p:cNvPr>
              <p:cNvSpPr/>
              <p:nvPr/>
            </p:nvSpPr>
            <p:spPr>
              <a:xfrm>
                <a:off x="1287623"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1" name="Freeform: Shape 23">
                <a:extLst>
                  <a:ext uri="{FF2B5EF4-FFF2-40B4-BE49-F238E27FC236}">
                    <a16:creationId xmlns:a16="http://schemas.microsoft.com/office/drawing/2014/main" id="{3B15546E-87E2-988D-1EC4-D9D175B6FE87}"/>
                  </a:ext>
                </a:extLst>
              </p:cNvPr>
              <p:cNvSpPr/>
              <p:nvPr/>
            </p:nvSpPr>
            <p:spPr>
              <a:xfrm>
                <a:off x="1306456" y="3469401"/>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22" name="Freeform: Shape 24">
                <a:extLst>
                  <a:ext uri="{FF2B5EF4-FFF2-40B4-BE49-F238E27FC236}">
                    <a16:creationId xmlns:a16="http://schemas.microsoft.com/office/drawing/2014/main" id="{8883C8F0-8124-D280-BEA5-3453D9F32A92}"/>
                  </a:ext>
                </a:extLst>
              </p:cNvPr>
              <p:cNvSpPr/>
              <p:nvPr/>
            </p:nvSpPr>
            <p:spPr>
              <a:xfrm>
                <a:off x="1343612" y="3469337"/>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3"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23" name="Freeform: Shape 25">
                <a:extLst>
                  <a:ext uri="{FF2B5EF4-FFF2-40B4-BE49-F238E27FC236}">
                    <a16:creationId xmlns:a16="http://schemas.microsoft.com/office/drawing/2014/main" id="{F578F552-8E07-8C77-220E-8924631AF2AE}"/>
                  </a:ext>
                </a:extLst>
              </p:cNvPr>
              <p:cNvSpPr/>
              <p:nvPr/>
            </p:nvSpPr>
            <p:spPr>
              <a:xfrm>
                <a:off x="1363081"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663 w 30412"/>
                  <a:gd name="connsiteY11" fmla="*/ 18642 h 34484"/>
                  <a:gd name="connsiteX12" fmla="*/ 8716 w 30412"/>
                  <a:gd name="connsiteY12" fmla="*/ 26976 h 34484"/>
                  <a:gd name="connsiteX13" fmla="*/ 15588 w 30412"/>
                  <a:gd name="connsiteY13" fmla="*/ 29840 h 34484"/>
                  <a:gd name="connsiteX14" fmla="*/ 20869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663" y="18642"/>
                    </a:lnTo>
                    <a:cubicBezTo>
                      <a:pt x="5853" y="22268"/>
                      <a:pt x="6871" y="25068"/>
                      <a:pt x="8716" y="26976"/>
                    </a:cubicBezTo>
                    <a:cubicBezTo>
                      <a:pt x="10562" y="28885"/>
                      <a:pt x="12852" y="29840"/>
                      <a:pt x="15588" y="29840"/>
                    </a:cubicBezTo>
                    <a:cubicBezTo>
                      <a:pt x="17624" y="29840"/>
                      <a:pt x="19405" y="29331"/>
                      <a:pt x="20869"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24" name="Freeform: Shape 26">
                <a:extLst>
                  <a:ext uri="{FF2B5EF4-FFF2-40B4-BE49-F238E27FC236}">
                    <a16:creationId xmlns:a16="http://schemas.microsoft.com/office/drawing/2014/main" id="{C4609614-148B-22AF-9749-6C9E85F5E4FD}"/>
                  </a:ext>
                </a:extLst>
              </p:cNvPr>
              <p:cNvSpPr/>
              <p:nvPr/>
            </p:nvSpPr>
            <p:spPr>
              <a:xfrm>
                <a:off x="1415698" y="3469337"/>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25" name="Freeform: Shape 27">
                <a:extLst>
                  <a:ext uri="{FF2B5EF4-FFF2-40B4-BE49-F238E27FC236}">
                    <a16:creationId xmlns:a16="http://schemas.microsoft.com/office/drawing/2014/main" id="{16EBBEEB-3431-DBA3-BB55-32F73F552EB6}"/>
                  </a:ext>
                </a:extLst>
              </p:cNvPr>
              <p:cNvSpPr/>
              <p:nvPr/>
            </p:nvSpPr>
            <p:spPr>
              <a:xfrm>
                <a:off x="144674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8"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6" name="Freeform: Shape 28">
                <a:extLst>
                  <a:ext uri="{FF2B5EF4-FFF2-40B4-BE49-F238E27FC236}">
                    <a16:creationId xmlns:a16="http://schemas.microsoft.com/office/drawing/2014/main" id="{D1AAAEEB-D768-F7C3-354F-C7FA0196BAE3}"/>
                  </a:ext>
                </a:extLst>
              </p:cNvPr>
              <p:cNvSpPr/>
              <p:nvPr/>
            </p:nvSpPr>
            <p:spPr>
              <a:xfrm>
                <a:off x="1467297" y="3470164"/>
                <a:ext cx="26658" cy="33720"/>
              </a:xfrm>
              <a:custGeom>
                <a:avLst/>
                <a:gdLst>
                  <a:gd name="connsiteX0" fmla="*/ 21696 w 26658"/>
                  <a:gd name="connsiteY0" fmla="*/ 32957 h 33720"/>
                  <a:gd name="connsiteX1" fmla="*/ 21696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696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696" y="32957"/>
                    </a:moveTo>
                    <a:lnTo>
                      <a:pt x="21696" y="28122"/>
                    </a:lnTo>
                    <a:cubicBezTo>
                      <a:pt x="19151" y="31876"/>
                      <a:pt x="15651"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35" y="25704"/>
                      <a:pt x="6999" y="26849"/>
                      <a:pt x="8144" y="27676"/>
                    </a:cubicBezTo>
                    <a:cubicBezTo>
                      <a:pt x="9289" y="28504"/>
                      <a:pt x="10689" y="28949"/>
                      <a:pt x="12343" y="28949"/>
                    </a:cubicBezTo>
                    <a:cubicBezTo>
                      <a:pt x="13997" y="28949"/>
                      <a:pt x="15588" y="28504"/>
                      <a:pt x="17051" y="27676"/>
                    </a:cubicBezTo>
                    <a:cubicBezTo>
                      <a:pt x="18514" y="26849"/>
                      <a:pt x="19532" y="25640"/>
                      <a:pt x="20169" y="24177"/>
                    </a:cubicBezTo>
                    <a:cubicBezTo>
                      <a:pt x="20805" y="22714"/>
                      <a:pt x="21059" y="20551"/>
                      <a:pt x="21059" y="17751"/>
                    </a:cubicBezTo>
                    <a:lnTo>
                      <a:pt x="21059" y="64"/>
                    </a:lnTo>
                    <a:lnTo>
                      <a:pt x="26658" y="64"/>
                    </a:lnTo>
                    <a:lnTo>
                      <a:pt x="26658" y="33085"/>
                    </a:lnTo>
                    <a:lnTo>
                      <a:pt x="21696" y="33085"/>
                    </a:lnTo>
                    <a:close/>
                  </a:path>
                </a:pathLst>
              </a:custGeom>
              <a:solidFill>
                <a:srgbClr val="084F45"/>
              </a:solidFill>
              <a:ln w="6361" cap="flat">
                <a:noFill/>
                <a:prstDash val="solid"/>
                <a:miter/>
              </a:ln>
            </p:spPr>
            <p:txBody>
              <a:bodyPr rtlCol="0" anchor="ctr"/>
              <a:lstStyle/>
              <a:p>
                <a:endParaRPr lang="da-DK"/>
              </a:p>
            </p:txBody>
          </p:sp>
          <p:sp>
            <p:nvSpPr>
              <p:cNvPr id="27" name="Freeform: Shape 29">
                <a:extLst>
                  <a:ext uri="{FF2B5EF4-FFF2-40B4-BE49-F238E27FC236}">
                    <a16:creationId xmlns:a16="http://schemas.microsoft.com/office/drawing/2014/main" id="{7DC5CDE5-CBF9-FF79-9A37-5FD504AF0E61}"/>
                  </a:ext>
                </a:extLst>
              </p:cNvPr>
              <p:cNvSpPr/>
              <p:nvPr/>
            </p:nvSpPr>
            <p:spPr>
              <a:xfrm>
                <a:off x="1500700" y="3457567"/>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8"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solidFill>
                <a:srgbClr val="084F45"/>
              </a:solidFill>
              <a:ln w="6361" cap="flat">
                <a:noFill/>
                <a:prstDash val="solid"/>
                <a:miter/>
              </a:ln>
            </p:spPr>
            <p:txBody>
              <a:bodyPr rtlCol="0" anchor="ctr"/>
              <a:lstStyle/>
              <a:p>
                <a:endParaRPr lang="da-DK"/>
              </a:p>
            </p:txBody>
          </p:sp>
          <p:sp>
            <p:nvSpPr>
              <p:cNvPr id="28" name="Freeform: Shape 30">
                <a:extLst>
                  <a:ext uri="{FF2B5EF4-FFF2-40B4-BE49-F238E27FC236}">
                    <a16:creationId xmlns:a16="http://schemas.microsoft.com/office/drawing/2014/main" id="{917BB4C1-E969-FAE0-9BC1-97CFD7962B4A}"/>
                  </a:ext>
                </a:extLst>
              </p:cNvPr>
              <p:cNvSpPr/>
              <p:nvPr/>
            </p:nvSpPr>
            <p:spPr>
              <a:xfrm>
                <a:off x="1538238"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29" name="Freeform: Shape 31">
                <a:extLst>
                  <a:ext uri="{FF2B5EF4-FFF2-40B4-BE49-F238E27FC236}">
                    <a16:creationId xmlns:a16="http://schemas.microsoft.com/office/drawing/2014/main" id="{3B99EC38-8DEB-0287-3CC9-C4004E382483}"/>
                  </a:ext>
                </a:extLst>
              </p:cNvPr>
              <p:cNvSpPr/>
              <p:nvPr/>
            </p:nvSpPr>
            <p:spPr>
              <a:xfrm>
                <a:off x="1550517"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30" name="Freeform: Shape 32">
                <a:extLst>
                  <a:ext uri="{FF2B5EF4-FFF2-40B4-BE49-F238E27FC236}">
                    <a16:creationId xmlns:a16="http://schemas.microsoft.com/office/drawing/2014/main" id="{D2246E5D-C3BE-DEA7-278F-A90812C8350E}"/>
                  </a:ext>
                </a:extLst>
              </p:cNvPr>
              <p:cNvSpPr/>
              <p:nvPr/>
            </p:nvSpPr>
            <p:spPr>
              <a:xfrm>
                <a:off x="1587546" y="3457567"/>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1" name="Freeform: Shape 33">
                <a:extLst>
                  <a:ext uri="{FF2B5EF4-FFF2-40B4-BE49-F238E27FC236}">
                    <a16:creationId xmlns:a16="http://schemas.microsoft.com/office/drawing/2014/main" id="{46628359-C1A5-D942-C87D-A220A0A1AE01}"/>
                  </a:ext>
                </a:extLst>
              </p:cNvPr>
              <p:cNvSpPr/>
              <p:nvPr/>
            </p:nvSpPr>
            <p:spPr>
              <a:xfrm>
                <a:off x="1601862"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2" name="Freeform: Shape 34">
                <a:extLst>
                  <a:ext uri="{FF2B5EF4-FFF2-40B4-BE49-F238E27FC236}">
                    <a16:creationId xmlns:a16="http://schemas.microsoft.com/office/drawing/2014/main" id="{289A680C-FE2B-E77D-A86A-27D672CD6F6C}"/>
                  </a:ext>
                </a:extLst>
              </p:cNvPr>
              <p:cNvSpPr/>
              <p:nvPr/>
            </p:nvSpPr>
            <p:spPr>
              <a:xfrm>
                <a:off x="1612614" y="3470100"/>
                <a:ext cx="30221" cy="33020"/>
              </a:xfrm>
              <a:custGeom>
                <a:avLst/>
                <a:gdLst>
                  <a:gd name="connsiteX0" fmla="*/ 12534 w 30221"/>
                  <a:gd name="connsiteY0" fmla="*/ 33021 h 33020"/>
                  <a:gd name="connsiteX1" fmla="*/ 0 w 30221"/>
                  <a:gd name="connsiteY1" fmla="*/ 0 h 33020"/>
                  <a:gd name="connsiteX2" fmla="*/ 5917 w 30221"/>
                  <a:gd name="connsiteY2" fmla="*/ 0 h 33020"/>
                  <a:gd name="connsiteX3" fmla="*/ 12979 w 30221"/>
                  <a:gd name="connsiteY3" fmla="*/ 19787 h 33020"/>
                  <a:gd name="connsiteX4" fmla="*/ 15079 w 30221"/>
                  <a:gd name="connsiteY4" fmla="*/ 26404 h 33020"/>
                  <a:gd name="connsiteX5" fmla="*/ 17178 w 30221"/>
                  <a:gd name="connsiteY5" fmla="*/ 20105 h 33020"/>
                  <a:gd name="connsiteX6" fmla="*/ 24495 w 30221"/>
                  <a:gd name="connsiteY6" fmla="*/ 0 h 33020"/>
                  <a:gd name="connsiteX7" fmla="*/ 30221 w 30221"/>
                  <a:gd name="connsiteY7" fmla="*/ 0 h 33020"/>
                  <a:gd name="connsiteX8" fmla="*/ 17751 w 30221"/>
                  <a:gd name="connsiteY8" fmla="*/ 33021 h 33020"/>
                  <a:gd name="connsiteX9" fmla="*/ 12534 w 30221"/>
                  <a:gd name="connsiteY9" fmla="*/ 33021 h 3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21" h="33020">
                    <a:moveTo>
                      <a:pt x="12534" y="33021"/>
                    </a:moveTo>
                    <a:lnTo>
                      <a:pt x="0" y="0"/>
                    </a:lnTo>
                    <a:lnTo>
                      <a:pt x="5917" y="0"/>
                    </a:lnTo>
                    <a:lnTo>
                      <a:pt x="12979" y="19787"/>
                    </a:lnTo>
                    <a:cubicBezTo>
                      <a:pt x="13743" y="21887"/>
                      <a:pt x="14443" y="24114"/>
                      <a:pt x="15079" y="26404"/>
                    </a:cubicBezTo>
                    <a:cubicBezTo>
                      <a:pt x="15588" y="24686"/>
                      <a:pt x="16288" y="22587"/>
                      <a:pt x="17178" y="20105"/>
                    </a:cubicBezTo>
                    <a:lnTo>
                      <a:pt x="24495" y="0"/>
                    </a:lnTo>
                    <a:lnTo>
                      <a:pt x="30221" y="0"/>
                    </a:lnTo>
                    <a:lnTo>
                      <a:pt x="17751" y="33021"/>
                    </a:lnTo>
                    <a:lnTo>
                      <a:pt x="12534" y="33021"/>
                    </a:lnTo>
                    <a:close/>
                  </a:path>
                </a:pathLst>
              </a:custGeom>
              <a:solidFill>
                <a:srgbClr val="084F45"/>
              </a:solidFill>
              <a:ln w="6361" cap="flat">
                <a:noFill/>
                <a:prstDash val="solid"/>
                <a:miter/>
              </a:ln>
            </p:spPr>
            <p:txBody>
              <a:bodyPr rtlCol="0" anchor="ctr"/>
              <a:lstStyle/>
              <a:p>
                <a:endParaRPr lang="da-DK"/>
              </a:p>
            </p:txBody>
          </p:sp>
          <p:sp>
            <p:nvSpPr>
              <p:cNvPr id="33" name="Freeform: Shape 35">
                <a:extLst>
                  <a:ext uri="{FF2B5EF4-FFF2-40B4-BE49-F238E27FC236}">
                    <a16:creationId xmlns:a16="http://schemas.microsoft.com/office/drawing/2014/main" id="{9A4C74C7-A7B4-1B3D-6004-3C5BF77799DF}"/>
                  </a:ext>
                </a:extLst>
              </p:cNvPr>
              <p:cNvSpPr/>
              <p:nvPr/>
            </p:nvSpPr>
            <p:spPr>
              <a:xfrm>
                <a:off x="1644617" y="3496759"/>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sp>
            <p:nvSpPr>
              <p:cNvPr id="34" name="Freeform: Shape 36">
                <a:extLst>
                  <a:ext uri="{FF2B5EF4-FFF2-40B4-BE49-F238E27FC236}">
                    <a16:creationId xmlns:a16="http://schemas.microsoft.com/office/drawing/2014/main" id="{2A387B84-4B45-A4F0-FB18-32BD0B0760CB}"/>
                  </a:ext>
                </a:extLst>
              </p:cNvPr>
              <p:cNvSpPr/>
              <p:nvPr/>
            </p:nvSpPr>
            <p:spPr>
              <a:xfrm>
                <a:off x="1203194" y="3540278"/>
                <a:ext cx="30730" cy="45554"/>
              </a:xfrm>
              <a:custGeom>
                <a:avLst/>
                <a:gdLst>
                  <a:gd name="connsiteX0" fmla="*/ 0 w 30730"/>
                  <a:gd name="connsiteY0" fmla="*/ 45555 h 45554"/>
                  <a:gd name="connsiteX1" fmla="*/ 0 w 30730"/>
                  <a:gd name="connsiteY1" fmla="*/ 0 h 45554"/>
                  <a:gd name="connsiteX2" fmla="*/ 30730 w 30730"/>
                  <a:gd name="connsiteY2" fmla="*/ 0 h 45554"/>
                  <a:gd name="connsiteX3" fmla="*/ 30730 w 30730"/>
                  <a:gd name="connsiteY3" fmla="*/ 5344 h 45554"/>
                  <a:gd name="connsiteX4" fmla="*/ 6044 w 30730"/>
                  <a:gd name="connsiteY4" fmla="*/ 5344 h 45554"/>
                  <a:gd name="connsiteX5" fmla="*/ 6044 w 30730"/>
                  <a:gd name="connsiteY5" fmla="*/ 19469 h 45554"/>
                  <a:gd name="connsiteX6" fmla="*/ 27422 w 30730"/>
                  <a:gd name="connsiteY6" fmla="*/ 19469 h 45554"/>
                  <a:gd name="connsiteX7" fmla="*/ 27422 w 30730"/>
                  <a:gd name="connsiteY7" fmla="*/ 24813 h 45554"/>
                  <a:gd name="connsiteX8" fmla="*/ 6044 w 30730"/>
                  <a:gd name="connsiteY8" fmla="*/ 24813 h 45554"/>
                  <a:gd name="connsiteX9" fmla="*/ 6044 w 30730"/>
                  <a:gd name="connsiteY9" fmla="*/ 45491 h 45554"/>
                  <a:gd name="connsiteX10" fmla="*/ 0 w 30730"/>
                  <a:gd name="connsiteY10"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30" h="45554">
                    <a:moveTo>
                      <a:pt x="0" y="45555"/>
                    </a:moveTo>
                    <a:lnTo>
                      <a:pt x="0" y="0"/>
                    </a:lnTo>
                    <a:lnTo>
                      <a:pt x="30730" y="0"/>
                    </a:lnTo>
                    <a:lnTo>
                      <a:pt x="30730" y="5344"/>
                    </a:lnTo>
                    <a:lnTo>
                      <a:pt x="6044" y="5344"/>
                    </a:lnTo>
                    <a:lnTo>
                      <a:pt x="6044" y="19469"/>
                    </a:lnTo>
                    <a:lnTo>
                      <a:pt x="27422" y="19469"/>
                    </a:lnTo>
                    <a:lnTo>
                      <a:pt x="27422" y="24813"/>
                    </a:lnTo>
                    <a:lnTo>
                      <a:pt x="6044" y="24813"/>
                    </a:lnTo>
                    <a:lnTo>
                      <a:pt x="6044" y="45491"/>
                    </a:lnTo>
                    <a:lnTo>
                      <a:pt x="0" y="45491"/>
                    </a:lnTo>
                    <a:close/>
                  </a:path>
                </a:pathLst>
              </a:custGeom>
              <a:solidFill>
                <a:srgbClr val="084F45"/>
              </a:solidFill>
              <a:ln w="6361" cap="flat">
                <a:noFill/>
                <a:prstDash val="solid"/>
                <a:miter/>
              </a:ln>
            </p:spPr>
            <p:txBody>
              <a:bodyPr rtlCol="0" anchor="ctr"/>
              <a:lstStyle/>
              <a:p>
                <a:endParaRPr lang="da-DK"/>
              </a:p>
            </p:txBody>
          </p:sp>
          <p:sp>
            <p:nvSpPr>
              <p:cNvPr id="35" name="Freeform: Shape 37">
                <a:extLst>
                  <a:ext uri="{FF2B5EF4-FFF2-40B4-BE49-F238E27FC236}">
                    <a16:creationId xmlns:a16="http://schemas.microsoft.com/office/drawing/2014/main" id="{18663CDE-E05E-5D72-5299-6CEB2CA39F61}"/>
                  </a:ext>
                </a:extLst>
              </p:cNvPr>
              <p:cNvSpPr/>
              <p:nvPr/>
            </p:nvSpPr>
            <p:spPr>
              <a:xfrm>
                <a:off x="1238824" y="3551921"/>
                <a:ext cx="51853" cy="34611"/>
              </a:xfrm>
              <a:custGeom>
                <a:avLst/>
                <a:gdLst>
                  <a:gd name="connsiteX0" fmla="*/ 51853 w 51853"/>
                  <a:gd name="connsiteY0" fmla="*/ 23795 h 34611"/>
                  <a:gd name="connsiteX1" fmla="*/ 46573 w 51853"/>
                  <a:gd name="connsiteY1" fmla="*/ 31812 h 34611"/>
                  <a:gd name="connsiteX2" fmla="*/ 37284 w 51853"/>
                  <a:gd name="connsiteY2" fmla="*/ 34611 h 34611"/>
                  <a:gd name="connsiteX3" fmla="*/ 30349 w 51853"/>
                  <a:gd name="connsiteY3" fmla="*/ 33148 h 34611"/>
                  <a:gd name="connsiteX4" fmla="*/ 25004 w 51853"/>
                  <a:gd name="connsiteY4" fmla="*/ 28503 h 34611"/>
                  <a:gd name="connsiteX5" fmla="*/ 18451 w 51853"/>
                  <a:gd name="connsiteY5" fmla="*/ 33148 h 34611"/>
                  <a:gd name="connsiteX6" fmla="*/ 11325 w 51853"/>
                  <a:gd name="connsiteY6" fmla="*/ 34611 h 34611"/>
                  <a:gd name="connsiteX7" fmla="*/ 2990 w 51853"/>
                  <a:gd name="connsiteY7" fmla="*/ 31875 h 34611"/>
                  <a:gd name="connsiteX8" fmla="*/ 0 w 51853"/>
                  <a:gd name="connsiteY8" fmla="*/ 25195 h 34611"/>
                  <a:gd name="connsiteX9" fmla="*/ 1527 w 51853"/>
                  <a:gd name="connsiteY9" fmla="*/ 20169 h 34611"/>
                  <a:gd name="connsiteX10" fmla="*/ 5790 w 51853"/>
                  <a:gd name="connsiteY10" fmla="*/ 16606 h 34611"/>
                  <a:gd name="connsiteX11" fmla="*/ 14570 w 51853"/>
                  <a:gd name="connsiteY11" fmla="*/ 14633 h 34611"/>
                  <a:gd name="connsiteX12" fmla="*/ 22396 w 51853"/>
                  <a:gd name="connsiteY12" fmla="*/ 13107 h 34611"/>
                  <a:gd name="connsiteX13" fmla="*/ 22459 w 51853"/>
                  <a:gd name="connsiteY13" fmla="*/ 11834 h 34611"/>
                  <a:gd name="connsiteX14" fmla="*/ 20805 w 51853"/>
                  <a:gd name="connsiteY14" fmla="*/ 6362 h 34611"/>
                  <a:gd name="connsiteX15" fmla="*/ 15079 w 51853"/>
                  <a:gd name="connsiteY15" fmla="*/ 4772 h 34611"/>
                  <a:gd name="connsiteX16" fmla="*/ 10498 w 51853"/>
                  <a:gd name="connsiteY16" fmla="*/ 5408 h 34611"/>
                  <a:gd name="connsiteX17" fmla="*/ 7762 w 51853"/>
                  <a:gd name="connsiteY17" fmla="*/ 7253 h 34611"/>
                  <a:gd name="connsiteX18" fmla="*/ 6299 w 51853"/>
                  <a:gd name="connsiteY18" fmla="*/ 11070 h 34611"/>
                  <a:gd name="connsiteX19" fmla="*/ 891 w 51853"/>
                  <a:gd name="connsiteY19" fmla="*/ 10434 h 34611"/>
                  <a:gd name="connsiteX20" fmla="*/ 3372 w 51853"/>
                  <a:gd name="connsiteY20" fmla="*/ 4644 h 34611"/>
                  <a:gd name="connsiteX21" fmla="*/ 8017 w 51853"/>
                  <a:gd name="connsiteY21" fmla="*/ 1272 h 34611"/>
                  <a:gd name="connsiteX22" fmla="*/ 15142 w 51853"/>
                  <a:gd name="connsiteY22" fmla="*/ 63 h 34611"/>
                  <a:gd name="connsiteX23" fmla="*/ 23477 w 51853"/>
                  <a:gd name="connsiteY23" fmla="*/ 1591 h 34611"/>
                  <a:gd name="connsiteX24" fmla="*/ 26531 w 51853"/>
                  <a:gd name="connsiteY24" fmla="*/ 4454 h 34611"/>
                  <a:gd name="connsiteX25" fmla="*/ 31048 w 51853"/>
                  <a:gd name="connsiteY25" fmla="*/ 1145 h 34611"/>
                  <a:gd name="connsiteX26" fmla="*/ 37156 w 51853"/>
                  <a:gd name="connsiteY26" fmla="*/ 0 h 34611"/>
                  <a:gd name="connsiteX27" fmla="*/ 45491 w 51853"/>
                  <a:gd name="connsiteY27" fmla="*/ 2418 h 34611"/>
                  <a:gd name="connsiteX28" fmla="*/ 50326 w 51853"/>
                  <a:gd name="connsiteY28" fmla="*/ 8844 h 34611"/>
                  <a:gd name="connsiteX29" fmla="*/ 51853 w 51853"/>
                  <a:gd name="connsiteY29" fmla="*/ 16733 h 34611"/>
                  <a:gd name="connsiteX30" fmla="*/ 51790 w 51853"/>
                  <a:gd name="connsiteY30" fmla="*/ 18642 h 34611"/>
                  <a:gd name="connsiteX31" fmla="*/ 28122 w 51853"/>
                  <a:gd name="connsiteY31" fmla="*/ 18642 h 34611"/>
                  <a:gd name="connsiteX32" fmla="*/ 29203 w 51853"/>
                  <a:gd name="connsiteY32" fmla="*/ 25131 h 34611"/>
                  <a:gd name="connsiteX33" fmla="*/ 32512 w 51853"/>
                  <a:gd name="connsiteY33" fmla="*/ 28503 h 34611"/>
                  <a:gd name="connsiteX34" fmla="*/ 37538 w 51853"/>
                  <a:gd name="connsiteY34" fmla="*/ 29840 h 34611"/>
                  <a:gd name="connsiteX35" fmla="*/ 42946 w 51853"/>
                  <a:gd name="connsiteY35" fmla="*/ 27994 h 34611"/>
                  <a:gd name="connsiteX36" fmla="*/ 46000 w 51853"/>
                  <a:gd name="connsiteY36" fmla="*/ 22841 h 34611"/>
                  <a:gd name="connsiteX37" fmla="*/ 51853 w 51853"/>
                  <a:gd name="connsiteY37" fmla="*/ 23795 h 34611"/>
                  <a:gd name="connsiteX38" fmla="*/ 22650 w 51853"/>
                  <a:gd name="connsiteY38" fmla="*/ 17306 h 34611"/>
                  <a:gd name="connsiteX39" fmla="*/ 12661 w 51853"/>
                  <a:gd name="connsiteY39" fmla="*/ 19596 h 34611"/>
                  <a:gd name="connsiteX40" fmla="*/ 7889 w 51853"/>
                  <a:gd name="connsiteY40" fmla="*/ 21187 h 34611"/>
                  <a:gd name="connsiteX41" fmla="*/ 6044 w 51853"/>
                  <a:gd name="connsiteY41" fmla="*/ 25004 h 34611"/>
                  <a:gd name="connsiteX42" fmla="*/ 7698 w 51853"/>
                  <a:gd name="connsiteY42" fmla="*/ 28694 h 34611"/>
                  <a:gd name="connsiteX43" fmla="*/ 12470 w 51853"/>
                  <a:gd name="connsiteY43" fmla="*/ 30221 h 34611"/>
                  <a:gd name="connsiteX44" fmla="*/ 18705 w 51853"/>
                  <a:gd name="connsiteY44" fmla="*/ 28440 h 34611"/>
                  <a:gd name="connsiteX45" fmla="*/ 22141 w 51853"/>
                  <a:gd name="connsiteY45" fmla="*/ 24050 h 34611"/>
                  <a:gd name="connsiteX46" fmla="*/ 22650 w 51853"/>
                  <a:gd name="connsiteY46" fmla="*/ 17306 h 34611"/>
                  <a:gd name="connsiteX47" fmla="*/ 28122 w 51853"/>
                  <a:gd name="connsiteY47" fmla="*/ 14188 h 34611"/>
                  <a:gd name="connsiteX48" fmla="*/ 46255 w 51853"/>
                  <a:gd name="connsiteY48" fmla="*/ 14188 h 34611"/>
                  <a:gd name="connsiteX49" fmla="*/ 43455 w 51853"/>
                  <a:gd name="connsiteY49" fmla="*/ 6999 h 34611"/>
                  <a:gd name="connsiteX50" fmla="*/ 37284 w 51853"/>
                  <a:gd name="connsiteY50" fmla="*/ 4708 h 34611"/>
                  <a:gd name="connsiteX51" fmla="*/ 30858 w 51853"/>
                  <a:gd name="connsiteY51" fmla="*/ 7190 h 34611"/>
                  <a:gd name="connsiteX52" fmla="*/ 28122 w 51853"/>
                  <a:gd name="connsiteY52" fmla="*/ 14188 h 3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853" h="34611">
                    <a:moveTo>
                      <a:pt x="51853" y="23795"/>
                    </a:moveTo>
                    <a:cubicBezTo>
                      <a:pt x="50835" y="27231"/>
                      <a:pt x="49054" y="29903"/>
                      <a:pt x="46573" y="31812"/>
                    </a:cubicBezTo>
                    <a:cubicBezTo>
                      <a:pt x="44091" y="33721"/>
                      <a:pt x="40974" y="34611"/>
                      <a:pt x="37284" y="34611"/>
                    </a:cubicBezTo>
                    <a:cubicBezTo>
                      <a:pt x="34675" y="34611"/>
                      <a:pt x="32321" y="34102"/>
                      <a:pt x="30349" y="33148"/>
                    </a:cubicBezTo>
                    <a:cubicBezTo>
                      <a:pt x="28376" y="32194"/>
                      <a:pt x="26595" y="30603"/>
                      <a:pt x="25004" y="28503"/>
                    </a:cubicBezTo>
                    <a:cubicBezTo>
                      <a:pt x="22841" y="30603"/>
                      <a:pt x="20678" y="32194"/>
                      <a:pt x="18451" y="33148"/>
                    </a:cubicBezTo>
                    <a:cubicBezTo>
                      <a:pt x="16224" y="34102"/>
                      <a:pt x="13870" y="34611"/>
                      <a:pt x="11325" y="34611"/>
                    </a:cubicBezTo>
                    <a:cubicBezTo>
                      <a:pt x="7762" y="34611"/>
                      <a:pt x="4963" y="33721"/>
                      <a:pt x="2990" y="31875"/>
                    </a:cubicBezTo>
                    <a:cubicBezTo>
                      <a:pt x="1018" y="30030"/>
                      <a:pt x="0" y="27804"/>
                      <a:pt x="0" y="25195"/>
                    </a:cubicBezTo>
                    <a:cubicBezTo>
                      <a:pt x="0" y="23414"/>
                      <a:pt x="509" y="21759"/>
                      <a:pt x="1527" y="20169"/>
                    </a:cubicBezTo>
                    <a:cubicBezTo>
                      <a:pt x="2545" y="18578"/>
                      <a:pt x="4008" y="17433"/>
                      <a:pt x="5790" y="16606"/>
                    </a:cubicBezTo>
                    <a:cubicBezTo>
                      <a:pt x="7571" y="15779"/>
                      <a:pt x="10562" y="15143"/>
                      <a:pt x="14570" y="14633"/>
                    </a:cubicBezTo>
                    <a:cubicBezTo>
                      <a:pt x="17687" y="14188"/>
                      <a:pt x="20296" y="13679"/>
                      <a:pt x="22396" y="13107"/>
                    </a:cubicBezTo>
                    <a:cubicBezTo>
                      <a:pt x="22396" y="12597"/>
                      <a:pt x="22459" y="12152"/>
                      <a:pt x="22459" y="11834"/>
                    </a:cubicBezTo>
                    <a:cubicBezTo>
                      <a:pt x="22459" y="9225"/>
                      <a:pt x="21887" y="7380"/>
                      <a:pt x="20805" y="6362"/>
                    </a:cubicBezTo>
                    <a:cubicBezTo>
                      <a:pt x="19723" y="5344"/>
                      <a:pt x="17815" y="4772"/>
                      <a:pt x="15079" y="4772"/>
                    </a:cubicBezTo>
                    <a:cubicBezTo>
                      <a:pt x="13297" y="4772"/>
                      <a:pt x="11770" y="4963"/>
                      <a:pt x="10498" y="5408"/>
                    </a:cubicBezTo>
                    <a:cubicBezTo>
                      <a:pt x="9225" y="5853"/>
                      <a:pt x="8335" y="6490"/>
                      <a:pt x="7762" y="7253"/>
                    </a:cubicBezTo>
                    <a:cubicBezTo>
                      <a:pt x="7189" y="8080"/>
                      <a:pt x="6680" y="9353"/>
                      <a:pt x="6299" y="11070"/>
                    </a:cubicBezTo>
                    <a:lnTo>
                      <a:pt x="891" y="10434"/>
                    </a:lnTo>
                    <a:cubicBezTo>
                      <a:pt x="1463" y="8016"/>
                      <a:pt x="2290" y="6108"/>
                      <a:pt x="3372" y="4644"/>
                    </a:cubicBezTo>
                    <a:cubicBezTo>
                      <a:pt x="4454" y="3245"/>
                      <a:pt x="6044" y="2100"/>
                      <a:pt x="8017" y="1272"/>
                    </a:cubicBezTo>
                    <a:cubicBezTo>
                      <a:pt x="10053" y="445"/>
                      <a:pt x="12407" y="63"/>
                      <a:pt x="15142" y="63"/>
                    </a:cubicBezTo>
                    <a:cubicBezTo>
                      <a:pt x="18578" y="63"/>
                      <a:pt x="21378" y="573"/>
                      <a:pt x="23477" y="1591"/>
                    </a:cubicBezTo>
                    <a:cubicBezTo>
                      <a:pt x="24686" y="2163"/>
                      <a:pt x="25704" y="3181"/>
                      <a:pt x="26531" y="4454"/>
                    </a:cubicBezTo>
                    <a:cubicBezTo>
                      <a:pt x="27867" y="2990"/>
                      <a:pt x="29331" y="1909"/>
                      <a:pt x="31048" y="1145"/>
                    </a:cubicBezTo>
                    <a:cubicBezTo>
                      <a:pt x="32703" y="382"/>
                      <a:pt x="34739" y="0"/>
                      <a:pt x="37156" y="0"/>
                    </a:cubicBezTo>
                    <a:cubicBezTo>
                      <a:pt x="40528" y="0"/>
                      <a:pt x="43264" y="827"/>
                      <a:pt x="45491" y="2418"/>
                    </a:cubicBezTo>
                    <a:cubicBezTo>
                      <a:pt x="47718" y="4008"/>
                      <a:pt x="49309" y="6172"/>
                      <a:pt x="50326" y="8844"/>
                    </a:cubicBezTo>
                    <a:cubicBezTo>
                      <a:pt x="51344" y="11516"/>
                      <a:pt x="51853" y="14125"/>
                      <a:pt x="51853" y="16733"/>
                    </a:cubicBezTo>
                    <a:cubicBezTo>
                      <a:pt x="51853" y="17115"/>
                      <a:pt x="51853" y="17751"/>
                      <a:pt x="51790" y="18642"/>
                    </a:cubicBezTo>
                    <a:lnTo>
                      <a:pt x="28122" y="18642"/>
                    </a:lnTo>
                    <a:cubicBezTo>
                      <a:pt x="28185" y="21632"/>
                      <a:pt x="28503" y="23795"/>
                      <a:pt x="29203" y="25131"/>
                    </a:cubicBezTo>
                    <a:cubicBezTo>
                      <a:pt x="29903" y="26468"/>
                      <a:pt x="30985" y="27613"/>
                      <a:pt x="32512" y="28503"/>
                    </a:cubicBezTo>
                    <a:cubicBezTo>
                      <a:pt x="34039" y="29394"/>
                      <a:pt x="35693" y="29840"/>
                      <a:pt x="37538" y="29840"/>
                    </a:cubicBezTo>
                    <a:cubicBezTo>
                      <a:pt x="39638" y="29840"/>
                      <a:pt x="41483" y="29203"/>
                      <a:pt x="42946" y="27994"/>
                    </a:cubicBezTo>
                    <a:cubicBezTo>
                      <a:pt x="44409" y="26786"/>
                      <a:pt x="45427" y="25068"/>
                      <a:pt x="46000" y="22841"/>
                    </a:cubicBezTo>
                    <a:lnTo>
                      <a:pt x="51853" y="23795"/>
                    </a:lnTo>
                    <a:close/>
                    <a:moveTo>
                      <a:pt x="22650" y="17306"/>
                    </a:moveTo>
                    <a:cubicBezTo>
                      <a:pt x="20996" y="18005"/>
                      <a:pt x="17687" y="18769"/>
                      <a:pt x="12661" y="19596"/>
                    </a:cubicBezTo>
                    <a:cubicBezTo>
                      <a:pt x="10371" y="19978"/>
                      <a:pt x="8844" y="20487"/>
                      <a:pt x="7889" y="21187"/>
                    </a:cubicBezTo>
                    <a:cubicBezTo>
                      <a:pt x="6680" y="22141"/>
                      <a:pt x="6044" y="23414"/>
                      <a:pt x="6044" y="25004"/>
                    </a:cubicBezTo>
                    <a:cubicBezTo>
                      <a:pt x="6044" y="26468"/>
                      <a:pt x="6617" y="27740"/>
                      <a:pt x="7698" y="28694"/>
                    </a:cubicBezTo>
                    <a:cubicBezTo>
                      <a:pt x="8780" y="29712"/>
                      <a:pt x="10371" y="30221"/>
                      <a:pt x="12470" y="30221"/>
                    </a:cubicBezTo>
                    <a:cubicBezTo>
                      <a:pt x="14888" y="30221"/>
                      <a:pt x="16924" y="29649"/>
                      <a:pt x="18705" y="28440"/>
                    </a:cubicBezTo>
                    <a:cubicBezTo>
                      <a:pt x="20487" y="27231"/>
                      <a:pt x="21632" y="25768"/>
                      <a:pt x="22141" y="24050"/>
                    </a:cubicBezTo>
                    <a:cubicBezTo>
                      <a:pt x="22459" y="22968"/>
                      <a:pt x="22650" y="20741"/>
                      <a:pt x="22650" y="17306"/>
                    </a:cubicBezTo>
                    <a:close/>
                    <a:moveTo>
                      <a:pt x="28122" y="14188"/>
                    </a:moveTo>
                    <a:lnTo>
                      <a:pt x="46255" y="14188"/>
                    </a:lnTo>
                    <a:cubicBezTo>
                      <a:pt x="45936" y="10943"/>
                      <a:pt x="45046" y="8526"/>
                      <a:pt x="43455" y="6999"/>
                    </a:cubicBezTo>
                    <a:cubicBezTo>
                      <a:pt x="41865" y="5472"/>
                      <a:pt x="39829" y="4708"/>
                      <a:pt x="37284" y="4708"/>
                    </a:cubicBezTo>
                    <a:cubicBezTo>
                      <a:pt x="34675" y="4708"/>
                      <a:pt x="32512" y="5535"/>
                      <a:pt x="30858" y="7190"/>
                    </a:cubicBezTo>
                    <a:cubicBezTo>
                      <a:pt x="29203" y="8844"/>
                      <a:pt x="28313" y="11261"/>
                      <a:pt x="28122" y="14188"/>
                    </a:cubicBezTo>
                    <a:close/>
                  </a:path>
                </a:pathLst>
              </a:custGeom>
              <a:solidFill>
                <a:srgbClr val="084F45"/>
              </a:solidFill>
              <a:ln w="6361" cap="flat">
                <a:noFill/>
                <a:prstDash val="solid"/>
                <a:miter/>
              </a:ln>
            </p:spPr>
            <p:txBody>
              <a:bodyPr rtlCol="0" anchor="ctr"/>
              <a:lstStyle/>
              <a:p>
                <a:endParaRPr lang="da-DK"/>
              </a:p>
            </p:txBody>
          </p:sp>
          <p:sp>
            <p:nvSpPr>
              <p:cNvPr id="36" name="Freeform: Shape 38">
                <a:extLst>
                  <a:ext uri="{FF2B5EF4-FFF2-40B4-BE49-F238E27FC236}">
                    <a16:creationId xmlns:a16="http://schemas.microsoft.com/office/drawing/2014/main" id="{04929238-8586-1277-B4B8-B2673D6CCAD9}"/>
                  </a:ext>
                </a:extLst>
              </p:cNvPr>
              <p:cNvSpPr/>
              <p:nvPr/>
            </p:nvSpPr>
            <p:spPr>
              <a:xfrm>
                <a:off x="1297485"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7" name="Freeform: Shape 39">
                <a:extLst>
                  <a:ext uri="{FF2B5EF4-FFF2-40B4-BE49-F238E27FC236}">
                    <a16:creationId xmlns:a16="http://schemas.microsoft.com/office/drawing/2014/main" id="{A5CB329D-566F-065E-BDC1-5EA4416E930D}"/>
                  </a:ext>
                </a:extLst>
              </p:cNvPr>
              <p:cNvSpPr/>
              <p:nvPr/>
            </p:nvSpPr>
            <p:spPr>
              <a:xfrm>
                <a:off x="1311609"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8" name="Freeform: Shape 40">
                <a:extLst>
                  <a:ext uri="{FF2B5EF4-FFF2-40B4-BE49-F238E27FC236}">
                    <a16:creationId xmlns:a16="http://schemas.microsoft.com/office/drawing/2014/main" id="{FC231490-C747-F2BF-1986-121A3D8526AD}"/>
                  </a:ext>
                </a:extLst>
              </p:cNvPr>
              <p:cNvSpPr/>
              <p:nvPr/>
            </p:nvSpPr>
            <p:spPr>
              <a:xfrm>
                <a:off x="1324016" y="3552112"/>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459" y="27167"/>
                      <a:pt x="23604"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39" name="Freeform: Shape 41">
                <a:extLst>
                  <a:ext uri="{FF2B5EF4-FFF2-40B4-BE49-F238E27FC236}">
                    <a16:creationId xmlns:a16="http://schemas.microsoft.com/office/drawing/2014/main" id="{62320950-CB20-C836-24B3-22A055FA17C1}"/>
                  </a:ext>
                </a:extLst>
              </p:cNvPr>
              <p:cNvSpPr/>
              <p:nvPr/>
            </p:nvSpPr>
            <p:spPr>
              <a:xfrm>
                <a:off x="1359009"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0" y="26976"/>
                      <a:pt x="8144" y="28122"/>
                    </a:cubicBezTo>
                    <a:cubicBezTo>
                      <a:pt x="9607" y="29267"/>
                      <a:pt x="11516" y="29903"/>
                      <a:pt x="14061" y="29903"/>
                    </a:cubicBezTo>
                    <a:cubicBezTo>
                      <a:pt x="16606" y="29903"/>
                      <a:pt x="18515" y="29394"/>
                      <a:pt x="19787" y="28313"/>
                    </a:cubicBezTo>
                    <a:cubicBezTo>
                      <a:pt x="21059" y="27295"/>
                      <a:pt x="21632" y="26022"/>
                      <a:pt x="21632" y="24622"/>
                    </a:cubicBezTo>
                    <a:cubicBezTo>
                      <a:pt x="21632" y="23350"/>
                      <a:pt x="21059"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2" y="12598"/>
                      <a:pt x="891" y="11134"/>
                      <a:pt x="891" y="9480"/>
                    </a:cubicBezTo>
                    <a:cubicBezTo>
                      <a:pt x="891" y="8017"/>
                      <a:pt x="1209" y="6617"/>
                      <a:pt x="1909" y="5408"/>
                    </a:cubicBezTo>
                    <a:cubicBezTo>
                      <a:pt x="2609" y="4136"/>
                      <a:pt x="3499" y="3118"/>
                      <a:pt x="4645" y="2291"/>
                    </a:cubicBezTo>
                    <a:cubicBezTo>
                      <a:pt x="5535" y="1654"/>
                      <a:pt x="6680"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40" name="Freeform: Shape 42">
                <a:extLst>
                  <a:ext uri="{FF2B5EF4-FFF2-40B4-BE49-F238E27FC236}">
                    <a16:creationId xmlns:a16="http://schemas.microsoft.com/office/drawing/2014/main" id="{01974D72-7278-2678-218B-76AA550F2CDD}"/>
                  </a:ext>
                </a:extLst>
              </p:cNvPr>
              <p:cNvSpPr/>
              <p:nvPr/>
            </p:nvSpPr>
            <p:spPr>
              <a:xfrm>
                <a:off x="1410735" y="3552048"/>
                <a:ext cx="28630" cy="46381"/>
              </a:xfrm>
              <a:custGeom>
                <a:avLst/>
                <a:gdLst>
                  <a:gd name="connsiteX0" fmla="*/ 0 w 28630"/>
                  <a:gd name="connsiteY0" fmla="*/ 46382 h 46381"/>
                  <a:gd name="connsiteX1" fmla="*/ 0 w 28630"/>
                  <a:gd name="connsiteY1" fmla="*/ 763 h 46381"/>
                  <a:gd name="connsiteX2" fmla="*/ 5090 w 28630"/>
                  <a:gd name="connsiteY2" fmla="*/ 763 h 46381"/>
                  <a:gd name="connsiteX3" fmla="*/ 5090 w 28630"/>
                  <a:gd name="connsiteY3" fmla="*/ 5026 h 46381"/>
                  <a:gd name="connsiteX4" fmla="*/ 9162 w 28630"/>
                  <a:gd name="connsiteY4" fmla="*/ 1273 h 46381"/>
                  <a:gd name="connsiteX5" fmla="*/ 14634 w 28630"/>
                  <a:gd name="connsiteY5" fmla="*/ 0 h 46381"/>
                  <a:gd name="connsiteX6" fmla="*/ 22078 w 28630"/>
                  <a:gd name="connsiteY6" fmla="*/ 2163 h 46381"/>
                  <a:gd name="connsiteX7" fmla="*/ 26977 w 28630"/>
                  <a:gd name="connsiteY7" fmla="*/ 8271 h 46381"/>
                  <a:gd name="connsiteX8" fmla="*/ 28631 w 28630"/>
                  <a:gd name="connsiteY8" fmla="*/ 16988 h 46381"/>
                  <a:gd name="connsiteX9" fmla="*/ 26786 w 28630"/>
                  <a:gd name="connsiteY9" fmla="*/ 26086 h 46381"/>
                  <a:gd name="connsiteX10" fmla="*/ 21505 w 28630"/>
                  <a:gd name="connsiteY10" fmla="*/ 32321 h 46381"/>
                  <a:gd name="connsiteX11" fmla="*/ 14252 w 28630"/>
                  <a:gd name="connsiteY11" fmla="*/ 34484 h 46381"/>
                  <a:gd name="connsiteX12" fmla="*/ 9225 w 28630"/>
                  <a:gd name="connsiteY12" fmla="*/ 33275 h 46381"/>
                  <a:gd name="connsiteX13" fmla="*/ 5599 w 28630"/>
                  <a:gd name="connsiteY13" fmla="*/ 30285 h 46381"/>
                  <a:gd name="connsiteX14" fmla="*/ 5599 w 28630"/>
                  <a:gd name="connsiteY14" fmla="*/ 46318 h 46381"/>
                  <a:gd name="connsiteX15" fmla="*/ 0 w 28630"/>
                  <a:gd name="connsiteY15" fmla="*/ 46318 h 46381"/>
                  <a:gd name="connsiteX16" fmla="*/ 5090 w 28630"/>
                  <a:gd name="connsiteY16" fmla="*/ 17433 h 46381"/>
                  <a:gd name="connsiteX17" fmla="*/ 7635 w 28630"/>
                  <a:gd name="connsiteY17" fmla="*/ 26849 h 46381"/>
                  <a:gd name="connsiteX18" fmla="*/ 13870 w 28630"/>
                  <a:gd name="connsiteY18" fmla="*/ 29903 h 46381"/>
                  <a:gd name="connsiteX19" fmla="*/ 20232 w 28630"/>
                  <a:gd name="connsiteY19" fmla="*/ 26722 h 46381"/>
                  <a:gd name="connsiteX20" fmla="*/ 22905 w 28630"/>
                  <a:gd name="connsiteY20" fmla="*/ 16924 h 46381"/>
                  <a:gd name="connsiteX21" fmla="*/ 20296 w 28630"/>
                  <a:gd name="connsiteY21" fmla="*/ 7508 h 46381"/>
                  <a:gd name="connsiteX22" fmla="*/ 14125 w 28630"/>
                  <a:gd name="connsiteY22" fmla="*/ 4390 h 46381"/>
                  <a:gd name="connsiteX23" fmla="*/ 7826 w 28630"/>
                  <a:gd name="connsiteY23" fmla="*/ 7762 h 46381"/>
                  <a:gd name="connsiteX24" fmla="*/ 5090 w 28630"/>
                  <a:gd name="connsiteY24" fmla="*/ 17433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630" h="46381">
                    <a:moveTo>
                      <a:pt x="0" y="46382"/>
                    </a:moveTo>
                    <a:lnTo>
                      <a:pt x="0" y="763"/>
                    </a:lnTo>
                    <a:lnTo>
                      <a:pt x="5090" y="763"/>
                    </a:lnTo>
                    <a:lnTo>
                      <a:pt x="5090" y="5026"/>
                    </a:lnTo>
                    <a:cubicBezTo>
                      <a:pt x="6299" y="3372"/>
                      <a:pt x="7635" y="2100"/>
                      <a:pt x="9162" y="1273"/>
                    </a:cubicBezTo>
                    <a:cubicBezTo>
                      <a:pt x="10689" y="445"/>
                      <a:pt x="12534" y="0"/>
                      <a:pt x="14634" y="0"/>
                    </a:cubicBezTo>
                    <a:cubicBezTo>
                      <a:pt x="17433" y="0"/>
                      <a:pt x="19914" y="700"/>
                      <a:pt x="22078" y="2163"/>
                    </a:cubicBezTo>
                    <a:cubicBezTo>
                      <a:pt x="24241" y="3627"/>
                      <a:pt x="25831" y="5663"/>
                      <a:pt x="26977" y="8271"/>
                    </a:cubicBezTo>
                    <a:cubicBezTo>
                      <a:pt x="28058" y="10943"/>
                      <a:pt x="28631" y="13806"/>
                      <a:pt x="28631" y="16988"/>
                    </a:cubicBezTo>
                    <a:cubicBezTo>
                      <a:pt x="28631" y="20360"/>
                      <a:pt x="28058" y="23414"/>
                      <a:pt x="26786" y="26086"/>
                    </a:cubicBezTo>
                    <a:cubicBezTo>
                      <a:pt x="25577" y="28758"/>
                      <a:pt x="23795" y="30858"/>
                      <a:pt x="21505" y="32321"/>
                    </a:cubicBezTo>
                    <a:cubicBezTo>
                      <a:pt x="19214" y="33784"/>
                      <a:pt x="16797" y="34484"/>
                      <a:pt x="14252" y="34484"/>
                    </a:cubicBezTo>
                    <a:cubicBezTo>
                      <a:pt x="12407" y="34484"/>
                      <a:pt x="10689" y="34103"/>
                      <a:pt x="9225" y="33275"/>
                    </a:cubicBezTo>
                    <a:cubicBezTo>
                      <a:pt x="7762" y="32448"/>
                      <a:pt x="6553" y="31494"/>
                      <a:pt x="5599" y="30285"/>
                    </a:cubicBezTo>
                    <a:lnTo>
                      <a:pt x="5599" y="46318"/>
                    </a:lnTo>
                    <a:lnTo>
                      <a:pt x="0" y="46318"/>
                    </a:lnTo>
                    <a:close/>
                    <a:moveTo>
                      <a:pt x="5090" y="17433"/>
                    </a:moveTo>
                    <a:cubicBezTo>
                      <a:pt x="5090" y="21696"/>
                      <a:pt x="5917" y="24813"/>
                      <a:pt x="7635" y="26849"/>
                    </a:cubicBezTo>
                    <a:cubicBezTo>
                      <a:pt x="9353" y="28885"/>
                      <a:pt x="11452" y="29903"/>
                      <a:pt x="13870" y="29903"/>
                    </a:cubicBezTo>
                    <a:cubicBezTo>
                      <a:pt x="16351" y="29903"/>
                      <a:pt x="18451" y="28822"/>
                      <a:pt x="20232" y="26722"/>
                    </a:cubicBezTo>
                    <a:cubicBezTo>
                      <a:pt x="22014" y="24622"/>
                      <a:pt x="22905" y="21378"/>
                      <a:pt x="22905" y="16924"/>
                    </a:cubicBezTo>
                    <a:cubicBezTo>
                      <a:pt x="22905" y="12725"/>
                      <a:pt x="22078" y="9544"/>
                      <a:pt x="20296" y="7508"/>
                    </a:cubicBezTo>
                    <a:cubicBezTo>
                      <a:pt x="18578" y="5408"/>
                      <a:pt x="16479" y="4390"/>
                      <a:pt x="14125" y="4390"/>
                    </a:cubicBezTo>
                    <a:cubicBezTo>
                      <a:pt x="11707" y="4390"/>
                      <a:pt x="9607" y="5472"/>
                      <a:pt x="7826" y="7762"/>
                    </a:cubicBezTo>
                    <a:cubicBezTo>
                      <a:pt x="5981" y="9989"/>
                      <a:pt x="5090" y="13170"/>
                      <a:pt x="5090" y="17433"/>
                    </a:cubicBezTo>
                    <a:close/>
                  </a:path>
                </a:pathLst>
              </a:custGeom>
              <a:solidFill>
                <a:srgbClr val="084F45"/>
              </a:solidFill>
              <a:ln w="6361" cap="flat">
                <a:noFill/>
                <a:prstDash val="solid"/>
                <a:miter/>
              </a:ln>
            </p:spPr>
            <p:txBody>
              <a:bodyPr rtlCol="0" anchor="ctr"/>
              <a:lstStyle/>
              <a:p>
                <a:endParaRPr lang="da-DK"/>
              </a:p>
            </p:txBody>
          </p:sp>
          <p:sp>
            <p:nvSpPr>
              <p:cNvPr id="41" name="Freeform: Shape 44">
                <a:extLst>
                  <a:ext uri="{FF2B5EF4-FFF2-40B4-BE49-F238E27FC236}">
                    <a16:creationId xmlns:a16="http://schemas.microsoft.com/office/drawing/2014/main" id="{CFA6CAAB-DA5B-1CA9-7D12-979FED28CA1B}"/>
                  </a:ext>
                </a:extLst>
              </p:cNvPr>
              <p:cNvSpPr/>
              <p:nvPr/>
            </p:nvSpPr>
            <p:spPr>
              <a:xfrm>
                <a:off x="144604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42" name="Freeform: Shape 45">
                <a:extLst>
                  <a:ext uri="{FF2B5EF4-FFF2-40B4-BE49-F238E27FC236}">
                    <a16:creationId xmlns:a16="http://schemas.microsoft.com/office/drawing/2014/main" id="{B538BB2A-4ECD-CDFF-1C05-055FE25E8371}"/>
                  </a:ext>
                </a:extLst>
              </p:cNvPr>
              <p:cNvSpPr/>
              <p:nvPr/>
            </p:nvSpPr>
            <p:spPr>
              <a:xfrm>
                <a:off x="1465197" y="3552048"/>
                <a:ext cx="30921" cy="34547"/>
              </a:xfrm>
              <a:custGeom>
                <a:avLst/>
                <a:gdLst>
                  <a:gd name="connsiteX0" fmla="*/ 0 w 30921"/>
                  <a:gd name="connsiteY0" fmla="*/ 17242 h 34547"/>
                  <a:gd name="connsiteX1" fmla="*/ 5090 w 30921"/>
                  <a:gd name="connsiteY1" fmla="*/ 3690 h 34547"/>
                  <a:gd name="connsiteX2" fmla="*/ 15461 w 30921"/>
                  <a:gd name="connsiteY2" fmla="*/ 0 h 34547"/>
                  <a:gd name="connsiteX3" fmla="*/ 26595 w 30921"/>
                  <a:gd name="connsiteY3" fmla="*/ 4454 h 34547"/>
                  <a:gd name="connsiteX4" fmla="*/ 30921 w 30921"/>
                  <a:gd name="connsiteY4" fmla="*/ 16797 h 34547"/>
                  <a:gd name="connsiteX5" fmla="*/ 29012 w 30921"/>
                  <a:gd name="connsiteY5" fmla="*/ 26849 h 34547"/>
                  <a:gd name="connsiteX6" fmla="*/ 23477 w 30921"/>
                  <a:gd name="connsiteY6" fmla="*/ 32512 h 34547"/>
                  <a:gd name="connsiteX7" fmla="*/ 15524 w 30921"/>
                  <a:gd name="connsiteY7" fmla="*/ 34548 h 34547"/>
                  <a:gd name="connsiteX8" fmla="*/ 4326 w 30921"/>
                  <a:gd name="connsiteY8" fmla="*/ 30094 h 34547"/>
                  <a:gd name="connsiteX9" fmla="*/ 0 w 30921"/>
                  <a:gd name="connsiteY9" fmla="*/ 17242 h 34547"/>
                  <a:gd name="connsiteX10" fmla="*/ 5790 w 30921"/>
                  <a:gd name="connsiteY10" fmla="*/ 17242 h 34547"/>
                  <a:gd name="connsiteX11" fmla="*/ 8526 w 30921"/>
                  <a:gd name="connsiteY11" fmla="*/ 26722 h 34547"/>
                  <a:gd name="connsiteX12" fmla="*/ 15461 w 30921"/>
                  <a:gd name="connsiteY12" fmla="*/ 29903 h 34547"/>
                  <a:gd name="connsiteX13" fmla="*/ 22396 w 30921"/>
                  <a:gd name="connsiteY13" fmla="*/ 26722 h 34547"/>
                  <a:gd name="connsiteX14" fmla="*/ 25131 w 30921"/>
                  <a:gd name="connsiteY14" fmla="*/ 17051 h 34547"/>
                  <a:gd name="connsiteX15" fmla="*/ 22332 w 30921"/>
                  <a:gd name="connsiteY15" fmla="*/ 7762 h 34547"/>
                  <a:gd name="connsiteX16" fmla="*/ 15397 w 30921"/>
                  <a:gd name="connsiteY16" fmla="*/ 4581 h 34547"/>
                  <a:gd name="connsiteX17" fmla="*/ 8462 w 30921"/>
                  <a:gd name="connsiteY17" fmla="*/ 7698 h 34547"/>
                  <a:gd name="connsiteX18" fmla="*/ 5790 w 30921"/>
                  <a:gd name="connsiteY18" fmla="*/ 17242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921" h="34547">
                    <a:moveTo>
                      <a:pt x="0" y="17242"/>
                    </a:moveTo>
                    <a:cubicBezTo>
                      <a:pt x="0" y="11134"/>
                      <a:pt x="1718" y="6617"/>
                      <a:pt x="5090" y="3690"/>
                    </a:cubicBezTo>
                    <a:cubicBezTo>
                      <a:pt x="7953" y="1273"/>
                      <a:pt x="11389" y="0"/>
                      <a:pt x="15461" y="0"/>
                    </a:cubicBezTo>
                    <a:cubicBezTo>
                      <a:pt x="19978" y="0"/>
                      <a:pt x="23732" y="1463"/>
                      <a:pt x="26595" y="4454"/>
                    </a:cubicBezTo>
                    <a:cubicBezTo>
                      <a:pt x="29458" y="7444"/>
                      <a:pt x="30921" y="11516"/>
                      <a:pt x="30921" y="16797"/>
                    </a:cubicBezTo>
                    <a:cubicBezTo>
                      <a:pt x="30921" y="21059"/>
                      <a:pt x="30285" y="24368"/>
                      <a:pt x="29012" y="26849"/>
                    </a:cubicBezTo>
                    <a:cubicBezTo>
                      <a:pt x="27740" y="29267"/>
                      <a:pt x="25895" y="31176"/>
                      <a:pt x="23477" y="32512"/>
                    </a:cubicBezTo>
                    <a:cubicBezTo>
                      <a:pt x="21059" y="33848"/>
                      <a:pt x="18387" y="34548"/>
                      <a:pt x="15524" y="34548"/>
                    </a:cubicBezTo>
                    <a:cubicBezTo>
                      <a:pt x="10880" y="34548"/>
                      <a:pt x="7189" y="33085"/>
                      <a:pt x="4326" y="30094"/>
                    </a:cubicBezTo>
                    <a:cubicBezTo>
                      <a:pt x="1463" y="27104"/>
                      <a:pt x="0" y="22841"/>
                      <a:pt x="0" y="17242"/>
                    </a:cubicBezTo>
                    <a:close/>
                    <a:moveTo>
                      <a:pt x="5790" y="17242"/>
                    </a:moveTo>
                    <a:cubicBezTo>
                      <a:pt x="5790" y="21441"/>
                      <a:pt x="6681" y="24622"/>
                      <a:pt x="8526" y="26722"/>
                    </a:cubicBezTo>
                    <a:cubicBezTo>
                      <a:pt x="10371" y="28822"/>
                      <a:pt x="12661" y="29903"/>
                      <a:pt x="15461" y="29903"/>
                    </a:cubicBezTo>
                    <a:cubicBezTo>
                      <a:pt x="18260" y="29903"/>
                      <a:pt x="20550" y="28822"/>
                      <a:pt x="22396" y="26722"/>
                    </a:cubicBezTo>
                    <a:cubicBezTo>
                      <a:pt x="24241" y="24622"/>
                      <a:pt x="25131" y="21378"/>
                      <a:pt x="25131" y="17051"/>
                    </a:cubicBezTo>
                    <a:cubicBezTo>
                      <a:pt x="25131" y="12979"/>
                      <a:pt x="24241" y="9862"/>
                      <a:pt x="22332" y="7762"/>
                    </a:cubicBezTo>
                    <a:cubicBezTo>
                      <a:pt x="20487" y="5663"/>
                      <a:pt x="18196" y="4581"/>
                      <a:pt x="15397" y="4581"/>
                    </a:cubicBezTo>
                    <a:cubicBezTo>
                      <a:pt x="12598" y="4581"/>
                      <a:pt x="10307" y="5599"/>
                      <a:pt x="8462" y="7698"/>
                    </a:cubicBezTo>
                    <a:cubicBezTo>
                      <a:pt x="6681" y="9862"/>
                      <a:pt x="5790" y="13043"/>
                      <a:pt x="5790" y="17242"/>
                    </a:cubicBezTo>
                    <a:close/>
                  </a:path>
                </a:pathLst>
              </a:custGeom>
              <a:solidFill>
                <a:srgbClr val="084F45"/>
              </a:solidFill>
              <a:ln w="6361" cap="flat">
                <a:noFill/>
                <a:prstDash val="solid"/>
                <a:miter/>
              </a:ln>
            </p:spPr>
            <p:txBody>
              <a:bodyPr rtlCol="0" anchor="ctr"/>
              <a:lstStyle/>
              <a:p>
                <a:endParaRPr lang="da-DK"/>
              </a:p>
            </p:txBody>
          </p:sp>
          <p:sp>
            <p:nvSpPr>
              <p:cNvPr id="43" name="Freeform: Shape 46">
                <a:extLst>
                  <a:ext uri="{FF2B5EF4-FFF2-40B4-BE49-F238E27FC236}">
                    <a16:creationId xmlns:a16="http://schemas.microsoft.com/office/drawing/2014/main" id="{7E0086F1-E119-1881-A006-43FCEB60AEE9}"/>
                  </a:ext>
                </a:extLst>
              </p:cNvPr>
              <p:cNvSpPr/>
              <p:nvPr/>
            </p:nvSpPr>
            <p:spPr>
              <a:xfrm>
                <a:off x="1501018" y="3552048"/>
                <a:ext cx="28694" cy="34484"/>
              </a:xfrm>
              <a:custGeom>
                <a:avLst/>
                <a:gdLst>
                  <a:gd name="connsiteX0" fmla="*/ 23223 w 28694"/>
                  <a:gd name="connsiteY0" fmla="*/ 21696 h 34484"/>
                  <a:gd name="connsiteX1" fmla="*/ 28694 w 28694"/>
                  <a:gd name="connsiteY1" fmla="*/ 22396 h 34484"/>
                  <a:gd name="connsiteX2" fmla="*/ 24114 w 28694"/>
                  <a:gd name="connsiteY2" fmla="*/ 31303 h 34484"/>
                  <a:gd name="connsiteX3" fmla="*/ 15015 w 28694"/>
                  <a:gd name="connsiteY3" fmla="*/ 34484 h 34484"/>
                  <a:gd name="connsiteX4" fmla="*/ 4136 w 28694"/>
                  <a:gd name="connsiteY4" fmla="*/ 30030 h 34484"/>
                  <a:gd name="connsiteX5" fmla="*/ 0 w 28694"/>
                  <a:gd name="connsiteY5" fmla="*/ 17369 h 34484"/>
                  <a:gd name="connsiteX6" fmla="*/ 1782 w 28694"/>
                  <a:gd name="connsiteY6" fmla="*/ 8017 h 34484"/>
                  <a:gd name="connsiteX7" fmla="*/ 7190 w 28694"/>
                  <a:gd name="connsiteY7" fmla="*/ 2036 h 34484"/>
                  <a:gd name="connsiteX8" fmla="*/ 15079 w 28694"/>
                  <a:gd name="connsiteY8" fmla="*/ 0 h 34484"/>
                  <a:gd name="connsiteX9" fmla="*/ 23859 w 28694"/>
                  <a:gd name="connsiteY9" fmla="*/ 2736 h 34484"/>
                  <a:gd name="connsiteX10" fmla="*/ 28249 w 28694"/>
                  <a:gd name="connsiteY10" fmla="*/ 10434 h 34484"/>
                  <a:gd name="connsiteX11" fmla="*/ 22777 w 28694"/>
                  <a:gd name="connsiteY11" fmla="*/ 11261 h 34484"/>
                  <a:gd name="connsiteX12" fmla="*/ 20042 w 28694"/>
                  <a:gd name="connsiteY12" fmla="*/ 6235 h 34484"/>
                  <a:gd name="connsiteX13" fmla="*/ 15270 w 28694"/>
                  <a:gd name="connsiteY13" fmla="*/ 4581 h 34484"/>
                  <a:gd name="connsiteX14" fmla="*/ 8398 w 28694"/>
                  <a:gd name="connsiteY14" fmla="*/ 7635 h 34484"/>
                  <a:gd name="connsiteX15" fmla="*/ 5726 w 28694"/>
                  <a:gd name="connsiteY15" fmla="*/ 17242 h 34484"/>
                  <a:gd name="connsiteX16" fmla="*/ 8271 w 28694"/>
                  <a:gd name="connsiteY16" fmla="*/ 26913 h 34484"/>
                  <a:gd name="connsiteX17" fmla="*/ 14888 w 28694"/>
                  <a:gd name="connsiteY17" fmla="*/ 29903 h 34484"/>
                  <a:gd name="connsiteX18" fmla="*/ 20423 w 28694"/>
                  <a:gd name="connsiteY18" fmla="*/ 27867 h 34484"/>
                  <a:gd name="connsiteX19" fmla="*/ 23223 w 28694"/>
                  <a:gd name="connsiteY19" fmla="*/ 21696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694" h="34484">
                    <a:moveTo>
                      <a:pt x="23223" y="21696"/>
                    </a:moveTo>
                    <a:lnTo>
                      <a:pt x="28694" y="22396"/>
                    </a:lnTo>
                    <a:cubicBezTo>
                      <a:pt x="28122" y="26213"/>
                      <a:pt x="26531" y="29140"/>
                      <a:pt x="24114" y="31303"/>
                    </a:cubicBezTo>
                    <a:cubicBezTo>
                      <a:pt x="21632" y="33466"/>
                      <a:pt x="18578" y="34484"/>
                      <a:pt x="15015" y="34484"/>
                    </a:cubicBezTo>
                    <a:cubicBezTo>
                      <a:pt x="10498" y="34484"/>
                      <a:pt x="6871" y="33021"/>
                      <a:pt x="4136" y="30030"/>
                    </a:cubicBezTo>
                    <a:cubicBezTo>
                      <a:pt x="1400" y="27104"/>
                      <a:pt x="0" y="22841"/>
                      <a:pt x="0" y="17369"/>
                    </a:cubicBezTo>
                    <a:cubicBezTo>
                      <a:pt x="0" y="13806"/>
                      <a:pt x="573" y="10689"/>
                      <a:pt x="1782" y="8017"/>
                    </a:cubicBezTo>
                    <a:cubicBezTo>
                      <a:pt x="2990" y="5344"/>
                      <a:pt x="4772" y="3308"/>
                      <a:pt x="7190" y="2036"/>
                    </a:cubicBezTo>
                    <a:cubicBezTo>
                      <a:pt x="9607" y="700"/>
                      <a:pt x="12216" y="0"/>
                      <a:pt x="15079" y="0"/>
                    </a:cubicBezTo>
                    <a:cubicBezTo>
                      <a:pt x="18642" y="0"/>
                      <a:pt x="21569" y="891"/>
                      <a:pt x="23859" y="2736"/>
                    </a:cubicBezTo>
                    <a:cubicBezTo>
                      <a:pt x="26149" y="4581"/>
                      <a:pt x="27613" y="7126"/>
                      <a:pt x="28249" y="10434"/>
                    </a:cubicBezTo>
                    <a:lnTo>
                      <a:pt x="22777" y="11261"/>
                    </a:lnTo>
                    <a:cubicBezTo>
                      <a:pt x="22268" y="9035"/>
                      <a:pt x="21378" y="7380"/>
                      <a:pt x="20042" y="6235"/>
                    </a:cubicBezTo>
                    <a:cubicBezTo>
                      <a:pt x="18705" y="5090"/>
                      <a:pt x="17115" y="4581"/>
                      <a:pt x="15270" y="4581"/>
                    </a:cubicBezTo>
                    <a:cubicBezTo>
                      <a:pt x="12470" y="4581"/>
                      <a:pt x="10180" y="5599"/>
                      <a:pt x="8398" y="7635"/>
                    </a:cubicBezTo>
                    <a:cubicBezTo>
                      <a:pt x="6617" y="9671"/>
                      <a:pt x="5726" y="12852"/>
                      <a:pt x="5726" y="17242"/>
                    </a:cubicBezTo>
                    <a:cubicBezTo>
                      <a:pt x="5726" y="21696"/>
                      <a:pt x="6553" y="24877"/>
                      <a:pt x="8271" y="26913"/>
                    </a:cubicBezTo>
                    <a:cubicBezTo>
                      <a:pt x="9989" y="28949"/>
                      <a:pt x="12216" y="29903"/>
                      <a:pt x="14888" y="29903"/>
                    </a:cubicBezTo>
                    <a:cubicBezTo>
                      <a:pt x="17115" y="29903"/>
                      <a:pt x="18896" y="29203"/>
                      <a:pt x="20423" y="27867"/>
                    </a:cubicBezTo>
                    <a:cubicBezTo>
                      <a:pt x="21887" y="26531"/>
                      <a:pt x="22841" y="24495"/>
                      <a:pt x="23223" y="21696"/>
                    </a:cubicBezTo>
                    <a:close/>
                  </a:path>
                </a:pathLst>
              </a:custGeom>
              <a:solidFill>
                <a:srgbClr val="084F45"/>
              </a:solidFill>
              <a:ln w="6361" cap="flat">
                <a:noFill/>
                <a:prstDash val="solid"/>
                <a:miter/>
              </a:ln>
            </p:spPr>
            <p:txBody>
              <a:bodyPr rtlCol="0" anchor="ctr"/>
              <a:lstStyle/>
              <a:p>
                <a:endParaRPr lang="da-DK"/>
              </a:p>
            </p:txBody>
          </p:sp>
          <p:sp>
            <p:nvSpPr>
              <p:cNvPr id="44" name="Freeform: Shape 47">
                <a:extLst>
                  <a:ext uri="{FF2B5EF4-FFF2-40B4-BE49-F238E27FC236}">
                    <a16:creationId xmlns:a16="http://schemas.microsoft.com/office/drawing/2014/main" id="{2E778A9E-8184-9A70-E9E9-1F427F1C86C0}"/>
                  </a:ext>
                </a:extLst>
              </p:cNvPr>
              <p:cNvSpPr/>
              <p:nvPr/>
            </p:nvSpPr>
            <p:spPr>
              <a:xfrm>
                <a:off x="1532639" y="3552112"/>
                <a:ext cx="30412" cy="34484"/>
              </a:xfrm>
              <a:custGeom>
                <a:avLst/>
                <a:gdLst>
                  <a:gd name="connsiteX0" fmla="*/ 24432 w 30412"/>
                  <a:gd name="connsiteY0" fmla="*/ 23096 h 34484"/>
                  <a:gd name="connsiteX1" fmla="*/ 30221 w 30412"/>
                  <a:gd name="connsiteY1" fmla="*/ 23795 h 34484"/>
                  <a:gd name="connsiteX2" fmla="*/ 25132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108 w 30412"/>
                  <a:gd name="connsiteY16" fmla="*/ 13997 h 34484"/>
                  <a:gd name="connsiteX17" fmla="*/ 24559 w 30412"/>
                  <a:gd name="connsiteY17" fmla="*/ 13997 h 34484"/>
                  <a:gd name="connsiteX18" fmla="*/ 22459 w 30412"/>
                  <a:gd name="connsiteY18" fmla="*/ 7762 h 34484"/>
                  <a:gd name="connsiteX19" fmla="*/ 15524 w 30412"/>
                  <a:gd name="connsiteY19" fmla="*/ 4517 h 34484"/>
                  <a:gd name="connsiteX20" fmla="*/ 9035 w 30412"/>
                  <a:gd name="connsiteY20" fmla="*/ 7126 h 34484"/>
                  <a:gd name="connsiteX21" fmla="*/ 6108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2"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108" y="13997"/>
                    </a:moveTo>
                    <a:lnTo>
                      <a:pt x="24559" y="13997"/>
                    </a:lnTo>
                    <a:cubicBezTo>
                      <a:pt x="24304" y="11198"/>
                      <a:pt x="23605" y="9162"/>
                      <a:pt x="22459" y="7762"/>
                    </a:cubicBezTo>
                    <a:cubicBezTo>
                      <a:pt x="20678" y="5599"/>
                      <a:pt x="18387" y="4517"/>
                      <a:pt x="15524" y="4517"/>
                    </a:cubicBezTo>
                    <a:cubicBezTo>
                      <a:pt x="12979" y="4517"/>
                      <a:pt x="10816" y="5408"/>
                      <a:pt x="9035" y="7126"/>
                    </a:cubicBezTo>
                    <a:cubicBezTo>
                      <a:pt x="7253" y="8844"/>
                      <a:pt x="6299" y="11134"/>
                      <a:pt x="6108" y="13997"/>
                    </a:cubicBezTo>
                    <a:close/>
                  </a:path>
                </a:pathLst>
              </a:custGeom>
              <a:solidFill>
                <a:srgbClr val="084F45"/>
              </a:solidFill>
              <a:ln w="6361" cap="flat">
                <a:noFill/>
                <a:prstDash val="solid"/>
                <a:miter/>
              </a:ln>
            </p:spPr>
            <p:txBody>
              <a:bodyPr rtlCol="0" anchor="ctr"/>
              <a:lstStyle/>
              <a:p>
                <a:endParaRPr lang="da-DK"/>
              </a:p>
            </p:txBody>
          </p:sp>
          <p:sp>
            <p:nvSpPr>
              <p:cNvPr id="45" name="Freeform: Shape 48">
                <a:extLst>
                  <a:ext uri="{FF2B5EF4-FFF2-40B4-BE49-F238E27FC236}">
                    <a16:creationId xmlns:a16="http://schemas.microsoft.com/office/drawing/2014/main" id="{56629D87-3371-40F1-4042-FEC863F7F594}"/>
                  </a:ext>
                </a:extLst>
              </p:cNvPr>
              <p:cNvSpPr/>
              <p:nvPr/>
            </p:nvSpPr>
            <p:spPr>
              <a:xfrm>
                <a:off x="1567632"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46" name="Freeform: Shape 49">
                <a:extLst>
                  <a:ext uri="{FF2B5EF4-FFF2-40B4-BE49-F238E27FC236}">
                    <a16:creationId xmlns:a16="http://schemas.microsoft.com/office/drawing/2014/main" id="{CF82E3F4-334C-9F02-5DB8-CCEC05DD37B2}"/>
                  </a:ext>
                </a:extLst>
              </p:cNvPr>
              <p:cNvSpPr/>
              <p:nvPr/>
            </p:nvSpPr>
            <p:spPr>
              <a:xfrm>
                <a:off x="1599444"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47" name="Freeform: Shape 50">
                <a:extLst>
                  <a:ext uri="{FF2B5EF4-FFF2-40B4-BE49-F238E27FC236}">
                    <a16:creationId xmlns:a16="http://schemas.microsoft.com/office/drawing/2014/main" id="{BBFDE386-BAC8-EBFB-A27F-C2C9B9F75E6C}"/>
                  </a:ext>
                </a:extLst>
              </p:cNvPr>
              <p:cNvSpPr/>
              <p:nvPr/>
            </p:nvSpPr>
            <p:spPr>
              <a:xfrm>
                <a:off x="1631701" y="3552112"/>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48" name="Freeform: Shape 51">
                <a:extLst>
                  <a:ext uri="{FF2B5EF4-FFF2-40B4-BE49-F238E27FC236}">
                    <a16:creationId xmlns:a16="http://schemas.microsoft.com/office/drawing/2014/main" id="{6B221814-9289-1D5B-C224-0535528F5996}"/>
                  </a:ext>
                </a:extLst>
              </p:cNvPr>
              <p:cNvSpPr/>
              <p:nvPr/>
            </p:nvSpPr>
            <p:spPr>
              <a:xfrm>
                <a:off x="166885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544"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49" name="Freeform: Shape 52">
                <a:extLst>
                  <a:ext uri="{FF2B5EF4-FFF2-40B4-BE49-F238E27FC236}">
                    <a16:creationId xmlns:a16="http://schemas.microsoft.com/office/drawing/2014/main" id="{32B5D9D5-3A71-0E8D-3C01-3B380F3843D4}"/>
                  </a:ext>
                </a:extLst>
              </p:cNvPr>
              <p:cNvSpPr/>
              <p:nvPr/>
            </p:nvSpPr>
            <p:spPr>
              <a:xfrm>
                <a:off x="1688136" y="3579470"/>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sp>
            <p:nvSpPr>
              <p:cNvPr id="50" name="Freeform: Shape 53">
                <a:extLst>
                  <a:ext uri="{FF2B5EF4-FFF2-40B4-BE49-F238E27FC236}">
                    <a16:creationId xmlns:a16="http://schemas.microsoft.com/office/drawing/2014/main" id="{553745D4-3A0E-5224-AD1A-0B499A909B2F}"/>
                  </a:ext>
                </a:extLst>
              </p:cNvPr>
              <p:cNvSpPr/>
              <p:nvPr/>
            </p:nvSpPr>
            <p:spPr>
              <a:xfrm>
                <a:off x="1202812" y="3622989"/>
                <a:ext cx="35883" cy="45554"/>
              </a:xfrm>
              <a:custGeom>
                <a:avLst/>
                <a:gdLst>
                  <a:gd name="connsiteX0" fmla="*/ 0 w 35883"/>
                  <a:gd name="connsiteY0" fmla="*/ 45555 h 45554"/>
                  <a:gd name="connsiteX1" fmla="*/ 0 w 35883"/>
                  <a:gd name="connsiteY1" fmla="*/ 0 h 45554"/>
                  <a:gd name="connsiteX2" fmla="*/ 6172 w 35883"/>
                  <a:gd name="connsiteY2" fmla="*/ 0 h 45554"/>
                  <a:gd name="connsiteX3" fmla="*/ 30094 w 35883"/>
                  <a:gd name="connsiteY3" fmla="*/ 35757 h 45554"/>
                  <a:gd name="connsiteX4" fmla="*/ 30094 w 35883"/>
                  <a:gd name="connsiteY4" fmla="*/ 0 h 45554"/>
                  <a:gd name="connsiteX5" fmla="*/ 35884 w 35883"/>
                  <a:gd name="connsiteY5" fmla="*/ 0 h 45554"/>
                  <a:gd name="connsiteX6" fmla="*/ 35884 w 35883"/>
                  <a:gd name="connsiteY6" fmla="*/ 45555 h 45554"/>
                  <a:gd name="connsiteX7" fmla="*/ 29712 w 35883"/>
                  <a:gd name="connsiteY7" fmla="*/ 45555 h 45554"/>
                  <a:gd name="connsiteX8" fmla="*/ 5790 w 35883"/>
                  <a:gd name="connsiteY8" fmla="*/ 9798 h 45554"/>
                  <a:gd name="connsiteX9" fmla="*/ 5790 w 35883"/>
                  <a:gd name="connsiteY9" fmla="*/ 45555 h 45554"/>
                  <a:gd name="connsiteX10" fmla="*/ 0 w 35883"/>
                  <a:gd name="connsiteY10"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83" h="45554">
                    <a:moveTo>
                      <a:pt x="0" y="45555"/>
                    </a:moveTo>
                    <a:lnTo>
                      <a:pt x="0" y="0"/>
                    </a:lnTo>
                    <a:lnTo>
                      <a:pt x="6172" y="0"/>
                    </a:lnTo>
                    <a:lnTo>
                      <a:pt x="30094" y="35757"/>
                    </a:lnTo>
                    <a:lnTo>
                      <a:pt x="30094" y="0"/>
                    </a:lnTo>
                    <a:lnTo>
                      <a:pt x="35884" y="0"/>
                    </a:lnTo>
                    <a:lnTo>
                      <a:pt x="35884" y="45555"/>
                    </a:lnTo>
                    <a:lnTo>
                      <a:pt x="29712" y="45555"/>
                    </a:lnTo>
                    <a:lnTo>
                      <a:pt x="5790" y="9798"/>
                    </a:lnTo>
                    <a:lnTo>
                      <a:pt x="5790" y="45555"/>
                    </a:lnTo>
                    <a:lnTo>
                      <a:pt x="0" y="45555"/>
                    </a:lnTo>
                    <a:close/>
                  </a:path>
                </a:pathLst>
              </a:custGeom>
              <a:solidFill>
                <a:srgbClr val="084F45"/>
              </a:solidFill>
              <a:ln w="6361" cap="flat">
                <a:noFill/>
                <a:prstDash val="solid"/>
                <a:miter/>
              </a:ln>
            </p:spPr>
            <p:txBody>
              <a:bodyPr rtlCol="0" anchor="ctr"/>
              <a:lstStyle/>
              <a:p>
                <a:endParaRPr lang="da-DK"/>
              </a:p>
            </p:txBody>
          </p:sp>
          <p:sp>
            <p:nvSpPr>
              <p:cNvPr id="51" name="Freeform: Shape 54">
                <a:extLst>
                  <a:ext uri="{FF2B5EF4-FFF2-40B4-BE49-F238E27FC236}">
                    <a16:creationId xmlns:a16="http://schemas.microsoft.com/office/drawing/2014/main" id="{191123C2-954A-7444-1C0A-E40C5D0AD85D}"/>
                  </a:ext>
                </a:extLst>
              </p:cNvPr>
              <p:cNvSpPr/>
              <p:nvPr/>
            </p:nvSpPr>
            <p:spPr>
              <a:xfrm>
                <a:off x="1244931" y="3635523"/>
                <a:ext cx="30284" cy="46381"/>
              </a:xfrm>
              <a:custGeom>
                <a:avLst/>
                <a:gdLst>
                  <a:gd name="connsiteX0" fmla="*/ 2927 w 30284"/>
                  <a:gd name="connsiteY0" fmla="*/ 45682 h 46381"/>
                  <a:gd name="connsiteX1" fmla="*/ 2290 w 30284"/>
                  <a:gd name="connsiteY1" fmla="*/ 40401 h 46381"/>
                  <a:gd name="connsiteX2" fmla="*/ 5472 w 30284"/>
                  <a:gd name="connsiteY2" fmla="*/ 40910 h 46381"/>
                  <a:gd name="connsiteX3" fmla="*/ 8462 w 30284"/>
                  <a:gd name="connsiteY3" fmla="*/ 40274 h 46381"/>
                  <a:gd name="connsiteX4" fmla="*/ 10307 w 30284"/>
                  <a:gd name="connsiteY4" fmla="*/ 38556 h 46381"/>
                  <a:gd name="connsiteX5" fmla="*/ 12025 w 30284"/>
                  <a:gd name="connsiteY5" fmla="*/ 34421 h 46381"/>
                  <a:gd name="connsiteX6" fmla="*/ 12534 w 30284"/>
                  <a:gd name="connsiteY6" fmla="*/ 33085 h 46381"/>
                  <a:gd name="connsiteX7" fmla="*/ 0 w 30284"/>
                  <a:gd name="connsiteY7" fmla="*/ 0 h 46381"/>
                  <a:gd name="connsiteX8" fmla="*/ 6044 w 30284"/>
                  <a:gd name="connsiteY8" fmla="*/ 0 h 46381"/>
                  <a:gd name="connsiteX9" fmla="*/ 12916 w 30284"/>
                  <a:gd name="connsiteY9" fmla="*/ 19087 h 46381"/>
                  <a:gd name="connsiteX10" fmla="*/ 15333 w 30284"/>
                  <a:gd name="connsiteY10" fmla="*/ 26722 h 46381"/>
                  <a:gd name="connsiteX11" fmla="*/ 17624 w 30284"/>
                  <a:gd name="connsiteY11" fmla="*/ 19215 h 46381"/>
                  <a:gd name="connsiteX12" fmla="*/ 24686 w 30284"/>
                  <a:gd name="connsiteY12" fmla="*/ 0 h 46381"/>
                  <a:gd name="connsiteX13" fmla="*/ 30285 w 30284"/>
                  <a:gd name="connsiteY13" fmla="*/ 0 h 46381"/>
                  <a:gd name="connsiteX14" fmla="*/ 17751 w 30284"/>
                  <a:gd name="connsiteY14" fmla="*/ 33530 h 46381"/>
                  <a:gd name="connsiteX15" fmla="*/ 14633 w 30284"/>
                  <a:gd name="connsiteY15" fmla="*/ 41037 h 46381"/>
                  <a:gd name="connsiteX16" fmla="*/ 11198 w 30284"/>
                  <a:gd name="connsiteY16" fmla="*/ 45109 h 46381"/>
                  <a:gd name="connsiteX17" fmla="*/ 6617 w 30284"/>
                  <a:gd name="connsiteY17" fmla="*/ 46382 h 46381"/>
                  <a:gd name="connsiteX18" fmla="*/ 2927 w 30284"/>
                  <a:gd name="connsiteY18" fmla="*/ 45682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284" h="46381">
                    <a:moveTo>
                      <a:pt x="2927" y="45682"/>
                    </a:moveTo>
                    <a:lnTo>
                      <a:pt x="2290" y="40401"/>
                    </a:lnTo>
                    <a:cubicBezTo>
                      <a:pt x="3499" y="40719"/>
                      <a:pt x="4581" y="40910"/>
                      <a:pt x="5472" y="40910"/>
                    </a:cubicBezTo>
                    <a:cubicBezTo>
                      <a:pt x="6744" y="40910"/>
                      <a:pt x="7698" y="40719"/>
                      <a:pt x="8462" y="40274"/>
                    </a:cubicBezTo>
                    <a:cubicBezTo>
                      <a:pt x="9225" y="39829"/>
                      <a:pt x="9798" y="39256"/>
                      <a:pt x="10307" y="38556"/>
                    </a:cubicBezTo>
                    <a:cubicBezTo>
                      <a:pt x="10625" y="37983"/>
                      <a:pt x="11198" y="36584"/>
                      <a:pt x="12025" y="34421"/>
                    </a:cubicBezTo>
                    <a:cubicBezTo>
                      <a:pt x="12152" y="34103"/>
                      <a:pt x="12279" y="33657"/>
                      <a:pt x="12534" y="33085"/>
                    </a:cubicBezTo>
                    <a:lnTo>
                      <a:pt x="0" y="0"/>
                    </a:lnTo>
                    <a:lnTo>
                      <a:pt x="6044" y="0"/>
                    </a:lnTo>
                    <a:lnTo>
                      <a:pt x="12916" y="19087"/>
                    </a:lnTo>
                    <a:cubicBezTo>
                      <a:pt x="13806" y="21505"/>
                      <a:pt x="14633" y="24050"/>
                      <a:pt x="15333" y="26722"/>
                    </a:cubicBezTo>
                    <a:cubicBezTo>
                      <a:pt x="15970" y="24177"/>
                      <a:pt x="16733" y="21632"/>
                      <a:pt x="17624" y="19215"/>
                    </a:cubicBezTo>
                    <a:lnTo>
                      <a:pt x="24686" y="0"/>
                    </a:lnTo>
                    <a:lnTo>
                      <a:pt x="30285" y="0"/>
                    </a:lnTo>
                    <a:lnTo>
                      <a:pt x="17751" y="33530"/>
                    </a:lnTo>
                    <a:cubicBezTo>
                      <a:pt x="16415" y="37156"/>
                      <a:pt x="15333" y="39638"/>
                      <a:pt x="14633" y="41037"/>
                    </a:cubicBezTo>
                    <a:cubicBezTo>
                      <a:pt x="13616" y="42883"/>
                      <a:pt x="12470" y="44219"/>
                      <a:pt x="11198" y="45109"/>
                    </a:cubicBezTo>
                    <a:cubicBezTo>
                      <a:pt x="9925" y="46000"/>
                      <a:pt x="8398" y="46382"/>
                      <a:pt x="6617" y="46382"/>
                    </a:cubicBezTo>
                    <a:cubicBezTo>
                      <a:pt x="5472" y="46382"/>
                      <a:pt x="4263" y="46127"/>
                      <a:pt x="2927" y="45682"/>
                    </a:cubicBezTo>
                    <a:close/>
                  </a:path>
                </a:pathLst>
              </a:custGeom>
              <a:solidFill>
                <a:srgbClr val="084F45"/>
              </a:solidFill>
              <a:ln w="6361" cap="flat">
                <a:noFill/>
                <a:prstDash val="solid"/>
                <a:miter/>
              </a:ln>
            </p:spPr>
            <p:txBody>
              <a:bodyPr rtlCol="0" anchor="ctr"/>
              <a:lstStyle/>
              <a:p>
                <a:endParaRPr lang="da-DK"/>
              </a:p>
            </p:txBody>
          </p:sp>
          <p:sp>
            <p:nvSpPr>
              <p:cNvPr id="52" name="Freeform: Shape 55">
                <a:extLst>
                  <a:ext uri="{FF2B5EF4-FFF2-40B4-BE49-F238E27FC236}">
                    <a16:creationId xmlns:a16="http://schemas.microsoft.com/office/drawing/2014/main" id="{EC4E653B-E676-2293-4456-9F140BE8D833}"/>
                  </a:ext>
                </a:extLst>
              </p:cNvPr>
              <p:cNvSpPr/>
              <p:nvPr/>
            </p:nvSpPr>
            <p:spPr>
              <a:xfrm>
                <a:off x="1278143" y="3634823"/>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96"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53" name="Freeform: Shape 56">
                <a:extLst>
                  <a:ext uri="{FF2B5EF4-FFF2-40B4-BE49-F238E27FC236}">
                    <a16:creationId xmlns:a16="http://schemas.microsoft.com/office/drawing/2014/main" id="{9B2E5F86-DAC4-0B75-44B9-DC949842C59F}"/>
                  </a:ext>
                </a:extLst>
              </p:cNvPr>
              <p:cNvSpPr/>
              <p:nvPr/>
            </p:nvSpPr>
            <p:spPr>
              <a:xfrm>
                <a:off x="1332987" y="3634823"/>
                <a:ext cx="44727" cy="33784"/>
              </a:xfrm>
              <a:custGeom>
                <a:avLst/>
                <a:gdLst>
                  <a:gd name="connsiteX0" fmla="*/ 0 w 44727"/>
                  <a:gd name="connsiteY0" fmla="*/ 33721 h 33784"/>
                  <a:gd name="connsiteX1" fmla="*/ 0 w 44727"/>
                  <a:gd name="connsiteY1" fmla="*/ 700 h 33784"/>
                  <a:gd name="connsiteX2" fmla="*/ 5026 w 44727"/>
                  <a:gd name="connsiteY2" fmla="*/ 700 h 33784"/>
                  <a:gd name="connsiteX3" fmla="*/ 5026 w 44727"/>
                  <a:gd name="connsiteY3" fmla="*/ 5344 h 33784"/>
                  <a:gd name="connsiteX4" fmla="*/ 9162 w 44727"/>
                  <a:gd name="connsiteY4" fmla="*/ 1463 h 33784"/>
                  <a:gd name="connsiteX5" fmla="*/ 15015 w 44727"/>
                  <a:gd name="connsiteY5" fmla="*/ 0 h 33784"/>
                  <a:gd name="connsiteX6" fmla="*/ 21060 w 44727"/>
                  <a:gd name="connsiteY6" fmla="*/ 1527 h 33784"/>
                  <a:gd name="connsiteX7" fmla="*/ 24368 w 44727"/>
                  <a:gd name="connsiteY7" fmla="*/ 5790 h 33784"/>
                  <a:gd name="connsiteX8" fmla="*/ 34548 w 44727"/>
                  <a:gd name="connsiteY8" fmla="*/ 0 h 33784"/>
                  <a:gd name="connsiteX9" fmla="*/ 42119 w 44727"/>
                  <a:gd name="connsiteY9" fmla="*/ 2736 h 33784"/>
                  <a:gd name="connsiteX10" fmla="*/ 44728 w 44727"/>
                  <a:gd name="connsiteY10" fmla="*/ 11134 h 33784"/>
                  <a:gd name="connsiteX11" fmla="*/ 44728 w 44727"/>
                  <a:gd name="connsiteY11" fmla="*/ 33784 h 33784"/>
                  <a:gd name="connsiteX12" fmla="*/ 39192 w 44727"/>
                  <a:gd name="connsiteY12" fmla="*/ 33784 h 33784"/>
                  <a:gd name="connsiteX13" fmla="*/ 39192 w 44727"/>
                  <a:gd name="connsiteY13" fmla="*/ 12979 h 33784"/>
                  <a:gd name="connsiteX14" fmla="*/ 38620 w 44727"/>
                  <a:gd name="connsiteY14" fmla="*/ 8144 h 33784"/>
                  <a:gd name="connsiteX15" fmla="*/ 36647 w 44727"/>
                  <a:gd name="connsiteY15" fmla="*/ 5790 h 33784"/>
                  <a:gd name="connsiteX16" fmla="*/ 33275 w 44727"/>
                  <a:gd name="connsiteY16" fmla="*/ 4899 h 33784"/>
                  <a:gd name="connsiteX17" fmla="*/ 27486 w 44727"/>
                  <a:gd name="connsiteY17" fmla="*/ 7190 h 33784"/>
                  <a:gd name="connsiteX18" fmla="*/ 25195 w 44727"/>
                  <a:gd name="connsiteY18" fmla="*/ 14570 h 33784"/>
                  <a:gd name="connsiteX19" fmla="*/ 25195 w 44727"/>
                  <a:gd name="connsiteY19" fmla="*/ 33721 h 33784"/>
                  <a:gd name="connsiteX20" fmla="*/ 19596 w 44727"/>
                  <a:gd name="connsiteY20" fmla="*/ 33721 h 33784"/>
                  <a:gd name="connsiteX21" fmla="*/ 19596 w 44727"/>
                  <a:gd name="connsiteY21" fmla="*/ 12279 h 33784"/>
                  <a:gd name="connsiteX22" fmla="*/ 18260 w 44727"/>
                  <a:gd name="connsiteY22" fmla="*/ 6680 h 33784"/>
                  <a:gd name="connsiteX23" fmla="*/ 13806 w 44727"/>
                  <a:gd name="connsiteY23" fmla="*/ 4835 h 33784"/>
                  <a:gd name="connsiteX24" fmla="*/ 9416 w 44727"/>
                  <a:gd name="connsiteY24" fmla="*/ 6108 h 33784"/>
                  <a:gd name="connsiteX25" fmla="*/ 6490 w 44727"/>
                  <a:gd name="connsiteY25" fmla="*/ 9734 h 33784"/>
                  <a:gd name="connsiteX26" fmla="*/ 5599 w 44727"/>
                  <a:gd name="connsiteY26" fmla="*/ 16606 h 33784"/>
                  <a:gd name="connsiteX27" fmla="*/ 5599 w 44727"/>
                  <a:gd name="connsiteY27" fmla="*/ 33721 h 33784"/>
                  <a:gd name="connsiteX28" fmla="*/ 0 w 44727"/>
                  <a:gd name="connsiteY28"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727" h="33784">
                    <a:moveTo>
                      <a:pt x="0" y="33721"/>
                    </a:moveTo>
                    <a:lnTo>
                      <a:pt x="0" y="700"/>
                    </a:lnTo>
                    <a:lnTo>
                      <a:pt x="5026" y="700"/>
                    </a:lnTo>
                    <a:lnTo>
                      <a:pt x="5026" y="5344"/>
                    </a:lnTo>
                    <a:cubicBezTo>
                      <a:pt x="6044" y="3754"/>
                      <a:pt x="7444" y="2418"/>
                      <a:pt x="9162" y="1463"/>
                    </a:cubicBezTo>
                    <a:cubicBezTo>
                      <a:pt x="10880" y="509"/>
                      <a:pt x="12852" y="0"/>
                      <a:pt x="15015" y="0"/>
                    </a:cubicBezTo>
                    <a:cubicBezTo>
                      <a:pt x="17433" y="0"/>
                      <a:pt x="19469" y="509"/>
                      <a:pt x="21060" y="1527"/>
                    </a:cubicBezTo>
                    <a:cubicBezTo>
                      <a:pt x="22650" y="2545"/>
                      <a:pt x="23732" y="3945"/>
                      <a:pt x="24368" y="5790"/>
                    </a:cubicBezTo>
                    <a:cubicBezTo>
                      <a:pt x="26977" y="1909"/>
                      <a:pt x="30349" y="0"/>
                      <a:pt x="34548" y="0"/>
                    </a:cubicBezTo>
                    <a:cubicBezTo>
                      <a:pt x="37793" y="0"/>
                      <a:pt x="40338" y="891"/>
                      <a:pt x="42119" y="2736"/>
                    </a:cubicBezTo>
                    <a:cubicBezTo>
                      <a:pt x="43901" y="4581"/>
                      <a:pt x="44728" y="7317"/>
                      <a:pt x="44728" y="11134"/>
                    </a:cubicBezTo>
                    <a:lnTo>
                      <a:pt x="44728" y="33784"/>
                    </a:lnTo>
                    <a:lnTo>
                      <a:pt x="39192" y="33784"/>
                    </a:lnTo>
                    <a:lnTo>
                      <a:pt x="39192" y="12979"/>
                    </a:lnTo>
                    <a:cubicBezTo>
                      <a:pt x="39192" y="10752"/>
                      <a:pt x="39001" y="9162"/>
                      <a:pt x="38620" y="8144"/>
                    </a:cubicBezTo>
                    <a:cubicBezTo>
                      <a:pt x="38238" y="7190"/>
                      <a:pt x="37602" y="6362"/>
                      <a:pt x="36647" y="5790"/>
                    </a:cubicBezTo>
                    <a:cubicBezTo>
                      <a:pt x="35693" y="5217"/>
                      <a:pt x="34548" y="4899"/>
                      <a:pt x="33275" y="4899"/>
                    </a:cubicBezTo>
                    <a:cubicBezTo>
                      <a:pt x="30985" y="4899"/>
                      <a:pt x="29013" y="5662"/>
                      <a:pt x="27486" y="7190"/>
                    </a:cubicBezTo>
                    <a:cubicBezTo>
                      <a:pt x="25959" y="8716"/>
                      <a:pt x="25195" y="11198"/>
                      <a:pt x="25195" y="14570"/>
                    </a:cubicBezTo>
                    <a:lnTo>
                      <a:pt x="25195" y="33721"/>
                    </a:lnTo>
                    <a:lnTo>
                      <a:pt x="19596" y="33721"/>
                    </a:lnTo>
                    <a:lnTo>
                      <a:pt x="19596" y="12279"/>
                    </a:lnTo>
                    <a:cubicBezTo>
                      <a:pt x="19596" y="9798"/>
                      <a:pt x="19151" y="7953"/>
                      <a:pt x="18260" y="6680"/>
                    </a:cubicBezTo>
                    <a:cubicBezTo>
                      <a:pt x="17369" y="5408"/>
                      <a:pt x="15842" y="4835"/>
                      <a:pt x="13806" y="4835"/>
                    </a:cubicBezTo>
                    <a:cubicBezTo>
                      <a:pt x="12216" y="4835"/>
                      <a:pt x="10752" y="5281"/>
                      <a:pt x="9416" y="6108"/>
                    </a:cubicBezTo>
                    <a:cubicBezTo>
                      <a:pt x="8080" y="6935"/>
                      <a:pt x="7126" y="8144"/>
                      <a:pt x="6490" y="9734"/>
                    </a:cubicBezTo>
                    <a:cubicBezTo>
                      <a:pt x="5917" y="11325"/>
                      <a:pt x="5599" y="13615"/>
                      <a:pt x="5599" y="16606"/>
                    </a:cubicBezTo>
                    <a:lnTo>
                      <a:pt x="5599" y="33721"/>
                    </a:lnTo>
                    <a:lnTo>
                      <a:pt x="0" y="33721"/>
                    </a:lnTo>
                    <a:close/>
                  </a:path>
                </a:pathLst>
              </a:custGeom>
              <a:solidFill>
                <a:srgbClr val="084F45"/>
              </a:solidFill>
              <a:ln w="6361" cap="flat">
                <a:noFill/>
                <a:prstDash val="solid"/>
                <a:miter/>
              </a:ln>
            </p:spPr>
            <p:txBody>
              <a:bodyPr rtlCol="0" anchor="ctr"/>
              <a:lstStyle/>
              <a:p>
                <a:endParaRPr lang="da-DK"/>
              </a:p>
            </p:txBody>
          </p:sp>
          <p:sp>
            <p:nvSpPr>
              <p:cNvPr id="54" name="Freeform: Shape 57">
                <a:extLst>
                  <a:ext uri="{FF2B5EF4-FFF2-40B4-BE49-F238E27FC236}">
                    <a16:creationId xmlns:a16="http://schemas.microsoft.com/office/drawing/2014/main" id="{22DE491A-F878-54A4-2416-E5BA4DA80A29}"/>
                  </a:ext>
                </a:extLst>
              </p:cNvPr>
              <p:cNvSpPr/>
              <p:nvPr/>
            </p:nvSpPr>
            <p:spPr>
              <a:xfrm>
                <a:off x="1385858" y="3635586"/>
                <a:ext cx="26658" cy="33720"/>
              </a:xfrm>
              <a:custGeom>
                <a:avLst/>
                <a:gdLst>
                  <a:gd name="connsiteX0" fmla="*/ 21759 w 26658"/>
                  <a:gd name="connsiteY0" fmla="*/ 32957 h 33720"/>
                  <a:gd name="connsiteX1" fmla="*/ 21759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759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759" y="32957"/>
                    </a:moveTo>
                    <a:lnTo>
                      <a:pt x="21759" y="28122"/>
                    </a:lnTo>
                    <a:cubicBezTo>
                      <a:pt x="19214" y="31876"/>
                      <a:pt x="15715"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99" y="25704"/>
                      <a:pt x="6999" y="26849"/>
                      <a:pt x="8144" y="27676"/>
                    </a:cubicBezTo>
                    <a:cubicBezTo>
                      <a:pt x="9289" y="28504"/>
                      <a:pt x="10689" y="28949"/>
                      <a:pt x="12343" y="28949"/>
                    </a:cubicBezTo>
                    <a:cubicBezTo>
                      <a:pt x="13997" y="28949"/>
                      <a:pt x="15588" y="28504"/>
                      <a:pt x="17051" y="27676"/>
                    </a:cubicBezTo>
                    <a:cubicBezTo>
                      <a:pt x="18515" y="26849"/>
                      <a:pt x="19533" y="25640"/>
                      <a:pt x="20169" y="24177"/>
                    </a:cubicBezTo>
                    <a:cubicBezTo>
                      <a:pt x="20805" y="22714"/>
                      <a:pt x="21059" y="20551"/>
                      <a:pt x="21059" y="17751"/>
                    </a:cubicBezTo>
                    <a:lnTo>
                      <a:pt x="21059" y="64"/>
                    </a:lnTo>
                    <a:lnTo>
                      <a:pt x="26658" y="64"/>
                    </a:lnTo>
                    <a:lnTo>
                      <a:pt x="26658" y="33085"/>
                    </a:lnTo>
                    <a:lnTo>
                      <a:pt x="21759" y="33085"/>
                    </a:lnTo>
                    <a:close/>
                  </a:path>
                </a:pathLst>
              </a:custGeom>
              <a:solidFill>
                <a:srgbClr val="084F45"/>
              </a:solidFill>
              <a:ln w="6361" cap="flat">
                <a:noFill/>
                <a:prstDash val="solid"/>
                <a:miter/>
              </a:ln>
            </p:spPr>
            <p:txBody>
              <a:bodyPr rtlCol="0" anchor="ctr"/>
              <a:lstStyle/>
              <a:p>
                <a:endParaRPr lang="da-DK"/>
              </a:p>
            </p:txBody>
          </p:sp>
          <p:sp>
            <p:nvSpPr>
              <p:cNvPr id="55" name="Freeform: Shape 58">
                <a:extLst>
                  <a:ext uri="{FF2B5EF4-FFF2-40B4-BE49-F238E27FC236}">
                    <a16:creationId xmlns:a16="http://schemas.microsoft.com/office/drawing/2014/main" id="{9C5914A6-8756-8160-3575-99EEED748AE8}"/>
                  </a:ext>
                </a:extLst>
              </p:cNvPr>
              <p:cNvSpPr/>
              <p:nvPr/>
            </p:nvSpPr>
            <p:spPr>
              <a:xfrm>
                <a:off x="1421233" y="3622989"/>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56" name="Freeform: Shape 59">
                <a:extLst>
                  <a:ext uri="{FF2B5EF4-FFF2-40B4-BE49-F238E27FC236}">
                    <a16:creationId xmlns:a16="http://schemas.microsoft.com/office/drawing/2014/main" id="{2A31197F-859E-1B65-0FDB-D1A5614DBC83}"/>
                  </a:ext>
                </a:extLst>
              </p:cNvPr>
              <p:cNvSpPr/>
              <p:nvPr/>
            </p:nvSpPr>
            <p:spPr>
              <a:xfrm>
                <a:off x="1435549" y="3622989"/>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57" name="Freeform: Shape 60">
                <a:extLst>
                  <a:ext uri="{FF2B5EF4-FFF2-40B4-BE49-F238E27FC236}">
                    <a16:creationId xmlns:a16="http://schemas.microsoft.com/office/drawing/2014/main" id="{CDBA3CB6-D8EA-CE8C-4213-F1A0822B24A3}"/>
                  </a:ext>
                </a:extLst>
              </p:cNvPr>
              <p:cNvSpPr/>
              <p:nvPr/>
            </p:nvSpPr>
            <p:spPr>
              <a:xfrm>
                <a:off x="1447383" y="3634823"/>
                <a:ext cx="29076" cy="47145"/>
              </a:xfrm>
              <a:custGeom>
                <a:avLst/>
                <a:gdLst>
                  <a:gd name="connsiteX0" fmla="*/ 1209 w 29076"/>
                  <a:gd name="connsiteY0" fmla="*/ 36393 h 47145"/>
                  <a:gd name="connsiteX1" fmla="*/ 6617 w 29076"/>
                  <a:gd name="connsiteY1" fmla="*/ 37220 h 47145"/>
                  <a:gd name="connsiteX2" fmla="*/ 8526 w 29076"/>
                  <a:gd name="connsiteY2" fmla="*/ 40910 h 47145"/>
                  <a:gd name="connsiteX3" fmla="*/ 14188 w 29076"/>
                  <a:gd name="connsiteY3" fmla="*/ 42437 h 47145"/>
                  <a:gd name="connsiteX4" fmla="*/ 20169 w 29076"/>
                  <a:gd name="connsiteY4" fmla="*/ 40910 h 47145"/>
                  <a:gd name="connsiteX5" fmla="*/ 23032 w 29076"/>
                  <a:gd name="connsiteY5" fmla="*/ 36584 h 47145"/>
                  <a:gd name="connsiteX6" fmla="*/ 23414 w 29076"/>
                  <a:gd name="connsiteY6" fmla="*/ 29394 h 47145"/>
                  <a:gd name="connsiteX7" fmla="*/ 14252 w 29076"/>
                  <a:gd name="connsiteY7" fmla="*/ 33721 h 47145"/>
                  <a:gd name="connsiteX8" fmla="*/ 3754 w 29076"/>
                  <a:gd name="connsiteY8" fmla="*/ 28822 h 47145"/>
                  <a:gd name="connsiteX9" fmla="*/ 0 w 29076"/>
                  <a:gd name="connsiteY9" fmla="*/ 17051 h 47145"/>
                  <a:gd name="connsiteX10" fmla="*/ 1718 w 29076"/>
                  <a:gd name="connsiteY10" fmla="*/ 8335 h 47145"/>
                  <a:gd name="connsiteX11" fmla="*/ 6681 w 29076"/>
                  <a:gd name="connsiteY11" fmla="*/ 2163 h 47145"/>
                  <a:gd name="connsiteX12" fmla="*/ 14315 w 29076"/>
                  <a:gd name="connsiteY12" fmla="*/ 0 h 47145"/>
                  <a:gd name="connsiteX13" fmla="*/ 23923 w 29076"/>
                  <a:gd name="connsiteY13" fmla="*/ 4708 h 47145"/>
                  <a:gd name="connsiteX14" fmla="*/ 23923 w 29076"/>
                  <a:gd name="connsiteY14" fmla="*/ 763 h 47145"/>
                  <a:gd name="connsiteX15" fmla="*/ 29076 w 29076"/>
                  <a:gd name="connsiteY15" fmla="*/ 763 h 47145"/>
                  <a:gd name="connsiteX16" fmla="*/ 29076 w 29076"/>
                  <a:gd name="connsiteY16" fmla="*/ 29267 h 47145"/>
                  <a:gd name="connsiteX17" fmla="*/ 27485 w 29076"/>
                  <a:gd name="connsiteY17" fmla="*/ 40210 h 47145"/>
                  <a:gd name="connsiteX18" fmla="*/ 22523 w 29076"/>
                  <a:gd name="connsiteY18" fmla="*/ 45300 h 47145"/>
                  <a:gd name="connsiteX19" fmla="*/ 14125 w 29076"/>
                  <a:gd name="connsiteY19" fmla="*/ 47145 h 47145"/>
                  <a:gd name="connsiteX20" fmla="*/ 4581 w 29076"/>
                  <a:gd name="connsiteY20" fmla="*/ 44473 h 47145"/>
                  <a:gd name="connsiteX21" fmla="*/ 1209 w 29076"/>
                  <a:gd name="connsiteY21" fmla="*/ 36393 h 47145"/>
                  <a:gd name="connsiteX22" fmla="*/ 5853 w 29076"/>
                  <a:gd name="connsiteY22" fmla="*/ 16606 h 47145"/>
                  <a:gd name="connsiteX23" fmla="*/ 8462 w 29076"/>
                  <a:gd name="connsiteY23" fmla="*/ 26086 h 47145"/>
                  <a:gd name="connsiteX24" fmla="*/ 14952 w 29076"/>
                  <a:gd name="connsiteY24" fmla="*/ 29076 h 47145"/>
                  <a:gd name="connsiteX25" fmla="*/ 21441 w 29076"/>
                  <a:gd name="connsiteY25" fmla="*/ 26086 h 47145"/>
                  <a:gd name="connsiteX26" fmla="*/ 24050 w 29076"/>
                  <a:gd name="connsiteY26" fmla="*/ 16797 h 47145"/>
                  <a:gd name="connsiteX27" fmla="*/ 21378 w 29076"/>
                  <a:gd name="connsiteY27" fmla="*/ 7635 h 47145"/>
                  <a:gd name="connsiteX28" fmla="*/ 14888 w 29076"/>
                  <a:gd name="connsiteY28" fmla="*/ 4581 h 47145"/>
                  <a:gd name="connsiteX29" fmla="*/ 8526 w 29076"/>
                  <a:gd name="connsiteY29" fmla="*/ 7635 h 47145"/>
                  <a:gd name="connsiteX30" fmla="*/ 5853 w 29076"/>
                  <a:gd name="connsiteY30" fmla="*/ 16606 h 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076" h="47145">
                    <a:moveTo>
                      <a:pt x="1209" y="36393"/>
                    </a:moveTo>
                    <a:lnTo>
                      <a:pt x="6617" y="37220"/>
                    </a:lnTo>
                    <a:cubicBezTo>
                      <a:pt x="6871" y="38874"/>
                      <a:pt x="7508" y="40147"/>
                      <a:pt x="8526" y="40910"/>
                    </a:cubicBezTo>
                    <a:cubicBezTo>
                      <a:pt x="9925" y="41928"/>
                      <a:pt x="11834" y="42437"/>
                      <a:pt x="14188" y="42437"/>
                    </a:cubicBezTo>
                    <a:cubicBezTo>
                      <a:pt x="16797" y="42437"/>
                      <a:pt x="18769" y="41928"/>
                      <a:pt x="20169" y="40910"/>
                    </a:cubicBezTo>
                    <a:cubicBezTo>
                      <a:pt x="21569" y="39892"/>
                      <a:pt x="22523" y="38429"/>
                      <a:pt x="23032" y="36584"/>
                    </a:cubicBezTo>
                    <a:cubicBezTo>
                      <a:pt x="23286" y="35439"/>
                      <a:pt x="23477" y="33021"/>
                      <a:pt x="23414" y="29394"/>
                    </a:cubicBezTo>
                    <a:cubicBezTo>
                      <a:pt x="20996" y="32257"/>
                      <a:pt x="17942" y="33721"/>
                      <a:pt x="14252" y="33721"/>
                    </a:cubicBezTo>
                    <a:cubicBezTo>
                      <a:pt x="9734" y="33721"/>
                      <a:pt x="6235" y="32066"/>
                      <a:pt x="3754" y="28822"/>
                    </a:cubicBezTo>
                    <a:cubicBezTo>
                      <a:pt x="1272" y="25577"/>
                      <a:pt x="0" y="21632"/>
                      <a:pt x="0" y="17051"/>
                    </a:cubicBezTo>
                    <a:cubicBezTo>
                      <a:pt x="0" y="13934"/>
                      <a:pt x="573" y="11007"/>
                      <a:pt x="1718" y="8335"/>
                    </a:cubicBezTo>
                    <a:cubicBezTo>
                      <a:pt x="2863" y="5662"/>
                      <a:pt x="4517" y="3627"/>
                      <a:pt x="6681" y="2163"/>
                    </a:cubicBezTo>
                    <a:cubicBezTo>
                      <a:pt x="8844" y="700"/>
                      <a:pt x="11389" y="0"/>
                      <a:pt x="14315" y="0"/>
                    </a:cubicBezTo>
                    <a:cubicBezTo>
                      <a:pt x="18196" y="0"/>
                      <a:pt x="21441" y="1591"/>
                      <a:pt x="23923" y="4708"/>
                    </a:cubicBezTo>
                    <a:lnTo>
                      <a:pt x="23923" y="763"/>
                    </a:lnTo>
                    <a:lnTo>
                      <a:pt x="29076" y="763"/>
                    </a:lnTo>
                    <a:lnTo>
                      <a:pt x="29076" y="29267"/>
                    </a:lnTo>
                    <a:cubicBezTo>
                      <a:pt x="29076" y="34421"/>
                      <a:pt x="28567" y="38047"/>
                      <a:pt x="27485" y="40210"/>
                    </a:cubicBezTo>
                    <a:cubicBezTo>
                      <a:pt x="26404" y="42374"/>
                      <a:pt x="24813" y="44028"/>
                      <a:pt x="22523" y="45300"/>
                    </a:cubicBezTo>
                    <a:cubicBezTo>
                      <a:pt x="20232" y="46573"/>
                      <a:pt x="17497" y="47145"/>
                      <a:pt x="14125" y="47145"/>
                    </a:cubicBezTo>
                    <a:cubicBezTo>
                      <a:pt x="10180" y="47145"/>
                      <a:pt x="6999" y="46255"/>
                      <a:pt x="4581" y="44473"/>
                    </a:cubicBezTo>
                    <a:cubicBezTo>
                      <a:pt x="2290" y="42628"/>
                      <a:pt x="1145" y="39956"/>
                      <a:pt x="1209" y="36393"/>
                    </a:cubicBezTo>
                    <a:close/>
                    <a:moveTo>
                      <a:pt x="5853" y="16606"/>
                    </a:moveTo>
                    <a:cubicBezTo>
                      <a:pt x="5853" y="20932"/>
                      <a:pt x="6744" y="24114"/>
                      <a:pt x="8462" y="26086"/>
                    </a:cubicBezTo>
                    <a:cubicBezTo>
                      <a:pt x="10180" y="28058"/>
                      <a:pt x="12343" y="29076"/>
                      <a:pt x="14952" y="29076"/>
                    </a:cubicBezTo>
                    <a:cubicBezTo>
                      <a:pt x="17497" y="29076"/>
                      <a:pt x="19660" y="28058"/>
                      <a:pt x="21441" y="26086"/>
                    </a:cubicBezTo>
                    <a:cubicBezTo>
                      <a:pt x="23159" y="24114"/>
                      <a:pt x="24050" y="20996"/>
                      <a:pt x="24050" y="16797"/>
                    </a:cubicBezTo>
                    <a:cubicBezTo>
                      <a:pt x="24050" y="12788"/>
                      <a:pt x="23159" y="9734"/>
                      <a:pt x="21378" y="7635"/>
                    </a:cubicBezTo>
                    <a:cubicBezTo>
                      <a:pt x="19596" y="5535"/>
                      <a:pt x="17433" y="4581"/>
                      <a:pt x="14888" y="4581"/>
                    </a:cubicBezTo>
                    <a:cubicBezTo>
                      <a:pt x="12407" y="4581"/>
                      <a:pt x="10307" y="5599"/>
                      <a:pt x="8526" y="7635"/>
                    </a:cubicBezTo>
                    <a:cubicBezTo>
                      <a:pt x="6744" y="9607"/>
                      <a:pt x="5853" y="12597"/>
                      <a:pt x="5853" y="16606"/>
                    </a:cubicBezTo>
                    <a:close/>
                  </a:path>
                </a:pathLst>
              </a:custGeom>
              <a:solidFill>
                <a:srgbClr val="084F45"/>
              </a:solidFill>
              <a:ln w="6361" cap="flat">
                <a:noFill/>
                <a:prstDash val="solid"/>
                <a:miter/>
              </a:ln>
            </p:spPr>
            <p:txBody>
              <a:bodyPr rtlCol="0" anchor="ctr"/>
              <a:lstStyle/>
              <a:p>
                <a:endParaRPr lang="da-DK"/>
              </a:p>
            </p:txBody>
          </p:sp>
          <p:sp>
            <p:nvSpPr>
              <p:cNvPr id="58" name="Freeform: Shape 61">
                <a:extLst>
                  <a:ext uri="{FF2B5EF4-FFF2-40B4-BE49-F238E27FC236}">
                    <a16:creationId xmlns:a16="http://schemas.microsoft.com/office/drawing/2014/main" id="{F608B632-5823-9EE3-0B29-4FB2EDE5F341}"/>
                  </a:ext>
                </a:extLst>
              </p:cNvPr>
              <p:cNvSpPr/>
              <p:nvPr/>
            </p:nvSpPr>
            <p:spPr>
              <a:xfrm>
                <a:off x="1485048" y="3622989"/>
                <a:ext cx="26849" cy="45618"/>
              </a:xfrm>
              <a:custGeom>
                <a:avLst/>
                <a:gdLst>
                  <a:gd name="connsiteX0" fmla="*/ 0 w 26849"/>
                  <a:gd name="connsiteY0" fmla="*/ 45555 h 45618"/>
                  <a:gd name="connsiteX1" fmla="*/ 0 w 26849"/>
                  <a:gd name="connsiteY1" fmla="*/ 0 h 45618"/>
                  <a:gd name="connsiteX2" fmla="*/ 5599 w 26849"/>
                  <a:gd name="connsiteY2" fmla="*/ 0 h 45618"/>
                  <a:gd name="connsiteX3" fmla="*/ 5599 w 26849"/>
                  <a:gd name="connsiteY3" fmla="*/ 16351 h 45618"/>
                  <a:gd name="connsiteX4" fmla="*/ 15461 w 26849"/>
                  <a:gd name="connsiteY4" fmla="*/ 11834 h 45618"/>
                  <a:gd name="connsiteX5" fmla="*/ 21823 w 26849"/>
                  <a:gd name="connsiteY5" fmla="*/ 13297 h 45618"/>
                  <a:gd name="connsiteX6" fmla="*/ 25704 w 26849"/>
                  <a:gd name="connsiteY6" fmla="*/ 17306 h 45618"/>
                  <a:gd name="connsiteX7" fmla="*/ 26849 w 26849"/>
                  <a:gd name="connsiteY7" fmla="*/ 24686 h 45618"/>
                  <a:gd name="connsiteX8" fmla="*/ 26849 w 26849"/>
                  <a:gd name="connsiteY8" fmla="*/ 45618 h 45618"/>
                  <a:gd name="connsiteX9" fmla="*/ 21250 w 26849"/>
                  <a:gd name="connsiteY9" fmla="*/ 45618 h 45618"/>
                  <a:gd name="connsiteX10" fmla="*/ 21250 w 26849"/>
                  <a:gd name="connsiteY10" fmla="*/ 24686 h 45618"/>
                  <a:gd name="connsiteX11" fmla="*/ 19405 w 26849"/>
                  <a:gd name="connsiteY11" fmla="*/ 18578 h 45618"/>
                  <a:gd name="connsiteX12" fmla="*/ 14252 w 26849"/>
                  <a:gd name="connsiteY12" fmla="*/ 16669 h 45618"/>
                  <a:gd name="connsiteX13" fmla="*/ 9607 w 26849"/>
                  <a:gd name="connsiteY13" fmla="*/ 17942 h 45618"/>
                  <a:gd name="connsiteX14" fmla="*/ 6490 w 26849"/>
                  <a:gd name="connsiteY14" fmla="*/ 21441 h 45618"/>
                  <a:gd name="connsiteX15" fmla="*/ 5535 w 26849"/>
                  <a:gd name="connsiteY15" fmla="*/ 27549 h 45618"/>
                  <a:gd name="connsiteX16" fmla="*/ 5535 w 26849"/>
                  <a:gd name="connsiteY16" fmla="*/ 45618 h 45618"/>
                  <a:gd name="connsiteX17" fmla="*/ 0 w 26849"/>
                  <a:gd name="connsiteY17" fmla="*/ 45618 h 4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49" h="45618">
                    <a:moveTo>
                      <a:pt x="0" y="45555"/>
                    </a:moveTo>
                    <a:lnTo>
                      <a:pt x="0" y="0"/>
                    </a:lnTo>
                    <a:lnTo>
                      <a:pt x="5599" y="0"/>
                    </a:lnTo>
                    <a:lnTo>
                      <a:pt x="5599" y="16351"/>
                    </a:lnTo>
                    <a:cubicBezTo>
                      <a:pt x="8208" y="13297"/>
                      <a:pt x="11516" y="11834"/>
                      <a:pt x="15461" y="11834"/>
                    </a:cubicBezTo>
                    <a:cubicBezTo>
                      <a:pt x="17878" y="11834"/>
                      <a:pt x="20041" y="12343"/>
                      <a:pt x="21823" y="13297"/>
                    </a:cubicBezTo>
                    <a:cubicBezTo>
                      <a:pt x="23605" y="14252"/>
                      <a:pt x="24941" y="15588"/>
                      <a:pt x="25704" y="17306"/>
                    </a:cubicBezTo>
                    <a:cubicBezTo>
                      <a:pt x="26468" y="19024"/>
                      <a:pt x="26849" y="21441"/>
                      <a:pt x="26849" y="24686"/>
                    </a:cubicBezTo>
                    <a:lnTo>
                      <a:pt x="26849" y="45618"/>
                    </a:lnTo>
                    <a:lnTo>
                      <a:pt x="21250" y="45618"/>
                    </a:lnTo>
                    <a:lnTo>
                      <a:pt x="21250" y="24686"/>
                    </a:lnTo>
                    <a:cubicBezTo>
                      <a:pt x="21250" y="21887"/>
                      <a:pt x="20678" y="19851"/>
                      <a:pt x="19405" y="18578"/>
                    </a:cubicBezTo>
                    <a:cubicBezTo>
                      <a:pt x="18196" y="17306"/>
                      <a:pt x="16479" y="16669"/>
                      <a:pt x="14252" y="16669"/>
                    </a:cubicBezTo>
                    <a:cubicBezTo>
                      <a:pt x="12598" y="16669"/>
                      <a:pt x="11071" y="17115"/>
                      <a:pt x="9607" y="17942"/>
                    </a:cubicBezTo>
                    <a:cubicBezTo>
                      <a:pt x="8144" y="18769"/>
                      <a:pt x="7126" y="19978"/>
                      <a:pt x="6490" y="21441"/>
                    </a:cubicBezTo>
                    <a:cubicBezTo>
                      <a:pt x="5853" y="22905"/>
                      <a:pt x="5535" y="24941"/>
                      <a:pt x="5535" y="27549"/>
                    </a:cubicBezTo>
                    <a:lnTo>
                      <a:pt x="5535" y="45618"/>
                    </a:lnTo>
                    <a:lnTo>
                      <a:pt x="0" y="45618"/>
                    </a:lnTo>
                    <a:close/>
                  </a:path>
                </a:pathLst>
              </a:custGeom>
              <a:solidFill>
                <a:srgbClr val="084F45"/>
              </a:solidFill>
              <a:ln w="6361" cap="flat">
                <a:noFill/>
                <a:prstDash val="solid"/>
                <a:miter/>
              </a:ln>
            </p:spPr>
            <p:txBody>
              <a:bodyPr rtlCol="0" anchor="ctr"/>
              <a:lstStyle/>
              <a:p>
                <a:endParaRPr lang="da-DK"/>
              </a:p>
            </p:txBody>
          </p:sp>
          <p:sp>
            <p:nvSpPr>
              <p:cNvPr id="59" name="Freeform: Shape 62">
                <a:extLst>
                  <a:ext uri="{FF2B5EF4-FFF2-40B4-BE49-F238E27FC236}">
                    <a16:creationId xmlns:a16="http://schemas.microsoft.com/office/drawing/2014/main" id="{D4C402AD-1A66-06B5-5D61-933B617A8A73}"/>
                  </a:ext>
                </a:extLst>
              </p:cNvPr>
              <p:cNvSpPr/>
              <p:nvPr/>
            </p:nvSpPr>
            <p:spPr>
              <a:xfrm>
                <a:off x="151857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60" name="Freeform: Shape 63">
                <a:extLst>
                  <a:ext uri="{FF2B5EF4-FFF2-40B4-BE49-F238E27FC236}">
                    <a16:creationId xmlns:a16="http://schemas.microsoft.com/office/drawing/2014/main" id="{0C64E671-8699-A69D-C438-3ADFEE21A905}"/>
                  </a:ext>
                </a:extLst>
              </p:cNvPr>
              <p:cNvSpPr/>
              <p:nvPr/>
            </p:nvSpPr>
            <p:spPr>
              <a:xfrm>
                <a:off x="1553698" y="3622989"/>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7"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solidFill>
                <a:srgbClr val="084F45"/>
              </a:solidFill>
              <a:ln w="6361" cap="flat">
                <a:noFill/>
                <a:prstDash val="solid"/>
                <a:miter/>
              </a:ln>
            </p:spPr>
            <p:txBody>
              <a:bodyPr rtlCol="0" anchor="ctr"/>
              <a:lstStyle/>
              <a:p>
                <a:endParaRPr lang="da-DK"/>
              </a:p>
            </p:txBody>
          </p:sp>
          <p:sp>
            <p:nvSpPr>
              <p:cNvPr id="61" name="Freeform: Shape 64">
                <a:extLst>
                  <a:ext uri="{FF2B5EF4-FFF2-40B4-BE49-F238E27FC236}">
                    <a16:creationId xmlns:a16="http://schemas.microsoft.com/office/drawing/2014/main" id="{80450AF4-9C62-5F4A-10EA-5E1B86C64824}"/>
                  </a:ext>
                </a:extLst>
              </p:cNvPr>
              <p:cNvSpPr/>
              <p:nvPr/>
            </p:nvSpPr>
            <p:spPr>
              <a:xfrm>
                <a:off x="158932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90"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62" name="Freeform: Shape 65">
                <a:extLst>
                  <a:ext uri="{FF2B5EF4-FFF2-40B4-BE49-F238E27FC236}">
                    <a16:creationId xmlns:a16="http://schemas.microsoft.com/office/drawing/2014/main" id="{49A29B37-6DEF-C0FB-28F3-5149E34C4806}"/>
                  </a:ext>
                </a:extLst>
              </p:cNvPr>
              <p:cNvSpPr/>
              <p:nvPr/>
            </p:nvSpPr>
            <p:spPr>
              <a:xfrm>
                <a:off x="1626484" y="3634759"/>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63" name="Freeform: Shape 66">
                <a:extLst>
                  <a:ext uri="{FF2B5EF4-FFF2-40B4-BE49-F238E27FC236}">
                    <a16:creationId xmlns:a16="http://schemas.microsoft.com/office/drawing/2014/main" id="{D1EA01D6-B79A-A3C5-3168-A0A8A260E873}"/>
                  </a:ext>
                </a:extLst>
              </p:cNvPr>
              <p:cNvSpPr/>
              <p:nvPr/>
            </p:nvSpPr>
            <p:spPr>
              <a:xfrm>
                <a:off x="1645826" y="3662181"/>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grpSp>
        <p:grpSp>
          <p:nvGrpSpPr>
            <p:cNvPr id="5" name="Graphic 5">
              <a:extLst>
                <a:ext uri="{FF2B5EF4-FFF2-40B4-BE49-F238E27FC236}">
                  <a16:creationId xmlns:a16="http://schemas.microsoft.com/office/drawing/2014/main" id="{257322D1-84E0-BC24-BAD4-E35213AF152F}"/>
                </a:ext>
              </a:extLst>
            </p:cNvPr>
            <p:cNvGrpSpPr/>
            <p:nvPr/>
          </p:nvGrpSpPr>
          <p:grpSpPr>
            <a:xfrm>
              <a:off x="632997" y="3239655"/>
              <a:ext cx="440022" cy="431242"/>
              <a:chOff x="632997" y="3239655"/>
              <a:chExt cx="440022" cy="431242"/>
            </a:xfrm>
            <a:solidFill>
              <a:srgbClr val="084F45"/>
            </a:solidFill>
          </p:grpSpPr>
          <p:sp>
            <p:nvSpPr>
              <p:cNvPr id="6" name="Freeform: Shape 11">
                <a:extLst>
                  <a:ext uri="{FF2B5EF4-FFF2-40B4-BE49-F238E27FC236}">
                    <a16:creationId xmlns:a16="http://schemas.microsoft.com/office/drawing/2014/main" id="{6A07C9ED-ED27-1016-872B-D1E43FC6B8AC}"/>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8" name="Freeform: Shape 12">
                <a:extLst>
                  <a:ext uri="{FF2B5EF4-FFF2-40B4-BE49-F238E27FC236}">
                    <a16:creationId xmlns:a16="http://schemas.microsoft.com/office/drawing/2014/main" id="{D7592C39-7213-2146-EFDE-1069F038B8AD}"/>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2" name="Freeform: Shape 13">
                <a:extLst>
                  <a:ext uri="{FF2B5EF4-FFF2-40B4-BE49-F238E27FC236}">
                    <a16:creationId xmlns:a16="http://schemas.microsoft.com/office/drawing/2014/main" id="{11EF98AD-7251-04CD-D59D-E3CAC0FE3C23}"/>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3" name="Freeform: Shape 14">
                <a:extLst>
                  <a:ext uri="{FF2B5EF4-FFF2-40B4-BE49-F238E27FC236}">
                    <a16:creationId xmlns:a16="http://schemas.microsoft.com/office/drawing/2014/main" id="{947BA831-2B4A-7347-7144-82A9DA5AEDA5}"/>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4" name="Freeform: Shape 15">
                <a:extLst>
                  <a:ext uri="{FF2B5EF4-FFF2-40B4-BE49-F238E27FC236}">
                    <a16:creationId xmlns:a16="http://schemas.microsoft.com/office/drawing/2014/main" id="{F04A7BC7-29B5-0E88-A494-1E5529375EB7}"/>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5" name="Freeform: Shape 16">
                <a:extLst>
                  <a:ext uri="{FF2B5EF4-FFF2-40B4-BE49-F238E27FC236}">
                    <a16:creationId xmlns:a16="http://schemas.microsoft.com/office/drawing/2014/main" id="{BC3434B2-409C-3B5D-30C3-8BF40E6BA920}"/>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6" name="Freeform: Shape 17">
                <a:extLst>
                  <a:ext uri="{FF2B5EF4-FFF2-40B4-BE49-F238E27FC236}">
                    <a16:creationId xmlns:a16="http://schemas.microsoft.com/office/drawing/2014/main" id="{A0F2688B-3724-0388-65A7-E854A861851A}"/>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grpSp>
      </p:grpSp>
      <p:sp>
        <p:nvSpPr>
          <p:cNvPr id="70" name="Rektangel 69">
            <a:extLst>
              <a:ext uri="{FF2B5EF4-FFF2-40B4-BE49-F238E27FC236}">
                <a16:creationId xmlns:a16="http://schemas.microsoft.com/office/drawing/2014/main" id="{99BFC096-3325-ACCF-8C57-E72793774644}"/>
              </a:ext>
            </a:extLst>
          </p:cNvPr>
          <p:cNvSpPr/>
          <p:nvPr userDrawn="1"/>
        </p:nvSpPr>
        <p:spPr>
          <a:xfrm>
            <a:off x="0" y="5947258"/>
            <a:ext cx="2048256" cy="91074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12559838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a-DK"/>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Slide Number Placeholder 5">
            <a:extLst>
              <a:ext uri="{FF2B5EF4-FFF2-40B4-BE49-F238E27FC236}">
                <a16:creationId xmlns:a16="http://schemas.microsoft.com/office/drawing/2014/main" id="{B0751AEF-1843-451A-9418-F0E0C3DC69E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0248BF5A-3EA4-44A2-85A9-D816B038DD0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156236990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1_Overskrift og indhold 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10962000" cy="671967"/>
          </a:xfrm>
        </p:spPr>
        <p:txBody>
          <a:bodyPr/>
          <a:lstStyle>
            <a:lvl1pPr>
              <a:defRPr/>
            </a:lvl1pPr>
          </a:lstStyle>
          <a:p>
            <a:r>
              <a:rPr lang="da-DK"/>
              <a:t>Klik for at tilføje overskrift</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411163" y="1989138"/>
            <a:ext cx="10961237" cy="38644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2249637645"/>
      </p:ext>
    </p:extLst>
  </p:cSld>
  <p:clrMapOvr>
    <a:masterClrMapping/>
  </p:clrMapOvr>
  <p:extLst>
    <p:ext uri="{DCECCB84-F9BA-43D5-87BE-67443E8EF086}">
      <p15:sldGuideLst xmlns:p15="http://schemas.microsoft.com/office/powerpoint/2012/main">
        <p15:guide id="1" orient="horz" pos="6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7" name="Slide Number Placeholder 5">
            <a:extLst>
              <a:ext uri="{FF2B5EF4-FFF2-40B4-BE49-F238E27FC236}">
                <a16:creationId xmlns:a16="http://schemas.microsoft.com/office/drawing/2014/main" id="{74A2011A-AB7A-4D6D-BCAB-42396622677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9" name="Date Placeholder 2">
            <a:extLst>
              <a:ext uri="{FF2B5EF4-FFF2-40B4-BE49-F238E27FC236}">
                <a16:creationId xmlns:a16="http://schemas.microsoft.com/office/drawing/2014/main" id="{CEEF95ED-1387-4C95-AA19-9C1626DE619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22472112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ort forsid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BBCAF46D-9983-4AEE-9B8A-24654CDEDDB0}"/>
              </a:ext>
            </a:extLst>
          </p:cNvPr>
          <p:cNvSpPr/>
          <p:nvPr userDrawn="1"/>
        </p:nvSpPr>
        <p:spPr>
          <a:xfrm>
            <a:off x="0" y="0"/>
            <a:ext cx="1218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err="1"/>
          </a:p>
        </p:txBody>
      </p:sp>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bg1"/>
                </a:solidFill>
              </a:defRPr>
            </a:lvl1pPr>
          </a:lstStyle>
          <a:p>
            <a:r>
              <a:rPr lang="da-DK"/>
              <a:t>Klik for at tilføje overskrift</a:t>
            </a:r>
          </a:p>
        </p:txBody>
      </p:sp>
      <p:sp>
        <p:nvSpPr>
          <p:cNvPr id="19" name="text" descr="{&quot;templafy&quot;:{&quot;id&quot;:&quot;625e59af-0af1-42f8-9708-9f97431f1a16&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solidFill>
                  <a:schemeClr val="bg1"/>
                </a:solidFill>
              </a:rPr>
              <a:t>SDU Digital</a:t>
            </a:r>
          </a:p>
        </p:txBody>
      </p:sp>
      <p:pic>
        <p:nvPicPr>
          <p:cNvPr id="7" name="Logo black">
            <a:extLst>
              <a:ext uri="{FF2B5EF4-FFF2-40B4-BE49-F238E27FC236}">
                <a16:creationId xmlns:a16="http://schemas.microsoft.com/office/drawing/2014/main" id="{E6E48129-FB3C-4F39-A5A1-63313B41D3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200" y="6296400"/>
            <a:ext cx="786874" cy="212400"/>
          </a:xfrm>
          <a:prstGeom prst="rect">
            <a:avLst/>
          </a:prstGeom>
        </p:spPr>
      </p:pic>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cxnSp>
        <p:nvCxnSpPr>
          <p:cNvPr id="12" name="Straight Connector 11">
            <a:extLst>
              <a:ext uri="{FF2B5EF4-FFF2-40B4-BE49-F238E27FC236}">
                <a16:creationId xmlns:a16="http://schemas.microsoft.com/office/drawing/2014/main" id="{0C739632-1CD3-47C1-98D9-4B1B2253C7C9}"/>
              </a:ext>
            </a:extLst>
          </p:cNvPr>
          <p:cNvCxnSpPr>
            <a:cxnSpLocks/>
          </p:cNvCxnSpPr>
          <p:nvPr userDrawn="1"/>
        </p:nvCxnSpPr>
        <p:spPr>
          <a:xfrm>
            <a:off x="410400" y="715665"/>
            <a:ext cx="69921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14">
            <a:extLst>
              <a:ext uri="{FF2B5EF4-FFF2-40B4-BE49-F238E27FC236}">
                <a16:creationId xmlns:a16="http://schemas.microsoft.com/office/drawing/2014/main" id="{D4E1389B-CA3B-4709-956D-F396D960BBC8}"/>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4" name="Date Placeholder 14">
            <a:extLst>
              <a:ext uri="{FF2B5EF4-FFF2-40B4-BE49-F238E27FC236}">
                <a16:creationId xmlns:a16="http://schemas.microsoft.com/office/drawing/2014/main" id="{8A94F1C1-AE36-4BBA-B958-8FC614A9472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Tree>
    <p:extLst>
      <p:ext uri="{BB962C8B-B14F-4D97-AF65-F5344CB8AC3E}">
        <p14:creationId xmlns:p14="http://schemas.microsoft.com/office/powerpoint/2010/main" val="292204871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vid for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tx1"/>
                </a:solidFill>
              </a:defRPr>
            </a:lvl1pPr>
          </a:lstStyle>
          <a:p>
            <a:r>
              <a:rPr lang="da-DK"/>
              <a:t>Klik for at tilføje overskrift</a:t>
            </a:r>
          </a:p>
        </p:txBody>
      </p:sp>
      <p:sp>
        <p:nvSpPr>
          <p:cNvPr id="13" name="Date Placeholder 14">
            <a:extLst>
              <a:ext uri="{FF2B5EF4-FFF2-40B4-BE49-F238E27FC236}">
                <a16:creationId xmlns:a16="http://schemas.microsoft.com/office/drawing/2014/main" id="{5161ABAB-6DB4-433A-ACC8-A0EC0AACAD0C}"/>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4" name="Date Placeholder 14">
            <a:extLst>
              <a:ext uri="{FF2B5EF4-FFF2-40B4-BE49-F238E27FC236}">
                <a16:creationId xmlns:a16="http://schemas.microsoft.com/office/drawing/2014/main" id="{BC3A8B03-9EA5-416E-BD54-B87E6C4A6781}"/>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Tree>
    <p:extLst>
      <p:ext uri="{BB962C8B-B14F-4D97-AF65-F5344CB8AC3E}">
        <p14:creationId xmlns:p14="http://schemas.microsoft.com/office/powerpoint/2010/main" val="3077003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Overskrift og indhold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5366267" cy="1884283"/>
          </a:xfrm>
        </p:spPr>
        <p:txBody>
          <a:bodyPr/>
          <a:lstStyle>
            <a:lvl1pPr>
              <a:defRPr/>
            </a:lvl1pPr>
          </a:lstStyle>
          <a:p>
            <a:r>
              <a:rPr lang="da-DK"/>
              <a:t>Klik for at tilføje overskrift</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156000" y="1028246"/>
            <a:ext cx="5216400" cy="4825354"/>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21" name="Straight Connector 20">
            <a:extLst>
              <a:ext uri="{FF2B5EF4-FFF2-40B4-BE49-F238E27FC236}">
                <a16:creationId xmlns:a16="http://schemas.microsoft.com/office/drawing/2014/main" id="{5D6B1FAA-D7ED-4C71-8DC4-E5439F01BCEB}"/>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02-05-2025</a:t>
            </a:fld>
            <a:endParaRPr lang="da-DK"/>
          </a:p>
        </p:txBody>
      </p:sp>
      <p:sp>
        <p:nvSpPr>
          <p:cNvPr id="4" name="Footer Placeholder 3">
            <a:extLst>
              <a:ext uri="{FF2B5EF4-FFF2-40B4-BE49-F238E27FC236}">
                <a16:creationId xmlns:a16="http://schemas.microsoft.com/office/drawing/2014/main" id="{496ECF2D-BB4C-4004-9F8E-08239A46461C}"/>
              </a:ext>
            </a:extLst>
          </p:cNvPr>
          <p:cNvSpPr>
            <a:spLocks noGrp="1"/>
          </p:cNvSpPr>
          <p:nvPr>
            <p:ph type="ftr" sz="quarter" idx="21"/>
          </p:nvPr>
        </p:nvSpPr>
        <p:spPr/>
        <p:txBody>
          <a:bodyPr/>
          <a:lstStyle/>
          <a:p>
            <a:endParaRPr lang="da-DK"/>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20" name="TextBox 19">
            <a:extLst>
              <a:ext uri="{FF2B5EF4-FFF2-40B4-BE49-F238E27FC236}">
                <a16:creationId xmlns:a16="http://schemas.microsoft.com/office/drawing/2014/main" id="{E75150F5-CFA6-40F1-B2B7-79337C2232BB}"/>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263778199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4400">
                <a:solidFill>
                  <a:schemeClr val="tx1"/>
                </a:solidFill>
              </a:defRPr>
            </a:lvl1pPr>
          </a:lstStyle>
          <a:p>
            <a:r>
              <a:rPr lang="da-DK"/>
              <a:t>Klik for at tilføje overskrift</a:t>
            </a:r>
          </a:p>
        </p:txBody>
      </p:sp>
      <p:sp>
        <p:nvSpPr>
          <p:cNvPr id="19" name="text" descr="{&quot;templafy&quot;:{&quot;id&quot;:&quot;4f455b05-4319-4f8f-8f7d-79f450a749aa&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dirty="0"/>
              <a:t>SDU SIS</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1" name="Straight Connector 10">
            <a:extLst>
              <a:ext uri="{FF2B5EF4-FFF2-40B4-BE49-F238E27FC236}">
                <a16:creationId xmlns:a16="http://schemas.microsoft.com/office/drawing/2014/main" id="{EEFBD90C-157B-45E5-8A90-9560C86CAB4C}"/>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descr="{&quot;templafy&quot;:{&quot;id&quot;:&quot;859008e1-1671-4807-8867-2aaa4d8b9bc1&quot;}}" title="Form.Date">
            <a:extLst>
              <a:ext uri="{FF2B5EF4-FFF2-40B4-BE49-F238E27FC236}">
                <a16:creationId xmlns:a16="http://schemas.microsoft.com/office/drawing/2014/main" id="{508E925B-663E-4A1A-8916-BC4FCFEA746C}"/>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5</a:t>
            </a:r>
          </a:p>
        </p:txBody>
      </p:sp>
      <p:pic>
        <p:nvPicPr>
          <p:cNvPr id="13" name="Logo black">
            <a:extLst>
              <a:ext uri="{FF2B5EF4-FFF2-40B4-BE49-F238E27FC236}">
                <a16:creationId xmlns:a16="http://schemas.microsoft.com/office/drawing/2014/main" id="{8790A71A-B09B-4B5F-9D31-846A17201C9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7" name="Date Placeholder 14">
            <a:extLst>
              <a:ext uri="{FF2B5EF4-FFF2-40B4-BE49-F238E27FC236}">
                <a16:creationId xmlns:a16="http://schemas.microsoft.com/office/drawing/2014/main" id="{D63CFED0-47FC-4852-81C1-6B705FD6417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TextBox 2">
            <a:extLst>
              <a:ext uri="{FF2B5EF4-FFF2-40B4-BE49-F238E27FC236}">
                <a16:creationId xmlns:a16="http://schemas.microsoft.com/office/drawing/2014/main" id="{2D2565F4-7FB3-4F2B-AED8-4859D42935AE}"/>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3223044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b" anchorCtr="0"/>
          <a:lstStyle>
            <a:lvl1pPr algn="l">
              <a:lnSpc>
                <a:spcPct val="100000"/>
              </a:lnSpc>
              <a:defRPr sz="44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A915360E-F247-49FB-821B-5399F1326472}"/>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7" name="Date Placeholder 14">
            <a:extLst>
              <a:ext uri="{FF2B5EF4-FFF2-40B4-BE49-F238E27FC236}">
                <a16:creationId xmlns:a16="http://schemas.microsoft.com/office/drawing/2014/main" id="{FB068F22-0263-44BB-8333-C5643293F39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8" name="Date Placeholder 14">
            <a:extLst>
              <a:ext uri="{FF2B5EF4-FFF2-40B4-BE49-F238E27FC236}">
                <a16:creationId xmlns:a16="http://schemas.microsoft.com/office/drawing/2014/main" id="{2D08A2CA-4B19-4B39-B540-F97244C446A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10" name="TextBox 9">
            <a:extLst>
              <a:ext uri="{FF2B5EF4-FFF2-40B4-BE49-F238E27FC236}">
                <a16:creationId xmlns:a16="http://schemas.microsoft.com/office/drawing/2014/main" id="{7EB9F81D-3EAD-42E8-88EC-432C25D7A8F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39417459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Overskrift og indhold 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6673356" y="1700212"/>
            <a:ext cx="4693920" cy="4141788"/>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7037083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verskrift og indhold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5366267" cy="1884283"/>
          </a:xfrm>
        </p:spPr>
        <p:txBody>
          <a:bodyPr/>
          <a:lstStyle>
            <a:lvl1pPr>
              <a:defRPr/>
            </a:lvl1pPr>
          </a:lstStyle>
          <a:p>
            <a:r>
              <a:rPr lang="da-DK"/>
              <a:t>Klik for at tilføje overskrift</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156000" y="1028246"/>
            <a:ext cx="5216400" cy="4825354"/>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21" name="Straight Connector 20">
            <a:extLst>
              <a:ext uri="{FF2B5EF4-FFF2-40B4-BE49-F238E27FC236}">
                <a16:creationId xmlns:a16="http://schemas.microsoft.com/office/drawing/2014/main" id="{5D6B1FAA-D7ED-4C71-8DC4-E5439F01BCEB}"/>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Logo black">
            <a:extLst>
              <a:ext uri="{FF2B5EF4-FFF2-40B4-BE49-F238E27FC236}">
                <a16:creationId xmlns:a16="http://schemas.microsoft.com/office/drawing/2014/main" id="{CAAF367F-3818-457C-9EE1-320E9050AE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4" name="Footer Placeholder 3">
            <a:extLst>
              <a:ext uri="{FF2B5EF4-FFF2-40B4-BE49-F238E27FC236}">
                <a16:creationId xmlns:a16="http://schemas.microsoft.com/office/drawing/2014/main" id="{496ECF2D-BB4C-4004-9F8E-08239A46461C}"/>
              </a:ext>
            </a:extLst>
          </p:cNvPr>
          <p:cNvSpPr>
            <a:spLocks noGrp="1"/>
          </p:cNvSpPr>
          <p:nvPr>
            <p:ph type="ftr" sz="quarter" idx="21"/>
          </p:nvPr>
        </p:nvSpPr>
        <p:spPr/>
        <p:txBody>
          <a:bodyPr/>
          <a:lstStyle/>
          <a:p>
            <a:endParaRPr lang="da-DK"/>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20" name="TextBox 19">
            <a:extLst>
              <a:ext uri="{FF2B5EF4-FFF2-40B4-BE49-F238E27FC236}">
                <a16:creationId xmlns:a16="http://schemas.microsoft.com/office/drawing/2014/main" id="{E75150F5-CFA6-40F1-B2B7-79337C2232BB}"/>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3860997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Overskrift og indhold 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6" y="999173"/>
            <a:ext cx="10952579" cy="701040"/>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414696" y="1989138"/>
            <a:ext cx="10952580" cy="38528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87014365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Indhold og teks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92202" y="1006605"/>
            <a:ext cx="4680000" cy="1938338"/>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5" name="Text Placeholder 4">
            <a:extLst>
              <a:ext uri="{FF2B5EF4-FFF2-40B4-BE49-F238E27FC236}">
                <a16:creationId xmlns:a16="http://schemas.microsoft.com/office/drawing/2014/main" id="{BCB99C08-64C3-4ADA-9CD2-FBE2ED8551F6}"/>
              </a:ext>
            </a:extLst>
          </p:cNvPr>
          <p:cNvSpPr>
            <a:spLocks noGrp="1"/>
          </p:cNvSpPr>
          <p:nvPr>
            <p:ph type="body" sz="quarter" idx="13"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9" name="text" descr="{&quot;templafy&quot;:{&quot;id&quot;:&quot;65556a86-d746-4687-a0d7-2a9534b12547&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2" name="Straight Connector 11">
            <a:extLst>
              <a:ext uri="{FF2B5EF4-FFF2-40B4-BE49-F238E27FC236}">
                <a16:creationId xmlns:a16="http://schemas.microsoft.com/office/drawing/2014/main" id="{ECEA2A3A-0B73-49AA-824B-85FAE9B16B10}"/>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e" descr="{&quot;templafy&quot;:{&quot;id&quot;:&quot;238ce84f-c437-42e2-9186-cc2a0b3d944a&quot;}}" title="Form.Date">
            <a:extLst>
              <a:ext uri="{FF2B5EF4-FFF2-40B4-BE49-F238E27FC236}">
                <a16:creationId xmlns:a16="http://schemas.microsoft.com/office/drawing/2014/main" id="{6189AE65-D68D-4102-AA1D-2A3BCB6F21BF}"/>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4</a:t>
            </a:r>
          </a:p>
        </p:txBody>
      </p:sp>
      <p:pic>
        <p:nvPicPr>
          <p:cNvPr id="16" name="Logo black">
            <a:extLst>
              <a:ext uri="{FF2B5EF4-FFF2-40B4-BE49-F238E27FC236}">
                <a16:creationId xmlns:a16="http://schemas.microsoft.com/office/drawing/2014/main" id="{B52757AD-346A-4AA0-A5D6-36F8B1FE48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8" name="Date Placeholder 14">
            <a:extLst>
              <a:ext uri="{FF2B5EF4-FFF2-40B4-BE49-F238E27FC236}">
                <a16:creationId xmlns:a16="http://schemas.microsoft.com/office/drawing/2014/main" id="{A09FC7B4-885C-4F9D-BD71-AE2FBDB3869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6" name="Content Placeholder 5">
            <a:extLst>
              <a:ext uri="{FF2B5EF4-FFF2-40B4-BE49-F238E27FC236}">
                <a16:creationId xmlns:a16="http://schemas.microsoft.com/office/drawing/2014/main" id="{2B8FEE58-0FE9-4218-904C-188D46CD214D}"/>
              </a:ext>
            </a:extLst>
          </p:cNvPr>
          <p:cNvSpPr>
            <a:spLocks noGrp="1"/>
          </p:cNvSpPr>
          <p:nvPr>
            <p:ph sz="quarter" idx="15" hasCustomPrompt="1"/>
          </p:nvPr>
        </p:nvSpPr>
        <p:spPr>
          <a:xfrm>
            <a:off x="422432" y="1000443"/>
            <a:ext cx="5077365" cy="4853157"/>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Date Placeholder 12">
            <a:extLst>
              <a:ext uri="{FF2B5EF4-FFF2-40B4-BE49-F238E27FC236}">
                <a16:creationId xmlns:a16="http://schemas.microsoft.com/office/drawing/2014/main" id="{3F302217-B569-449A-8422-B6650C9BB084}"/>
              </a:ext>
            </a:extLst>
          </p:cNvPr>
          <p:cNvSpPr>
            <a:spLocks noGrp="1"/>
          </p:cNvSpPr>
          <p:nvPr>
            <p:ph type="dt" sz="half" idx="16"/>
          </p:nvPr>
        </p:nvSpPr>
        <p:spPr/>
        <p:txBody>
          <a:bodyPr/>
          <a:lstStyle/>
          <a:p>
            <a:fld id="{F1A13B18-F5ED-4611-8DBB-F05123AFBA22}" type="datetimeFigureOut">
              <a:rPr lang="da-DK" smtClean="0"/>
              <a:pPr/>
              <a:t>08-05-2025</a:t>
            </a:fld>
            <a:endParaRPr lang="da-DK"/>
          </a:p>
        </p:txBody>
      </p:sp>
      <p:sp>
        <p:nvSpPr>
          <p:cNvPr id="14" name="Footer Placeholder 13">
            <a:extLst>
              <a:ext uri="{FF2B5EF4-FFF2-40B4-BE49-F238E27FC236}">
                <a16:creationId xmlns:a16="http://schemas.microsoft.com/office/drawing/2014/main" id="{DF36464C-AEF7-4BFD-9A97-813102BCA484}"/>
              </a:ext>
            </a:extLst>
          </p:cNvPr>
          <p:cNvSpPr>
            <a:spLocks noGrp="1"/>
          </p:cNvSpPr>
          <p:nvPr>
            <p:ph type="ftr" sz="quarter" idx="17"/>
          </p:nvPr>
        </p:nvSpPr>
        <p:spPr/>
        <p:txBody>
          <a:bodyPr/>
          <a:lstStyle/>
          <a:p>
            <a:endParaRPr lang="da-DK"/>
          </a:p>
        </p:txBody>
      </p:sp>
      <p:sp>
        <p:nvSpPr>
          <p:cNvPr id="24" name="Slide Number Placeholder 23">
            <a:extLst>
              <a:ext uri="{FF2B5EF4-FFF2-40B4-BE49-F238E27FC236}">
                <a16:creationId xmlns:a16="http://schemas.microsoft.com/office/drawing/2014/main" id="{58D7263E-B2E5-4CB9-9AAF-C0006E4A0400}"/>
              </a:ext>
            </a:extLst>
          </p:cNvPr>
          <p:cNvSpPr>
            <a:spLocks noGrp="1"/>
          </p:cNvSpPr>
          <p:nvPr>
            <p:ph type="sldNum" sz="quarter" idx="18"/>
          </p:nvPr>
        </p:nvSpPr>
        <p:spPr/>
        <p:txBody>
          <a:bodyPr/>
          <a:lstStyle/>
          <a:p>
            <a:fld id="{45D37B1E-C366-494F-A587-962AD9AABC83}" type="slidenum">
              <a:rPr lang="da-DK" smtClean="0"/>
              <a:pPr/>
              <a:t>‹#›</a:t>
            </a:fld>
            <a:endParaRPr lang="da-DK"/>
          </a:p>
        </p:txBody>
      </p:sp>
      <p:sp>
        <p:nvSpPr>
          <p:cNvPr id="17" name="TextBox 16">
            <a:extLst>
              <a:ext uri="{FF2B5EF4-FFF2-40B4-BE49-F238E27FC236}">
                <a16:creationId xmlns:a16="http://schemas.microsoft.com/office/drawing/2014/main" id="{1BBAA208-28D6-470D-B539-73F9AC20E86C}"/>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2189618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B9A67-E62D-400C-BC42-A3A96AAED25F}"/>
              </a:ext>
            </a:extLst>
          </p:cNvPr>
          <p:cNvSpPr>
            <a:spLocks noGrp="1"/>
          </p:cNvSpPr>
          <p:nvPr>
            <p:ph type="title" hasCustomPrompt="1"/>
          </p:nvPr>
        </p:nvSpPr>
        <p:spPr>
          <a:xfrm>
            <a:off x="410401" y="1028247"/>
            <a:ext cx="2502000" cy="432000"/>
          </a:xfrm>
        </p:spPr>
        <p:txBody>
          <a:bodyPr/>
          <a:lstStyle>
            <a:lvl1pPr>
              <a:lnSpc>
                <a:spcPct val="110000"/>
              </a:lnSpc>
              <a:defRPr sz="1200"/>
            </a:lvl1pPr>
          </a:lstStyle>
          <a:p>
            <a:r>
              <a:rPr lang="da-DK" noProof="0"/>
              <a:t>Klik for at tilføje underoverskrift</a:t>
            </a:r>
            <a:endParaRPr lang="da-DK"/>
          </a:p>
        </p:txBody>
      </p:sp>
      <p:sp>
        <p:nvSpPr>
          <p:cNvPr id="14" name="Content Placeholder 13">
            <a:extLst>
              <a:ext uri="{FF2B5EF4-FFF2-40B4-BE49-F238E27FC236}">
                <a16:creationId xmlns:a16="http://schemas.microsoft.com/office/drawing/2014/main" id="{E60E8CAC-51BD-4862-8B6E-BD3E315677C4}"/>
              </a:ext>
            </a:extLst>
          </p:cNvPr>
          <p:cNvSpPr>
            <a:spLocks noGrp="1"/>
          </p:cNvSpPr>
          <p:nvPr>
            <p:ph sz="quarter" idx="13" hasCustomPrompt="1"/>
          </p:nvPr>
        </p:nvSpPr>
        <p:spPr>
          <a:xfrm>
            <a:off x="411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5" name="Subtitle 2">
            <a:extLst>
              <a:ext uri="{FF2B5EF4-FFF2-40B4-BE49-F238E27FC236}">
                <a16:creationId xmlns:a16="http://schemas.microsoft.com/office/drawing/2014/main" id="{25135A09-8F8A-4D87-8C43-B3A0A80BE2F5}"/>
              </a:ext>
            </a:extLst>
          </p:cNvPr>
          <p:cNvSpPr>
            <a:spLocks noGrp="1"/>
          </p:cNvSpPr>
          <p:nvPr>
            <p:ph type="subTitle" idx="1" hasCustomPrompt="1"/>
          </p:nvPr>
        </p:nvSpPr>
        <p:spPr>
          <a:xfrm>
            <a:off x="3273164" y="1028246"/>
            <a:ext cx="2502000" cy="432000"/>
          </a:xfrm>
        </p:spPr>
        <p:txBody>
          <a:bodyPr/>
          <a:lstStyle>
            <a:lvl1pPr marL="0" indent="0" algn="l">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tilføje underoverskrift</a:t>
            </a:r>
            <a:endParaRPr lang="da-DK"/>
          </a:p>
        </p:txBody>
      </p:sp>
      <p:sp>
        <p:nvSpPr>
          <p:cNvPr id="17" name="Content Placeholder 16">
            <a:extLst>
              <a:ext uri="{FF2B5EF4-FFF2-40B4-BE49-F238E27FC236}">
                <a16:creationId xmlns:a16="http://schemas.microsoft.com/office/drawing/2014/main" id="{462D92C6-668E-491E-B394-72897FAB3085}"/>
              </a:ext>
            </a:extLst>
          </p:cNvPr>
          <p:cNvSpPr>
            <a:spLocks noGrp="1"/>
          </p:cNvSpPr>
          <p:nvPr>
            <p:ph sz="quarter" idx="14" hasCustomPrompt="1"/>
          </p:nvPr>
        </p:nvSpPr>
        <p:spPr>
          <a:xfrm>
            <a:off x="3273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9" name="Text Placeholder 18">
            <a:extLst>
              <a:ext uri="{FF2B5EF4-FFF2-40B4-BE49-F238E27FC236}">
                <a16:creationId xmlns:a16="http://schemas.microsoft.com/office/drawing/2014/main" id="{C0F1B1F1-CA40-4EA4-AB68-69DBBD61ED9D}"/>
              </a:ext>
            </a:extLst>
          </p:cNvPr>
          <p:cNvSpPr>
            <a:spLocks noGrp="1"/>
          </p:cNvSpPr>
          <p:nvPr>
            <p:ph type="body" sz="quarter" idx="15" hasCustomPrompt="1"/>
          </p:nvPr>
        </p:nvSpPr>
        <p:spPr>
          <a:xfrm>
            <a:off x="6135163" y="1028246"/>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1" name="Content Placeholder 20">
            <a:extLst>
              <a:ext uri="{FF2B5EF4-FFF2-40B4-BE49-F238E27FC236}">
                <a16:creationId xmlns:a16="http://schemas.microsoft.com/office/drawing/2014/main" id="{3DBEE0FF-2C0E-499E-ACAF-B6F421AF13D5}"/>
              </a:ext>
            </a:extLst>
          </p:cNvPr>
          <p:cNvSpPr>
            <a:spLocks noGrp="1"/>
          </p:cNvSpPr>
          <p:nvPr>
            <p:ph sz="quarter" idx="16" hasCustomPrompt="1"/>
          </p:nvPr>
        </p:nvSpPr>
        <p:spPr>
          <a:xfrm>
            <a:off x="6135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Text Placeholder 22">
            <a:extLst>
              <a:ext uri="{FF2B5EF4-FFF2-40B4-BE49-F238E27FC236}">
                <a16:creationId xmlns:a16="http://schemas.microsoft.com/office/drawing/2014/main" id="{F091117C-5AED-4416-88BA-F1C88ACD7A25}"/>
              </a:ext>
            </a:extLst>
          </p:cNvPr>
          <p:cNvSpPr>
            <a:spLocks noGrp="1"/>
          </p:cNvSpPr>
          <p:nvPr>
            <p:ph type="body" sz="quarter" idx="17" hasCustomPrompt="1"/>
          </p:nvPr>
        </p:nvSpPr>
        <p:spPr>
          <a:xfrm>
            <a:off x="8997162" y="1028247"/>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5" name="Content Placeholder 24">
            <a:extLst>
              <a:ext uri="{FF2B5EF4-FFF2-40B4-BE49-F238E27FC236}">
                <a16:creationId xmlns:a16="http://schemas.microsoft.com/office/drawing/2014/main" id="{C66F31E1-769E-4E9A-9DCC-2C64321A89C1}"/>
              </a:ext>
            </a:extLst>
          </p:cNvPr>
          <p:cNvSpPr>
            <a:spLocks noGrp="1"/>
          </p:cNvSpPr>
          <p:nvPr>
            <p:ph sz="quarter" idx="18" hasCustomPrompt="1"/>
          </p:nvPr>
        </p:nvSpPr>
        <p:spPr>
          <a:xfrm>
            <a:off x="8997161" y="1475354"/>
            <a:ext cx="2501999"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8" name="Date Placeholder 14">
            <a:extLst>
              <a:ext uri="{FF2B5EF4-FFF2-40B4-BE49-F238E27FC236}">
                <a16:creationId xmlns:a16="http://schemas.microsoft.com/office/drawing/2014/main" id="{1DCD95D8-07B6-42C0-8767-A640B7CA853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5" name="Date Placeholder 4">
            <a:extLst>
              <a:ext uri="{FF2B5EF4-FFF2-40B4-BE49-F238E27FC236}">
                <a16:creationId xmlns:a16="http://schemas.microsoft.com/office/drawing/2014/main" id="{8E588C40-671D-463C-8463-D77B96C28D88}"/>
              </a:ext>
            </a:extLst>
          </p:cNvPr>
          <p:cNvSpPr>
            <a:spLocks noGrp="1"/>
          </p:cNvSpPr>
          <p:nvPr>
            <p:ph type="dt" sz="half" idx="19"/>
          </p:nvPr>
        </p:nvSpPr>
        <p:spPr/>
        <p:txBody>
          <a:bodyPr/>
          <a:lstStyle/>
          <a:p>
            <a:fld id="{F1A13B18-F5ED-4611-8DBB-F05123AFBA22}" type="datetimeFigureOut">
              <a:rPr lang="da-DK" smtClean="0"/>
              <a:pPr/>
              <a:t>08-05-2025</a:t>
            </a:fld>
            <a:endParaRPr lang="da-DK"/>
          </a:p>
        </p:txBody>
      </p:sp>
      <p:sp>
        <p:nvSpPr>
          <p:cNvPr id="6" name="Footer Placeholder 5">
            <a:extLst>
              <a:ext uri="{FF2B5EF4-FFF2-40B4-BE49-F238E27FC236}">
                <a16:creationId xmlns:a16="http://schemas.microsoft.com/office/drawing/2014/main" id="{2846E2E0-2E23-491A-B165-353CDF3F79E2}"/>
              </a:ext>
            </a:extLst>
          </p:cNvPr>
          <p:cNvSpPr>
            <a:spLocks noGrp="1"/>
          </p:cNvSpPr>
          <p:nvPr>
            <p:ph type="ftr" sz="quarter" idx="20"/>
          </p:nvPr>
        </p:nvSpPr>
        <p:spPr/>
        <p:txBody>
          <a:bodyPr/>
          <a:lstStyle/>
          <a:p>
            <a:endParaRPr lang="da-DK"/>
          </a:p>
        </p:txBody>
      </p:sp>
      <p:sp>
        <p:nvSpPr>
          <p:cNvPr id="7" name="Slide Number Placeholder 6">
            <a:extLst>
              <a:ext uri="{FF2B5EF4-FFF2-40B4-BE49-F238E27FC236}">
                <a16:creationId xmlns:a16="http://schemas.microsoft.com/office/drawing/2014/main" id="{35B93800-6F51-413B-BA21-0A9967FF3386}"/>
              </a:ext>
            </a:extLst>
          </p:cNvPr>
          <p:cNvSpPr>
            <a:spLocks noGrp="1"/>
          </p:cNvSpPr>
          <p:nvPr>
            <p:ph type="sldNum" sz="quarter" idx="21"/>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30164627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Billede og indhold">
    <p:spTree>
      <p:nvGrpSpPr>
        <p:cNvPr id="1" name=""/>
        <p:cNvGrpSpPr/>
        <p:nvPr/>
      </p:nvGrpSpPr>
      <p:grpSpPr>
        <a:xfrm>
          <a:off x="0" y="0"/>
          <a:ext cx="0" cy="0"/>
          <a:chOff x="0" y="0"/>
          <a:chExt cx="0" cy="0"/>
        </a:xfrm>
      </p:grpSpPr>
      <p:sp>
        <p:nvSpPr>
          <p:cNvPr id="10" name="Pladsholder til billede 3"/>
          <p:cNvSpPr>
            <a:spLocks noGrp="1"/>
          </p:cNvSpPr>
          <p:nvPr>
            <p:ph type="pic" sz="quarter" idx="13" hasCustomPrompt="1"/>
          </p:nvPr>
        </p:nvSpPr>
        <p:spPr>
          <a:xfrm>
            <a:off x="0" y="0"/>
            <a:ext cx="6099300" cy="6858000"/>
          </a:xfrm>
          <a:solidFill>
            <a:schemeClr val="bg1"/>
          </a:solidFill>
        </p:spPr>
        <p:txBody>
          <a:bodyPr/>
          <a:lstStyle>
            <a:lvl1pPr marL="0" indent="0" algn="ctr">
              <a:buNone/>
              <a:defRPr sz="1200"/>
            </a:lvl1pPr>
          </a:lstStyle>
          <a:p>
            <a:r>
              <a:rPr lang="da-DK"/>
              <a:t>Vælg pladsholderen og indsæt billede via Templafy/Skyfish eller ikon eller logo via Templafy/Billeder</a:t>
            </a:r>
          </a:p>
        </p:txBody>
      </p:sp>
      <p:sp>
        <p:nvSpPr>
          <p:cNvPr id="8" name="Titel 1"/>
          <p:cNvSpPr>
            <a:spLocks noGrp="1"/>
          </p:cNvSpPr>
          <p:nvPr>
            <p:ph type="title" hasCustomPrompt="1"/>
          </p:nvPr>
        </p:nvSpPr>
        <p:spPr>
          <a:xfrm>
            <a:off x="6692401" y="1076109"/>
            <a:ext cx="4680000" cy="1822734"/>
          </a:xfrm>
        </p:spPr>
        <p:txBody>
          <a:bodyPr/>
          <a:lstStyle>
            <a:lvl1pPr>
              <a:defRPr/>
            </a:lvl1pPr>
          </a:lstStyle>
          <a:p>
            <a:r>
              <a:rPr lang="da-DK"/>
              <a:t>Klik for at tilføje overskrift, maksimalt 3 linjer</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692400"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text" descr="{&quot;templafy&quot;:{&quot;id&quot;:&quot;7dfbda98-fd3b-47f6-906d-39947fb1b234&quot;}}" title="UserProfile.Institut.InstituteDCU_{{DocumentLanguage}}">
            <a:extLst>
              <a:ext uri="{FF2B5EF4-FFF2-40B4-BE49-F238E27FC236}">
                <a16:creationId xmlns:a16="http://schemas.microsoft.com/office/drawing/2014/main" id="{060969B2-E177-4704-95D4-119A98BB90C5}"/>
              </a:ext>
            </a:extLst>
          </p:cNvPr>
          <p:cNvSpPr txBox="1">
            <a:spLocks/>
          </p:cNvSpPr>
          <p:nvPr userDrawn="1"/>
        </p:nvSpPr>
        <p:spPr>
          <a:xfrm>
            <a:off x="6692400" y="249585"/>
            <a:ext cx="4680000" cy="478677"/>
          </a:xfrm>
          <a:prstGeom prst="rect">
            <a:avLst/>
          </a:prstGeom>
          <a:noFill/>
        </p:spPr>
        <p:txBody>
          <a:bodyPr wrap="square" lIns="1080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8" name="Straight Connector 17">
            <a:extLst>
              <a:ext uri="{FF2B5EF4-FFF2-40B4-BE49-F238E27FC236}">
                <a16:creationId xmlns:a16="http://schemas.microsoft.com/office/drawing/2014/main" id="{B68D6574-D545-4AC1-804C-76EBF3BEC544}"/>
              </a:ext>
            </a:extLst>
          </p:cNvPr>
          <p:cNvCxnSpPr>
            <a:cxnSpLocks/>
          </p:cNvCxnSpPr>
          <p:nvPr userDrawn="1"/>
        </p:nvCxnSpPr>
        <p:spPr>
          <a:xfrm>
            <a:off x="6691637"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e" descr="{&quot;templafy&quot;:{&quot;id&quot;:&quot;ea6d2255-9531-478e-9e48-a9ad84cf4859&quot;}}" title="Form.Date">
            <a:extLst>
              <a:ext uri="{FF2B5EF4-FFF2-40B4-BE49-F238E27FC236}">
                <a16:creationId xmlns:a16="http://schemas.microsoft.com/office/drawing/2014/main" id="{38150A77-BE4E-404D-B314-A1C41C791C1B}"/>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4</a:t>
            </a:r>
          </a:p>
        </p:txBody>
      </p:sp>
      <p:pic>
        <p:nvPicPr>
          <p:cNvPr id="20" name="Logo black">
            <a:extLst>
              <a:ext uri="{FF2B5EF4-FFF2-40B4-BE49-F238E27FC236}">
                <a16:creationId xmlns:a16="http://schemas.microsoft.com/office/drawing/2014/main" id="{1421C492-A651-4EE4-BB8B-C6886E7B5C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92400" y="6294893"/>
            <a:ext cx="784800" cy="211840"/>
          </a:xfrm>
          <a:prstGeom prst="rect">
            <a:avLst/>
          </a:prstGeom>
        </p:spPr>
      </p:pic>
      <p:sp>
        <p:nvSpPr>
          <p:cNvPr id="30" name="Date Placeholder 14">
            <a:extLst>
              <a:ext uri="{FF2B5EF4-FFF2-40B4-BE49-F238E27FC236}">
                <a16:creationId xmlns:a16="http://schemas.microsoft.com/office/drawing/2014/main" id="{2C4B35A0-F8F7-420F-9E06-CC0AAAA0B84F}"/>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22" name="TextBox 21">
            <a:extLst>
              <a:ext uri="{FF2B5EF4-FFF2-40B4-BE49-F238E27FC236}">
                <a16:creationId xmlns:a16="http://schemas.microsoft.com/office/drawing/2014/main" id="{7C94981C-CC58-4018-9B19-5053EFA6B6A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4541591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Billede og tekst (CV)">
    <p:spTree>
      <p:nvGrpSpPr>
        <p:cNvPr id="1" name=""/>
        <p:cNvGrpSpPr/>
        <p:nvPr/>
      </p:nvGrpSpPr>
      <p:grpSpPr>
        <a:xfrm>
          <a:off x="0" y="0"/>
          <a:ext cx="0" cy="0"/>
          <a:chOff x="0" y="0"/>
          <a:chExt cx="0" cy="0"/>
        </a:xfrm>
      </p:grpSpPr>
      <p:sp>
        <p:nvSpPr>
          <p:cNvPr id="7" name="Titel 1"/>
          <p:cNvSpPr>
            <a:spLocks noGrp="1"/>
          </p:cNvSpPr>
          <p:nvPr>
            <p:ph type="title" hasCustomPrompt="1"/>
          </p:nvPr>
        </p:nvSpPr>
        <p:spPr>
          <a:xfrm>
            <a:off x="6710399" y="1700213"/>
            <a:ext cx="4677070" cy="1436392"/>
          </a:xfrm>
        </p:spPr>
        <p:txBody>
          <a:bodyPr/>
          <a:lstStyle>
            <a:lvl1pPr>
              <a:defRPr sz="4800"/>
            </a:lvl1pPr>
          </a:lstStyle>
          <a:p>
            <a:r>
              <a:rPr lang="da-DK"/>
              <a:t>Overskrift i </a:t>
            </a:r>
            <a:r>
              <a:rPr lang="da-DK" err="1"/>
              <a:t>maks</a:t>
            </a:r>
            <a:r>
              <a:rPr lang="da-DK"/>
              <a:t> 2 linjer</a:t>
            </a:r>
          </a:p>
        </p:txBody>
      </p:sp>
      <p:sp>
        <p:nvSpPr>
          <p:cNvPr id="15" name="Text Placeholder 4">
            <a:extLst>
              <a:ext uri="{FF2B5EF4-FFF2-40B4-BE49-F238E27FC236}">
                <a16:creationId xmlns:a16="http://schemas.microsoft.com/office/drawing/2014/main" id="{6FAAEFF0-FCE4-48D6-A0D1-A458F3CD3EB3}"/>
              </a:ext>
            </a:extLst>
          </p:cNvPr>
          <p:cNvSpPr>
            <a:spLocks noGrp="1"/>
          </p:cNvSpPr>
          <p:nvPr>
            <p:ph type="body" sz="quarter" idx="19"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6" name="Text Placeholder 5">
            <a:extLst>
              <a:ext uri="{FF2B5EF4-FFF2-40B4-BE49-F238E27FC236}">
                <a16:creationId xmlns:a16="http://schemas.microsoft.com/office/drawing/2014/main" id="{2F21E6D3-406B-4DA0-9B5A-6A2F208BAF71}"/>
              </a:ext>
            </a:extLst>
          </p:cNvPr>
          <p:cNvSpPr>
            <a:spLocks noGrp="1"/>
          </p:cNvSpPr>
          <p:nvPr>
            <p:ph type="body" sz="quarter" idx="18" hasCustomPrompt="1"/>
          </p:nvPr>
        </p:nvSpPr>
        <p:spPr>
          <a:xfrm>
            <a:off x="6710399" y="452437"/>
            <a:ext cx="4659277" cy="790493"/>
          </a:xfrm>
        </p:spPr>
        <p:txBody>
          <a:bodyPr anchor="b" anchorCtr="0"/>
          <a:lstStyle>
            <a:lvl1pPr marL="0" indent="0">
              <a:buFont typeface="Arial" panose="020B0604020202020204" pitchFamily="34" charset="0"/>
              <a:buNone/>
              <a:defRPr/>
            </a:lvl1pPr>
          </a:lstStyle>
          <a:p>
            <a:pPr lvl="0"/>
            <a:r>
              <a:rPr lang="da-DK"/>
              <a:t>Klik for at indsætte tekst (f.eks. job titel)</a:t>
            </a:r>
          </a:p>
        </p:txBody>
      </p:sp>
      <p:sp>
        <p:nvSpPr>
          <p:cNvPr id="10" name="Pladsholder til billede 3"/>
          <p:cNvSpPr>
            <a:spLocks noGrp="1"/>
          </p:cNvSpPr>
          <p:nvPr>
            <p:ph type="pic" sz="quarter" idx="13" hasCustomPrompt="1"/>
          </p:nvPr>
        </p:nvSpPr>
        <p:spPr>
          <a:xfrm>
            <a:off x="411163" y="1016000"/>
            <a:ext cx="4043879" cy="4804038"/>
          </a:xfrm>
          <a:noFill/>
        </p:spPr>
        <p:txBody>
          <a:bodyPr/>
          <a:lstStyle>
            <a:lvl1pPr marL="0" indent="0" algn="ctr">
              <a:buNone/>
              <a:defRPr sz="1100"/>
            </a:lvl1pPr>
          </a:lstStyle>
          <a:p>
            <a:r>
              <a:rPr lang="da-DK"/>
              <a:t>Vælg pladsholderen og indsæt billede via Templafy/Skyfish eller ikon eller logo via Templafy/Billeder</a:t>
            </a:r>
          </a:p>
        </p:txBody>
      </p:sp>
      <p:sp>
        <p:nvSpPr>
          <p:cNvPr id="18" name="Date Placeholder 14">
            <a:extLst>
              <a:ext uri="{FF2B5EF4-FFF2-40B4-BE49-F238E27FC236}">
                <a16:creationId xmlns:a16="http://schemas.microsoft.com/office/drawing/2014/main" id="{4AC2696B-BD55-4932-A36E-BCC4318F22B0}"/>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4" name="Date Placeholder 3">
            <a:extLst>
              <a:ext uri="{FF2B5EF4-FFF2-40B4-BE49-F238E27FC236}">
                <a16:creationId xmlns:a16="http://schemas.microsoft.com/office/drawing/2014/main" id="{01591D0A-163E-46D9-B4AE-DA2791457328}"/>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5" name="Footer Placeholder 4">
            <a:extLst>
              <a:ext uri="{FF2B5EF4-FFF2-40B4-BE49-F238E27FC236}">
                <a16:creationId xmlns:a16="http://schemas.microsoft.com/office/drawing/2014/main" id="{CD31645F-3EEE-4ACC-9DE8-38B996FFAD12}"/>
              </a:ext>
            </a:extLst>
          </p:cNvPr>
          <p:cNvSpPr>
            <a:spLocks noGrp="1"/>
          </p:cNvSpPr>
          <p:nvPr>
            <p:ph type="ftr" sz="quarter" idx="21"/>
          </p:nvPr>
        </p:nvSpPr>
        <p:spPr/>
        <p:txBody>
          <a:bodyPr/>
          <a:lstStyle/>
          <a:p>
            <a:endParaRPr lang="da-DK"/>
          </a:p>
        </p:txBody>
      </p:sp>
      <p:sp>
        <p:nvSpPr>
          <p:cNvPr id="11" name="Slide Number Placeholder 10">
            <a:extLst>
              <a:ext uri="{FF2B5EF4-FFF2-40B4-BE49-F238E27FC236}">
                <a16:creationId xmlns:a16="http://schemas.microsoft.com/office/drawing/2014/main" id="{DA9685AE-678B-466E-B97B-590BC795CFDA}"/>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12" name="TextBox 11">
            <a:extLst>
              <a:ext uri="{FF2B5EF4-FFF2-40B4-BE49-F238E27FC236}">
                <a16:creationId xmlns:a16="http://schemas.microsoft.com/office/drawing/2014/main" id="{4E308762-F27B-4C02-A3F6-05048278412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pic>
        <p:nvPicPr>
          <p:cNvPr id="13" name="Logo black">
            <a:extLst>
              <a:ext uri="{FF2B5EF4-FFF2-40B4-BE49-F238E27FC236}">
                <a16:creationId xmlns:a16="http://schemas.microsoft.com/office/drawing/2014/main" id="{16CDF92D-C78F-4CBE-853B-4E3CD39D2A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4" name="text" descr="{&quot;templafy&quot;:{&quot;id&quot;:&quot;84e0002e-7a76-4fca-9560-2d84df16dbb4&quot;}}" title="UserProfile.Institut.InstituteDCU_{{DocumentLanguage}}">
            <a:extLst>
              <a:ext uri="{FF2B5EF4-FFF2-40B4-BE49-F238E27FC236}">
                <a16:creationId xmlns:a16="http://schemas.microsoft.com/office/drawing/2014/main" id="{DF6D8BC8-E65A-425F-8A88-41B507F8A632}"/>
              </a:ext>
            </a:extLst>
          </p:cNvPr>
          <p:cNvSpPr txBox="1">
            <a:spLocks/>
          </p:cNvSpPr>
          <p:nvPr userDrawn="1"/>
        </p:nvSpPr>
        <p:spPr>
          <a:xfrm>
            <a:off x="411160" y="442422"/>
            <a:ext cx="602734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cxnSp>
        <p:nvCxnSpPr>
          <p:cNvPr id="16" name="Straight Connector 15">
            <a:extLst>
              <a:ext uri="{FF2B5EF4-FFF2-40B4-BE49-F238E27FC236}">
                <a16:creationId xmlns:a16="http://schemas.microsoft.com/office/drawing/2014/main" id="{07D7BB8A-9FF7-4F5F-964E-11BE0AD89A9E}"/>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A0D29C7-1B08-47AE-80F0-21F12DFA77C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9" name="Rectangle 18">
            <a:extLst>
              <a:ext uri="{FF2B5EF4-FFF2-40B4-BE49-F238E27FC236}">
                <a16:creationId xmlns:a16="http://schemas.microsoft.com/office/drawing/2014/main" id="{BBE87218-65BF-484A-9BC3-CFE3F6FD4ECC}"/>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Tree>
    <p:extLst>
      <p:ext uri="{BB962C8B-B14F-4D97-AF65-F5344CB8AC3E}">
        <p14:creationId xmlns:p14="http://schemas.microsoft.com/office/powerpoint/2010/main" val="289405914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Overskrift og bille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400"/>
            </a:lvl1pPr>
          </a:lstStyle>
          <a:p>
            <a:r>
              <a:rPr lang="da-DK"/>
              <a:t>Vælg pladsholderen og indsæt billede via Templafy/Skyfish eller ikon eller logo via Templafy/Billeder</a:t>
            </a:r>
          </a:p>
        </p:txBody>
      </p:sp>
      <p:sp>
        <p:nvSpPr>
          <p:cNvPr id="17" name="Date Placeholder 14">
            <a:extLst>
              <a:ext uri="{FF2B5EF4-FFF2-40B4-BE49-F238E27FC236}">
                <a16:creationId xmlns:a16="http://schemas.microsoft.com/office/drawing/2014/main" id="{360EC57D-D72D-43A3-90BC-3ACC9F8BC95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8" name="Date Placeholder 14">
            <a:extLst>
              <a:ext uri="{FF2B5EF4-FFF2-40B4-BE49-F238E27FC236}">
                <a16:creationId xmlns:a16="http://schemas.microsoft.com/office/drawing/2014/main" id="{36B2A848-B2AD-472A-AC10-0002D162D52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920C039-324F-433E-90A2-B9FAD2872EC2}"/>
              </a:ext>
            </a:extLst>
          </p:cNvPr>
          <p:cNvSpPr>
            <a:spLocks noGrp="1"/>
          </p:cNvSpPr>
          <p:nvPr>
            <p:ph type="ftr" sz="quarter" idx="15"/>
          </p:nvPr>
        </p:nvSpPr>
        <p:spPr/>
        <p:txBody>
          <a:bodyPr/>
          <a:lstStyle/>
          <a:p>
            <a:endParaRPr lang="da-DK"/>
          </a:p>
        </p:txBody>
      </p:sp>
      <p:sp>
        <p:nvSpPr>
          <p:cNvPr id="4" name="Slide Number Placeholder 3">
            <a:extLst>
              <a:ext uri="{FF2B5EF4-FFF2-40B4-BE49-F238E27FC236}">
                <a16:creationId xmlns:a16="http://schemas.microsoft.com/office/drawing/2014/main" id="{417D6F82-73FC-4F13-BFEC-9200E77E1527}"/>
              </a:ext>
            </a:extLst>
          </p:cNvPr>
          <p:cNvSpPr>
            <a:spLocks noGrp="1"/>
          </p:cNvSpPr>
          <p:nvPr>
            <p:ph type="sldNum" sz="quarter" idx="16"/>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23927830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Overskrift og indhold 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6" y="999173"/>
            <a:ext cx="10952579" cy="701040"/>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414696" y="1989138"/>
            <a:ext cx="10952580" cy="38528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2-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74494304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ire ikoner">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FA71C01-3350-42F9-9392-0F3379095A93}"/>
              </a:ext>
            </a:extLst>
          </p:cNvPr>
          <p:cNvSpPr>
            <a:spLocks noGrp="1"/>
          </p:cNvSpPr>
          <p:nvPr>
            <p:ph sz="quarter" idx="13" hasCustomPrompt="1"/>
          </p:nvPr>
        </p:nvSpPr>
        <p:spPr>
          <a:xfrm>
            <a:off x="2932902" y="1700213"/>
            <a:ext cx="936000" cy="936000"/>
          </a:xfrm>
        </p:spPr>
        <p:txBody>
          <a:bodyPr wrap="none"/>
          <a:lstStyle>
            <a:lvl1pPr marL="0" indent="0">
              <a:buNone/>
              <a:defRPr sz="1000"/>
            </a:lvl1pPr>
          </a:lstStyle>
          <a:p>
            <a:pPr lvl="0"/>
            <a:r>
              <a:rPr lang="da-DK"/>
              <a:t>Indsæt logo: Vælg pladsholderen, indsæt logo via Templafy/Billeder</a:t>
            </a:r>
          </a:p>
        </p:txBody>
      </p:sp>
      <p:sp>
        <p:nvSpPr>
          <p:cNvPr id="11" name="Text Placeholder 10">
            <a:extLst>
              <a:ext uri="{FF2B5EF4-FFF2-40B4-BE49-F238E27FC236}">
                <a16:creationId xmlns:a16="http://schemas.microsoft.com/office/drawing/2014/main" id="{C0A09C85-3CCC-44AB-A808-AA96845B1281}"/>
              </a:ext>
            </a:extLst>
          </p:cNvPr>
          <p:cNvSpPr>
            <a:spLocks noGrp="1"/>
          </p:cNvSpPr>
          <p:nvPr>
            <p:ph type="body" sz="quarter" idx="14" hasCustomPrompt="1"/>
          </p:nvPr>
        </p:nvSpPr>
        <p:spPr>
          <a:xfrm>
            <a:off x="2932902" y="2733129"/>
            <a:ext cx="3564000" cy="756000"/>
          </a:xfrm>
        </p:spPr>
        <p:txBody>
          <a:bodyPr/>
          <a:lstStyle>
            <a:lvl1pPr marL="0" indent="0">
              <a:buFont typeface="Arial" panose="020B0604020202020204" pitchFamily="34" charset="0"/>
              <a:buChar char="​"/>
              <a:defRPr sz="21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13" name="Content Placeholder 12">
            <a:extLst>
              <a:ext uri="{FF2B5EF4-FFF2-40B4-BE49-F238E27FC236}">
                <a16:creationId xmlns:a16="http://schemas.microsoft.com/office/drawing/2014/main" id="{3F35B7FD-E0E2-4581-BAC7-8858E530AFEA}"/>
              </a:ext>
            </a:extLst>
          </p:cNvPr>
          <p:cNvSpPr>
            <a:spLocks noGrp="1"/>
          </p:cNvSpPr>
          <p:nvPr>
            <p:ph sz="quarter" idx="15" hasCustomPrompt="1"/>
          </p:nvPr>
        </p:nvSpPr>
        <p:spPr>
          <a:xfrm>
            <a:off x="2934000"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15" name="Text Placeholder 14">
            <a:extLst>
              <a:ext uri="{FF2B5EF4-FFF2-40B4-BE49-F238E27FC236}">
                <a16:creationId xmlns:a16="http://schemas.microsoft.com/office/drawing/2014/main" id="{52C92166-E723-47D5-9A87-3354EB28C43E}"/>
              </a:ext>
            </a:extLst>
          </p:cNvPr>
          <p:cNvSpPr>
            <a:spLocks noGrp="1"/>
          </p:cNvSpPr>
          <p:nvPr>
            <p:ph type="body" sz="quarter" idx="16" hasCustomPrompt="1"/>
          </p:nvPr>
        </p:nvSpPr>
        <p:spPr>
          <a:xfrm>
            <a:off x="2932112" y="5093240"/>
            <a:ext cx="3564000" cy="756000"/>
          </a:xfrm>
        </p:spPr>
        <p:txBody>
          <a:bodyPr/>
          <a:lstStyle>
            <a:lvl1pPr marL="0" indent="0">
              <a:buFont typeface="Arial" panose="020B0604020202020204" pitchFamily="34" charset="0"/>
              <a:buChar char="​"/>
              <a:defRPr sz="2000" b="1"/>
            </a:lvl1pPr>
            <a:lvl2pPr marL="252000">
              <a:defRPr/>
            </a:lvl2pPr>
            <a:lvl3pPr marL="252000" indent="0">
              <a:buNone/>
              <a:defRPr/>
            </a:lvl3pPr>
          </a:lstStyle>
          <a:p>
            <a:pPr lvl="0"/>
            <a:r>
              <a:rPr lang="da-DK"/>
              <a:t>Klik for at tilføje overskrift</a:t>
            </a:r>
          </a:p>
          <a:p>
            <a:pPr lvl="1"/>
            <a:r>
              <a:rPr lang="da-DK"/>
              <a:t>Second level</a:t>
            </a:r>
          </a:p>
        </p:txBody>
      </p:sp>
      <p:sp>
        <p:nvSpPr>
          <p:cNvPr id="17" name="Content Placeholder 16">
            <a:extLst>
              <a:ext uri="{FF2B5EF4-FFF2-40B4-BE49-F238E27FC236}">
                <a16:creationId xmlns:a16="http://schemas.microsoft.com/office/drawing/2014/main" id="{AE23DA26-37CC-4CA7-8253-FD9AB459D2EF}"/>
              </a:ext>
            </a:extLst>
          </p:cNvPr>
          <p:cNvSpPr>
            <a:spLocks noGrp="1"/>
          </p:cNvSpPr>
          <p:nvPr>
            <p:ph sz="quarter" idx="17" hasCustomPrompt="1"/>
          </p:nvPr>
        </p:nvSpPr>
        <p:spPr>
          <a:xfrm>
            <a:off x="7474740" y="1700213"/>
            <a:ext cx="936000" cy="936000"/>
          </a:xfrm>
        </p:spPr>
        <p:txBody>
          <a:bodyPr wrap="none"/>
          <a:lstStyle>
            <a:lvl1pPr marL="0" indent="0">
              <a:buNone/>
              <a:defRPr sz="1000"/>
            </a:lvl1pPr>
            <a:lvl2pPr marL="252000" indent="0">
              <a:buNone/>
              <a:defRPr sz="1000"/>
            </a:lvl2pPr>
          </a:lstStyle>
          <a:p>
            <a:pPr lvl="0"/>
            <a:r>
              <a:rPr lang="da-DK"/>
              <a:t>Indsæt logo: Vælg pladsholderen, indsæt logo via Templafy/Billeder</a:t>
            </a:r>
          </a:p>
        </p:txBody>
      </p:sp>
      <p:sp>
        <p:nvSpPr>
          <p:cNvPr id="19" name="Text Placeholder 18">
            <a:extLst>
              <a:ext uri="{FF2B5EF4-FFF2-40B4-BE49-F238E27FC236}">
                <a16:creationId xmlns:a16="http://schemas.microsoft.com/office/drawing/2014/main" id="{62682726-03AB-4490-8664-993881FA0BB1}"/>
              </a:ext>
            </a:extLst>
          </p:cNvPr>
          <p:cNvSpPr>
            <a:spLocks noGrp="1"/>
          </p:cNvSpPr>
          <p:nvPr>
            <p:ph type="body" sz="quarter" idx="18" hasCustomPrompt="1"/>
          </p:nvPr>
        </p:nvSpPr>
        <p:spPr>
          <a:xfrm>
            <a:off x="7459663" y="273240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21" name="Content Placeholder 20">
            <a:extLst>
              <a:ext uri="{FF2B5EF4-FFF2-40B4-BE49-F238E27FC236}">
                <a16:creationId xmlns:a16="http://schemas.microsoft.com/office/drawing/2014/main" id="{762625AB-198B-4F37-9382-C78FD9118D5A}"/>
              </a:ext>
            </a:extLst>
          </p:cNvPr>
          <p:cNvSpPr>
            <a:spLocks noGrp="1"/>
          </p:cNvSpPr>
          <p:nvPr>
            <p:ph sz="quarter" idx="19" hasCustomPrompt="1"/>
          </p:nvPr>
        </p:nvSpPr>
        <p:spPr>
          <a:xfrm>
            <a:off x="7459663"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23" name="Text Placeholder 22">
            <a:extLst>
              <a:ext uri="{FF2B5EF4-FFF2-40B4-BE49-F238E27FC236}">
                <a16:creationId xmlns:a16="http://schemas.microsoft.com/office/drawing/2014/main" id="{D8AE7F93-F2C6-4199-8D16-CFB4D977F63E}"/>
              </a:ext>
            </a:extLst>
          </p:cNvPr>
          <p:cNvSpPr>
            <a:spLocks noGrp="1"/>
          </p:cNvSpPr>
          <p:nvPr>
            <p:ph type="body" sz="quarter" idx="20" hasCustomPrompt="1"/>
          </p:nvPr>
        </p:nvSpPr>
        <p:spPr>
          <a:xfrm>
            <a:off x="7473948" y="509324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p:txBody>
      </p:sp>
      <p:sp>
        <p:nvSpPr>
          <p:cNvPr id="3" name="Footer Placeholder 2">
            <a:extLst>
              <a:ext uri="{FF2B5EF4-FFF2-40B4-BE49-F238E27FC236}">
                <a16:creationId xmlns:a16="http://schemas.microsoft.com/office/drawing/2014/main" id="{0C4D261F-AFF9-422D-9FB3-5AE92F19507E}"/>
              </a:ext>
            </a:extLst>
          </p:cNvPr>
          <p:cNvSpPr>
            <a:spLocks noGrp="1"/>
          </p:cNvSpPr>
          <p:nvPr>
            <p:ph type="ftr" sz="quarter" idx="10"/>
          </p:nvPr>
        </p:nvSpPr>
        <p:spPr/>
        <p:txBody>
          <a:bodyPr/>
          <a:lstStyle/>
          <a:p>
            <a:endParaRPr lang="da-DK"/>
          </a:p>
        </p:txBody>
      </p:sp>
      <p:sp>
        <p:nvSpPr>
          <p:cNvPr id="4" name="Date Placeholder 3">
            <a:extLst>
              <a:ext uri="{FF2B5EF4-FFF2-40B4-BE49-F238E27FC236}">
                <a16:creationId xmlns:a16="http://schemas.microsoft.com/office/drawing/2014/main" id="{21133E6A-A4F4-491B-846E-1DACC83D9BB7}"/>
              </a:ext>
            </a:extLst>
          </p:cNvPr>
          <p:cNvSpPr>
            <a:spLocks noGrp="1"/>
          </p:cNvSpPr>
          <p:nvPr>
            <p:ph type="dt" sz="half" idx="11"/>
          </p:nvPr>
        </p:nvSpPr>
        <p:spPr/>
        <p:txBody>
          <a:bodyPr/>
          <a:lstStyle/>
          <a:p>
            <a:fld id="{F1A13B18-F5ED-4611-8DBB-F05123AFBA22}" type="datetimeFigureOut">
              <a:rPr lang="da-DK" smtClean="0"/>
              <a:pPr/>
              <a:t>08-05-2025</a:t>
            </a:fld>
            <a:endParaRPr lang="da-DK"/>
          </a:p>
        </p:txBody>
      </p:sp>
      <p:sp>
        <p:nvSpPr>
          <p:cNvPr id="5" name="Slide Number Placeholder 4">
            <a:extLst>
              <a:ext uri="{FF2B5EF4-FFF2-40B4-BE49-F238E27FC236}">
                <a16:creationId xmlns:a16="http://schemas.microsoft.com/office/drawing/2014/main" id="{6C38E8B2-EC82-4BE1-85C6-8F272596913A}"/>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0926742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Overskrift og log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6F8A6A9-890A-4EA2-8FA4-EA834B1A12F4}"/>
              </a:ext>
            </a:extLst>
          </p:cNvPr>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1" name="Date Placeholder 14">
            <a:extLst>
              <a:ext uri="{FF2B5EF4-FFF2-40B4-BE49-F238E27FC236}">
                <a16:creationId xmlns:a16="http://schemas.microsoft.com/office/drawing/2014/main" id="{705F52FC-7E26-46C0-8E8B-4445D500B9C7}"/>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7" name="Date Placeholder 6">
            <a:extLst>
              <a:ext uri="{FF2B5EF4-FFF2-40B4-BE49-F238E27FC236}">
                <a16:creationId xmlns:a16="http://schemas.microsoft.com/office/drawing/2014/main" id="{D01B1D99-4B52-4731-AEC4-C722464A7D1B}"/>
              </a:ext>
            </a:extLst>
          </p:cNvPr>
          <p:cNvSpPr>
            <a:spLocks noGrp="1"/>
          </p:cNvSpPr>
          <p:nvPr>
            <p:ph type="dt" sz="half" idx="10"/>
          </p:nvPr>
        </p:nvSpPr>
        <p:spPr/>
        <p:txBody>
          <a:bodyPr/>
          <a:lstStyle/>
          <a:p>
            <a:fld id="{F1A13B18-F5ED-4611-8DBB-F05123AFBA22}" type="datetimeFigureOut">
              <a:rPr lang="da-DK" smtClean="0"/>
              <a:pPr/>
              <a:t>08-05-2025</a:t>
            </a:fld>
            <a:endParaRPr lang="da-DK"/>
          </a:p>
        </p:txBody>
      </p:sp>
      <p:sp>
        <p:nvSpPr>
          <p:cNvPr id="9" name="Footer Placeholder 8">
            <a:extLst>
              <a:ext uri="{FF2B5EF4-FFF2-40B4-BE49-F238E27FC236}">
                <a16:creationId xmlns:a16="http://schemas.microsoft.com/office/drawing/2014/main" id="{F5FCEDFC-AE26-4F9F-9153-1837190678EF}"/>
              </a:ext>
            </a:extLst>
          </p:cNvPr>
          <p:cNvSpPr>
            <a:spLocks noGrp="1"/>
          </p:cNvSpPr>
          <p:nvPr>
            <p:ph type="ftr" sz="quarter" idx="11"/>
          </p:nvPr>
        </p:nvSpPr>
        <p:spPr/>
        <p:txBody>
          <a:bodyPr/>
          <a:lstStyle/>
          <a:p>
            <a:endParaRPr lang="da-DK"/>
          </a:p>
        </p:txBody>
      </p:sp>
      <p:sp>
        <p:nvSpPr>
          <p:cNvPr id="12" name="Slide Number Placeholder 11">
            <a:extLst>
              <a:ext uri="{FF2B5EF4-FFF2-40B4-BE49-F238E27FC236}">
                <a16:creationId xmlns:a16="http://schemas.microsoft.com/office/drawing/2014/main" id="{4B452C39-88DE-4155-8ED8-643714B1A9FE}"/>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7182264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2_Overskrift og indhold 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6" y="999173"/>
            <a:ext cx="10952579" cy="701040"/>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414696" y="1989138"/>
            <a:ext cx="10952580" cy="38528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2872882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05658C06-E668-41FD-BC8E-10BED683B81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D2F70ACF-A56D-4728-A5F0-F1701EF89A04}"/>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189724879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B0751AEF-1843-451A-9418-F0E0C3DC69E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0248BF5A-3EA4-44A2-85A9-D816B038DD0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23017093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ort forsid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BBCAF46D-9983-4AEE-9B8A-24654CDEDDB0}"/>
              </a:ext>
            </a:extLst>
          </p:cNvPr>
          <p:cNvSpPr/>
          <p:nvPr userDrawn="1"/>
        </p:nvSpPr>
        <p:spPr>
          <a:xfrm>
            <a:off x="0" y="0"/>
            <a:ext cx="1218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err="1"/>
          </a:p>
        </p:txBody>
      </p:sp>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bg1"/>
                </a:solidFill>
              </a:defRPr>
            </a:lvl1pPr>
          </a:lstStyle>
          <a:p>
            <a:r>
              <a:rPr lang="da-DK"/>
              <a:t>Klik for at tilføje overskrift</a:t>
            </a:r>
          </a:p>
        </p:txBody>
      </p:sp>
      <p:sp>
        <p:nvSpPr>
          <p:cNvPr id="19" name="text" descr="{&quot;templafy&quot;:{&quot;id&quot;:&quot;625e59af-0af1-42f8-9708-9f97431f1a16&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dirty="0">
                <a:solidFill>
                  <a:schemeClr val="bg1"/>
                </a:solidFill>
              </a:rPr>
              <a:t>SDU SIS</a:t>
            </a:r>
          </a:p>
        </p:txBody>
      </p:sp>
      <p:pic>
        <p:nvPicPr>
          <p:cNvPr id="7" name="Logo black">
            <a:extLst>
              <a:ext uri="{FF2B5EF4-FFF2-40B4-BE49-F238E27FC236}">
                <a16:creationId xmlns:a16="http://schemas.microsoft.com/office/drawing/2014/main" id="{E6E48129-FB3C-4F39-A5A1-63313B41D3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200" y="6296400"/>
            <a:ext cx="786874" cy="212400"/>
          </a:xfrm>
          <a:prstGeom prst="rect">
            <a:avLst/>
          </a:prstGeom>
        </p:spPr>
      </p:pic>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cxnSp>
        <p:nvCxnSpPr>
          <p:cNvPr id="12" name="Straight Connector 11">
            <a:extLst>
              <a:ext uri="{FF2B5EF4-FFF2-40B4-BE49-F238E27FC236}">
                <a16:creationId xmlns:a16="http://schemas.microsoft.com/office/drawing/2014/main" id="{0C739632-1CD3-47C1-98D9-4B1B2253C7C9}"/>
              </a:ext>
            </a:extLst>
          </p:cNvPr>
          <p:cNvCxnSpPr>
            <a:cxnSpLocks/>
          </p:cNvCxnSpPr>
          <p:nvPr userDrawn="1"/>
        </p:nvCxnSpPr>
        <p:spPr>
          <a:xfrm>
            <a:off x="410400" y="715665"/>
            <a:ext cx="69921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14">
            <a:extLst>
              <a:ext uri="{FF2B5EF4-FFF2-40B4-BE49-F238E27FC236}">
                <a16:creationId xmlns:a16="http://schemas.microsoft.com/office/drawing/2014/main" id="{D4E1389B-CA3B-4709-956D-F396D960BBC8}"/>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4" name="Date Placeholder 14">
            <a:extLst>
              <a:ext uri="{FF2B5EF4-FFF2-40B4-BE49-F238E27FC236}">
                <a16:creationId xmlns:a16="http://schemas.microsoft.com/office/drawing/2014/main" id="{8A94F1C1-AE36-4BBA-B958-8FC614A9472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Tree>
    <p:extLst>
      <p:ext uri="{BB962C8B-B14F-4D97-AF65-F5344CB8AC3E}">
        <p14:creationId xmlns:p14="http://schemas.microsoft.com/office/powerpoint/2010/main" val="36623727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Hvid for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tx1"/>
                </a:solidFill>
              </a:defRPr>
            </a:lvl1pPr>
          </a:lstStyle>
          <a:p>
            <a:r>
              <a:rPr lang="da-DK"/>
              <a:t>Klik for at tilføje overskrift</a:t>
            </a:r>
          </a:p>
        </p:txBody>
      </p:sp>
      <p:sp>
        <p:nvSpPr>
          <p:cNvPr id="13" name="Date Placeholder 14">
            <a:extLst>
              <a:ext uri="{FF2B5EF4-FFF2-40B4-BE49-F238E27FC236}">
                <a16:creationId xmlns:a16="http://schemas.microsoft.com/office/drawing/2014/main" id="{5161ABAB-6DB4-433A-ACC8-A0EC0AACAD0C}"/>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4" name="Date Placeholder 14">
            <a:extLst>
              <a:ext uri="{FF2B5EF4-FFF2-40B4-BE49-F238E27FC236}">
                <a16:creationId xmlns:a16="http://schemas.microsoft.com/office/drawing/2014/main" id="{BC3A8B03-9EA5-416E-BD54-B87E6C4A6781}"/>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Tree>
    <p:extLst>
      <p:ext uri="{BB962C8B-B14F-4D97-AF65-F5344CB8AC3E}">
        <p14:creationId xmlns:p14="http://schemas.microsoft.com/office/powerpoint/2010/main" val="208186393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4400">
                <a:solidFill>
                  <a:schemeClr val="tx1"/>
                </a:solidFill>
              </a:defRPr>
            </a:lvl1pPr>
          </a:lstStyle>
          <a:p>
            <a:r>
              <a:rPr lang="da-DK"/>
              <a:t>Klik for at tilføje overskrift</a:t>
            </a:r>
          </a:p>
        </p:txBody>
      </p:sp>
      <p:sp>
        <p:nvSpPr>
          <p:cNvPr id="19" name="text" descr="{&quot;templafy&quot;:{&quot;id&quot;:&quot;4f455b05-4319-4f8f-8f7d-79f450a749aa&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dirty="0"/>
              <a:t>SDU SIS</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1" name="Straight Connector 10">
            <a:extLst>
              <a:ext uri="{FF2B5EF4-FFF2-40B4-BE49-F238E27FC236}">
                <a16:creationId xmlns:a16="http://schemas.microsoft.com/office/drawing/2014/main" id="{EEFBD90C-157B-45E5-8A90-9560C86CAB4C}"/>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descr="{&quot;templafy&quot;:{&quot;id&quot;:&quot;859008e1-1671-4807-8867-2aaa4d8b9bc1&quot;}}" title="Form.Date">
            <a:extLst>
              <a:ext uri="{FF2B5EF4-FFF2-40B4-BE49-F238E27FC236}">
                <a16:creationId xmlns:a16="http://schemas.microsoft.com/office/drawing/2014/main" id="{508E925B-663E-4A1A-8916-BC4FCFEA746C}"/>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5</a:t>
            </a:r>
          </a:p>
        </p:txBody>
      </p:sp>
      <p:pic>
        <p:nvPicPr>
          <p:cNvPr id="13" name="Logo black">
            <a:extLst>
              <a:ext uri="{FF2B5EF4-FFF2-40B4-BE49-F238E27FC236}">
                <a16:creationId xmlns:a16="http://schemas.microsoft.com/office/drawing/2014/main" id="{8790A71A-B09B-4B5F-9D31-846A17201C9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7" name="Date Placeholder 14">
            <a:extLst>
              <a:ext uri="{FF2B5EF4-FFF2-40B4-BE49-F238E27FC236}">
                <a16:creationId xmlns:a16="http://schemas.microsoft.com/office/drawing/2014/main" id="{D63CFED0-47FC-4852-81C1-6B705FD6417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TextBox 2">
            <a:extLst>
              <a:ext uri="{FF2B5EF4-FFF2-40B4-BE49-F238E27FC236}">
                <a16:creationId xmlns:a16="http://schemas.microsoft.com/office/drawing/2014/main" id="{2D2565F4-7FB3-4F2B-AED8-4859D42935AE}"/>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404321190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b" anchorCtr="0"/>
          <a:lstStyle>
            <a:lvl1pPr algn="l">
              <a:lnSpc>
                <a:spcPct val="100000"/>
              </a:lnSpc>
              <a:defRPr sz="44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A915360E-F247-49FB-821B-5399F1326472}"/>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7" name="Date Placeholder 14">
            <a:extLst>
              <a:ext uri="{FF2B5EF4-FFF2-40B4-BE49-F238E27FC236}">
                <a16:creationId xmlns:a16="http://schemas.microsoft.com/office/drawing/2014/main" id="{FB068F22-0263-44BB-8333-C5643293F39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8" name="Date Placeholder 14">
            <a:extLst>
              <a:ext uri="{FF2B5EF4-FFF2-40B4-BE49-F238E27FC236}">
                <a16:creationId xmlns:a16="http://schemas.microsoft.com/office/drawing/2014/main" id="{2D08A2CA-4B19-4B39-B540-F97244C446A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10" name="TextBox 9">
            <a:extLst>
              <a:ext uri="{FF2B5EF4-FFF2-40B4-BE49-F238E27FC236}">
                <a16:creationId xmlns:a16="http://schemas.microsoft.com/office/drawing/2014/main" id="{7EB9F81D-3EAD-42E8-88EC-432C25D7A8F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79645889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verskrift og indhold 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6673356" y="1700212"/>
            <a:ext cx="4693920" cy="4141788"/>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7246517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Indhold og teks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92202" y="1006605"/>
            <a:ext cx="4680000" cy="1938338"/>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5" name="Text Placeholder 4">
            <a:extLst>
              <a:ext uri="{FF2B5EF4-FFF2-40B4-BE49-F238E27FC236}">
                <a16:creationId xmlns:a16="http://schemas.microsoft.com/office/drawing/2014/main" id="{BCB99C08-64C3-4ADA-9CD2-FBE2ED8551F6}"/>
              </a:ext>
            </a:extLst>
          </p:cNvPr>
          <p:cNvSpPr>
            <a:spLocks noGrp="1"/>
          </p:cNvSpPr>
          <p:nvPr>
            <p:ph type="body" sz="quarter" idx="13"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9" name="text" descr="{&quot;templafy&quot;:{&quot;id&quot;:&quot;65556a86-d746-4687-a0d7-2a9534b12547&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SIS</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2" name="Straight Connector 11">
            <a:extLst>
              <a:ext uri="{FF2B5EF4-FFF2-40B4-BE49-F238E27FC236}">
                <a16:creationId xmlns:a16="http://schemas.microsoft.com/office/drawing/2014/main" id="{ECEA2A3A-0B73-49AA-824B-85FAE9B16B10}"/>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e" descr="{&quot;templafy&quot;:{&quot;id&quot;:&quot;238ce84f-c437-42e2-9186-cc2a0b3d944a&quot;}}" title="Form.Date">
            <a:extLst>
              <a:ext uri="{FF2B5EF4-FFF2-40B4-BE49-F238E27FC236}">
                <a16:creationId xmlns:a16="http://schemas.microsoft.com/office/drawing/2014/main" id="{6189AE65-D68D-4102-AA1D-2A3BCB6F21BF}"/>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a:solidFill>
                  <a:schemeClr val="tx1"/>
                </a:solidFill>
              </a:rPr>
              <a:t>2025</a:t>
            </a:r>
          </a:p>
        </p:txBody>
      </p:sp>
      <p:sp>
        <p:nvSpPr>
          <p:cNvPr id="18" name="Date Placeholder 14">
            <a:extLst>
              <a:ext uri="{FF2B5EF4-FFF2-40B4-BE49-F238E27FC236}">
                <a16:creationId xmlns:a16="http://schemas.microsoft.com/office/drawing/2014/main" id="{A09FC7B4-885C-4F9D-BD71-AE2FBDB3869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6" name="Content Placeholder 5">
            <a:extLst>
              <a:ext uri="{FF2B5EF4-FFF2-40B4-BE49-F238E27FC236}">
                <a16:creationId xmlns:a16="http://schemas.microsoft.com/office/drawing/2014/main" id="{2B8FEE58-0FE9-4218-904C-188D46CD214D}"/>
              </a:ext>
            </a:extLst>
          </p:cNvPr>
          <p:cNvSpPr>
            <a:spLocks noGrp="1"/>
          </p:cNvSpPr>
          <p:nvPr>
            <p:ph sz="quarter" idx="15" hasCustomPrompt="1"/>
          </p:nvPr>
        </p:nvSpPr>
        <p:spPr>
          <a:xfrm>
            <a:off x="422432" y="1000443"/>
            <a:ext cx="5077365" cy="4853157"/>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Date Placeholder 12">
            <a:extLst>
              <a:ext uri="{FF2B5EF4-FFF2-40B4-BE49-F238E27FC236}">
                <a16:creationId xmlns:a16="http://schemas.microsoft.com/office/drawing/2014/main" id="{3F302217-B569-449A-8422-B6650C9BB084}"/>
              </a:ext>
            </a:extLst>
          </p:cNvPr>
          <p:cNvSpPr>
            <a:spLocks noGrp="1"/>
          </p:cNvSpPr>
          <p:nvPr>
            <p:ph type="dt" sz="half" idx="16"/>
          </p:nvPr>
        </p:nvSpPr>
        <p:spPr/>
        <p:txBody>
          <a:bodyPr/>
          <a:lstStyle/>
          <a:p>
            <a:fld id="{F1A13B18-F5ED-4611-8DBB-F05123AFBA22}" type="datetimeFigureOut">
              <a:rPr lang="da-DK" smtClean="0"/>
              <a:pPr/>
              <a:t>02-05-2025</a:t>
            </a:fld>
            <a:endParaRPr lang="da-DK"/>
          </a:p>
        </p:txBody>
      </p:sp>
      <p:sp>
        <p:nvSpPr>
          <p:cNvPr id="14" name="Footer Placeholder 13">
            <a:extLst>
              <a:ext uri="{FF2B5EF4-FFF2-40B4-BE49-F238E27FC236}">
                <a16:creationId xmlns:a16="http://schemas.microsoft.com/office/drawing/2014/main" id="{DF36464C-AEF7-4BFD-9A97-813102BCA484}"/>
              </a:ext>
            </a:extLst>
          </p:cNvPr>
          <p:cNvSpPr>
            <a:spLocks noGrp="1"/>
          </p:cNvSpPr>
          <p:nvPr>
            <p:ph type="ftr" sz="quarter" idx="17"/>
          </p:nvPr>
        </p:nvSpPr>
        <p:spPr/>
        <p:txBody>
          <a:bodyPr/>
          <a:lstStyle/>
          <a:p>
            <a:endParaRPr lang="da-DK"/>
          </a:p>
        </p:txBody>
      </p:sp>
      <p:sp>
        <p:nvSpPr>
          <p:cNvPr id="24" name="Slide Number Placeholder 23">
            <a:extLst>
              <a:ext uri="{FF2B5EF4-FFF2-40B4-BE49-F238E27FC236}">
                <a16:creationId xmlns:a16="http://schemas.microsoft.com/office/drawing/2014/main" id="{58D7263E-B2E5-4CB9-9AAF-C0006E4A0400}"/>
              </a:ext>
            </a:extLst>
          </p:cNvPr>
          <p:cNvSpPr>
            <a:spLocks noGrp="1"/>
          </p:cNvSpPr>
          <p:nvPr>
            <p:ph type="sldNum" sz="quarter" idx="18"/>
          </p:nvPr>
        </p:nvSpPr>
        <p:spPr/>
        <p:txBody>
          <a:bodyPr/>
          <a:lstStyle/>
          <a:p>
            <a:fld id="{45D37B1E-C366-494F-A587-962AD9AABC83}" type="slidenum">
              <a:rPr lang="da-DK" smtClean="0"/>
              <a:pPr/>
              <a:t>‹#›</a:t>
            </a:fld>
            <a:endParaRPr lang="da-DK"/>
          </a:p>
        </p:txBody>
      </p:sp>
      <p:sp>
        <p:nvSpPr>
          <p:cNvPr id="17" name="TextBox 16">
            <a:extLst>
              <a:ext uri="{FF2B5EF4-FFF2-40B4-BE49-F238E27FC236}">
                <a16:creationId xmlns:a16="http://schemas.microsoft.com/office/drawing/2014/main" id="{1BBAA208-28D6-470D-B539-73F9AC20E86C}"/>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379448460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verskrift og indhold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5366267" cy="1884283"/>
          </a:xfrm>
        </p:spPr>
        <p:txBody>
          <a:bodyPr/>
          <a:lstStyle>
            <a:lvl1pPr>
              <a:defRPr/>
            </a:lvl1pPr>
          </a:lstStyle>
          <a:p>
            <a:r>
              <a:rPr lang="da-DK"/>
              <a:t>Klik for at tilføje overskrift</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156000" y="1028246"/>
            <a:ext cx="5216400" cy="4825354"/>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21" name="Straight Connector 20">
            <a:extLst>
              <a:ext uri="{FF2B5EF4-FFF2-40B4-BE49-F238E27FC236}">
                <a16:creationId xmlns:a16="http://schemas.microsoft.com/office/drawing/2014/main" id="{5D6B1FAA-D7ED-4C71-8DC4-E5439F01BCEB}"/>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Logo black">
            <a:extLst>
              <a:ext uri="{FF2B5EF4-FFF2-40B4-BE49-F238E27FC236}">
                <a16:creationId xmlns:a16="http://schemas.microsoft.com/office/drawing/2014/main" id="{CAAF367F-3818-457C-9EE1-320E9050AE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4" name="Footer Placeholder 3">
            <a:extLst>
              <a:ext uri="{FF2B5EF4-FFF2-40B4-BE49-F238E27FC236}">
                <a16:creationId xmlns:a16="http://schemas.microsoft.com/office/drawing/2014/main" id="{496ECF2D-BB4C-4004-9F8E-08239A46461C}"/>
              </a:ext>
            </a:extLst>
          </p:cNvPr>
          <p:cNvSpPr>
            <a:spLocks noGrp="1"/>
          </p:cNvSpPr>
          <p:nvPr>
            <p:ph type="ftr" sz="quarter" idx="21"/>
          </p:nvPr>
        </p:nvSpPr>
        <p:spPr/>
        <p:txBody>
          <a:bodyPr/>
          <a:lstStyle/>
          <a:p>
            <a:endParaRPr lang="da-DK"/>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20" name="TextBox 19">
            <a:extLst>
              <a:ext uri="{FF2B5EF4-FFF2-40B4-BE49-F238E27FC236}">
                <a16:creationId xmlns:a16="http://schemas.microsoft.com/office/drawing/2014/main" id="{E75150F5-CFA6-40F1-B2B7-79337C2232BB}"/>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354913449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verskrift og indhold 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6" y="999173"/>
            <a:ext cx="10952579" cy="701040"/>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414696" y="1989138"/>
            <a:ext cx="10952580" cy="38528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32912515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Indhold og teks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692202" y="1006605"/>
            <a:ext cx="4680000" cy="1938338"/>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5" name="Text Placeholder 4">
            <a:extLst>
              <a:ext uri="{FF2B5EF4-FFF2-40B4-BE49-F238E27FC236}">
                <a16:creationId xmlns:a16="http://schemas.microsoft.com/office/drawing/2014/main" id="{BCB99C08-64C3-4ADA-9CD2-FBE2ED8551F6}"/>
              </a:ext>
            </a:extLst>
          </p:cNvPr>
          <p:cNvSpPr>
            <a:spLocks noGrp="1"/>
          </p:cNvSpPr>
          <p:nvPr>
            <p:ph type="body" sz="quarter" idx="13"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9" name="text" descr="{&quot;templafy&quot;:{&quot;id&quot;:&quot;65556a86-d746-4687-a0d7-2a9534b12547&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2" name="Straight Connector 11">
            <a:extLst>
              <a:ext uri="{FF2B5EF4-FFF2-40B4-BE49-F238E27FC236}">
                <a16:creationId xmlns:a16="http://schemas.microsoft.com/office/drawing/2014/main" id="{ECEA2A3A-0B73-49AA-824B-85FAE9B16B10}"/>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date" descr="{&quot;templafy&quot;:{&quot;id&quot;:&quot;238ce84f-c437-42e2-9186-cc2a0b3d944a&quot;}}" title="Form.Date">
            <a:extLst>
              <a:ext uri="{FF2B5EF4-FFF2-40B4-BE49-F238E27FC236}">
                <a16:creationId xmlns:a16="http://schemas.microsoft.com/office/drawing/2014/main" id="{6189AE65-D68D-4102-AA1D-2A3BCB6F21BF}"/>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4</a:t>
            </a:r>
          </a:p>
        </p:txBody>
      </p:sp>
      <p:pic>
        <p:nvPicPr>
          <p:cNvPr id="16" name="Logo black">
            <a:extLst>
              <a:ext uri="{FF2B5EF4-FFF2-40B4-BE49-F238E27FC236}">
                <a16:creationId xmlns:a16="http://schemas.microsoft.com/office/drawing/2014/main" id="{B52757AD-346A-4AA0-A5D6-36F8B1FE487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8" name="Date Placeholder 14">
            <a:extLst>
              <a:ext uri="{FF2B5EF4-FFF2-40B4-BE49-F238E27FC236}">
                <a16:creationId xmlns:a16="http://schemas.microsoft.com/office/drawing/2014/main" id="{A09FC7B4-885C-4F9D-BD71-AE2FBDB3869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6" name="Content Placeholder 5">
            <a:extLst>
              <a:ext uri="{FF2B5EF4-FFF2-40B4-BE49-F238E27FC236}">
                <a16:creationId xmlns:a16="http://schemas.microsoft.com/office/drawing/2014/main" id="{2B8FEE58-0FE9-4218-904C-188D46CD214D}"/>
              </a:ext>
            </a:extLst>
          </p:cNvPr>
          <p:cNvSpPr>
            <a:spLocks noGrp="1"/>
          </p:cNvSpPr>
          <p:nvPr>
            <p:ph sz="quarter" idx="15" hasCustomPrompt="1"/>
          </p:nvPr>
        </p:nvSpPr>
        <p:spPr>
          <a:xfrm>
            <a:off x="422432" y="1000443"/>
            <a:ext cx="5077365" cy="4853157"/>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3" name="Date Placeholder 12">
            <a:extLst>
              <a:ext uri="{FF2B5EF4-FFF2-40B4-BE49-F238E27FC236}">
                <a16:creationId xmlns:a16="http://schemas.microsoft.com/office/drawing/2014/main" id="{3F302217-B569-449A-8422-B6650C9BB084}"/>
              </a:ext>
            </a:extLst>
          </p:cNvPr>
          <p:cNvSpPr>
            <a:spLocks noGrp="1"/>
          </p:cNvSpPr>
          <p:nvPr>
            <p:ph type="dt" sz="half" idx="16"/>
          </p:nvPr>
        </p:nvSpPr>
        <p:spPr/>
        <p:txBody>
          <a:bodyPr/>
          <a:lstStyle/>
          <a:p>
            <a:fld id="{F1A13B18-F5ED-4611-8DBB-F05123AFBA22}" type="datetimeFigureOut">
              <a:rPr lang="da-DK" smtClean="0"/>
              <a:pPr/>
              <a:t>08-05-2025</a:t>
            </a:fld>
            <a:endParaRPr lang="da-DK"/>
          </a:p>
        </p:txBody>
      </p:sp>
      <p:sp>
        <p:nvSpPr>
          <p:cNvPr id="14" name="Footer Placeholder 13">
            <a:extLst>
              <a:ext uri="{FF2B5EF4-FFF2-40B4-BE49-F238E27FC236}">
                <a16:creationId xmlns:a16="http://schemas.microsoft.com/office/drawing/2014/main" id="{DF36464C-AEF7-4BFD-9A97-813102BCA484}"/>
              </a:ext>
            </a:extLst>
          </p:cNvPr>
          <p:cNvSpPr>
            <a:spLocks noGrp="1"/>
          </p:cNvSpPr>
          <p:nvPr>
            <p:ph type="ftr" sz="quarter" idx="17"/>
          </p:nvPr>
        </p:nvSpPr>
        <p:spPr/>
        <p:txBody>
          <a:bodyPr/>
          <a:lstStyle/>
          <a:p>
            <a:endParaRPr lang="da-DK"/>
          </a:p>
        </p:txBody>
      </p:sp>
      <p:sp>
        <p:nvSpPr>
          <p:cNvPr id="24" name="Slide Number Placeholder 23">
            <a:extLst>
              <a:ext uri="{FF2B5EF4-FFF2-40B4-BE49-F238E27FC236}">
                <a16:creationId xmlns:a16="http://schemas.microsoft.com/office/drawing/2014/main" id="{58D7263E-B2E5-4CB9-9AAF-C0006E4A0400}"/>
              </a:ext>
            </a:extLst>
          </p:cNvPr>
          <p:cNvSpPr>
            <a:spLocks noGrp="1"/>
          </p:cNvSpPr>
          <p:nvPr>
            <p:ph type="sldNum" sz="quarter" idx="18"/>
          </p:nvPr>
        </p:nvSpPr>
        <p:spPr/>
        <p:txBody>
          <a:bodyPr/>
          <a:lstStyle/>
          <a:p>
            <a:fld id="{45D37B1E-C366-494F-A587-962AD9AABC83}" type="slidenum">
              <a:rPr lang="da-DK" smtClean="0"/>
              <a:pPr/>
              <a:t>‹#›</a:t>
            </a:fld>
            <a:endParaRPr lang="da-DK"/>
          </a:p>
        </p:txBody>
      </p:sp>
      <p:sp>
        <p:nvSpPr>
          <p:cNvPr id="17" name="TextBox 16">
            <a:extLst>
              <a:ext uri="{FF2B5EF4-FFF2-40B4-BE49-F238E27FC236}">
                <a16:creationId xmlns:a16="http://schemas.microsoft.com/office/drawing/2014/main" id="{1BBAA208-28D6-470D-B539-73F9AC20E86C}"/>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8685302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B9A67-E62D-400C-BC42-A3A96AAED25F}"/>
              </a:ext>
            </a:extLst>
          </p:cNvPr>
          <p:cNvSpPr>
            <a:spLocks noGrp="1"/>
          </p:cNvSpPr>
          <p:nvPr>
            <p:ph type="title" hasCustomPrompt="1"/>
          </p:nvPr>
        </p:nvSpPr>
        <p:spPr>
          <a:xfrm>
            <a:off x="410401" y="1028247"/>
            <a:ext cx="2502000" cy="432000"/>
          </a:xfrm>
        </p:spPr>
        <p:txBody>
          <a:bodyPr/>
          <a:lstStyle>
            <a:lvl1pPr>
              <a:lnSpc>
                <a:spcPct val="110000"/>
              </a:lnSpc>
              <a:defRPr sz="1200"/>
            </a:lvl1pPr>
          </a:lstStyle>
          <a:p>
            <a:r>
              <a:rPr lang="da-DK" noProof="0"/>
              <a:t>Klik for at tilføje underoverskrift</a:t>
            </a:r>
            <a:endParaRPr lang="da-DK"/>
          </a:p>
        </p:txBody>
      </p:sp>
      <p:sp>
        <p:nvSpPr>
          <p:cNvPr id="14" name="Content Placeholder 13">
            <a:extLst>
              <a:ext uri="{FF2B5EF4-FFF2-40B4-BE49-F238E27FC236}">
                <a16:creationId xmlns:a16="http://schemas.microsoft.com/office/drawing/2014/main" id="{E60E8CAC-51BD-4862-8B6E-BD3E315677C4}"/>
              </a:ext>
            </a:extLst>
          </p:cNvPr>
          <p:cNvSpPr>
            <a:spLocks noGrp="1"/>
          </p:cNvSpPr>
          <p:nvPr>
            <p:ph sz="quarter" idx="13" hasCustomPrompt="1"/>
          </p:nvPr>
        </p:nvSpPr>
        <p:spPr>
          <a:xfrm>
            <a:off x="411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5" name="Subtitle 2">
            <a:extLst>
              <a:ext uri="{FF2B5EF4-FFF2-40B4-BE49-F238E27FC236}">
                <a16:creationId xmlns:a16="http://schemas.microsoft.com/office/drawing/2014/main" id="{25135A09-8F8A-4D87-8C43-B3A0A80BE2F5}"/>
              </a:ext>
            </a:extLst>
          </p:cNvPr>
          <p:cNvSpPr>
            <a:spLocks noGrp="1"/>
          </p:cNvSpPr>
          <p:nvPr>
            <p:ph type="subTitle" idx="1" hasCustomPrompt="1"/>
          </p:nvPr>
        </p:nvSpPr>
        <p:spPr>
          <a:xfrm>
            <a:off x="3273164" y="1028246"/>
            <a:ext cx="2502000" cy="432000"/>
          </a:xfrm>
        </p:spPr>
        <p:txBody>
          <a:bodyPr/>
          <a:lstStyle>
            <a:lvl1pPr marL="0" indent="0" algn="l">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tilføje underoverskrift</a:t>
            </a:r>
            <a:endParaRPr lang="da-DK"/>
          </a:p>
        </p:txBody>
      </p:sp>
      <p:sp>
        <p:nvSpPr>
          <p:cNvPr id="17" name="Content Placeholder 16">
            <a:extLst>
              <a:ext uri="{FF2B5EF4-FFF2-40B4-BE49-F238E27FC236}">
                <a16:creationId xmlns:a16="http://schemas.microsoft.com/office/drawing/2014/main" id="{462D92C6-668E-491E-B394-72897FAB3085}"/>
              </a:ext>
            </a:extLst>
          </p:cNvPr>
          <p:cNvSpPr>
            <a:spLocks noGrp="1"/>
          </p:cNvSpPr>
          <p:nvPr>
            <p:ph sz="quarter" idx="14" hasCustomPrompt="1"/>
          </p:nvPr>
        </p:nvSpPr>
        <p:spPr>
          <a:xfrm>
            <a:off x="3273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9" name="Text Placeholder 18">
            <a:extLst>
              <a:ext uri="{FF2B5EF4-FFF2-40B4-BE49-F238E27FC236}">
                <a16:creationId xmlns:a16="http://schemas.microsoft.com/office/drawing/2014/main" id="{C0F1B1F1-CA40-4EA4-AB68-69DBBD61ED9D}"/>
              </a:ext>
            </a:extLst>
          </p:cNvPr>
          <p:cNvSpPr>
            <a:spLocks noGrp="1"/>
          </p:cNvSpPr>
          <p:nvPr>
            <p:ph type="body" sz="quarter" idx="15" hasCustomPrompt="1"/>
          </p:nvPr>
        </p:nvSpPr>
        <p:spPr>
          <a:xfrm>
            <a:off x="6135163" y="1028246"/>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1" name="Content Placeholder 20">
            <a:extLst>
              <a:ext uri="{FF2B5EF4-FFF2-40B4-BE49-F238E27FC236}">
                <a16:creationId xmlns:a16="http://schemas.microsoft.com/office/drawing/2014/main" id="{3DBEE0FF-2C0E-499E-ACAF-B6F421AF13D5}"/>
              </a:ext>
            </a:extLst>
          </p:cNvPr>
          <p:cNvSpPr>
            <a:spLocks noGrp="1"/>
          </p:cNvSpPr>
          <p:nvPr>
            <p:ph sz="quarter" idx="16" hasCustomPrompt="1"/>
          </p:nvPr>
        </p:nvSpPr>
        <p:spPr>
          <a:xfrm>
            <a:off x="6135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Text Placeholder 22">
            <a:extLst>
              <a:ext uri="{FF2B5EF4-FFF2-40B4-BE49-F238E27FC236}">
                <a16:creationId xmlns:a16="http://schemas.microsoft.com/office/drawing/2014/main" id="{F091117C-5AED-4416-88BA-F1C88ACD7A25}"/>
              </a:ext>
            </a:extLst>
          </p:cNvPr>
          <p:cNvSpPr>
            <a:spLocks noGrp="1"/>
          </p:cNvSpPr>
          <p:nvPr>
            <p:ph type="body" sz="quarter" idx="17" hasCustomPrompt="1"/>
          </p:nvPr>
        </p:nvSpPr>
        <p:spPr>
          <a:xfrm>
            <a:off x="8997162" y="1028247"/>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5" name="Content Placeholder 24">
            <a:extLst>
              <a:ext uri="{FF2B5EF4-FFF2-40B4-BE49-F238E27FC236}">
                <a16:creationId xmlns:a16="http://schemas.microsoft.com/office/drawing/2014/main" id="{C66F31E1-769E-4E9A-9DCC-2C64321A89C1}"/>
              </a:ext>
            </a:extLst>
          </p:cNvPr>
          <p:cNvSpPr>
            <a:spLocks noGrp="1"/>
          </p:cNvSpPr>
          <p:nvPr>
            <p:ph sz="quarter" idx="18" hasCustomPrompt="1"/>
          </p:nvPr>
        </p:nvSpPr>
        <p:spPr>
          <a:xfrm>
            <a:off x="8997161" y="1475354"/>
            <a:ext cx="2501999"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8" name="Date Placeholder 14">
            <a:extLst>
              <a:ext uri="{FF2B5EF4-FFF2-40B4-BE49-F238E27FC236}">
                <a16:creationId xmlns:a16="http://schemas.microsoft.com/office/drawing/2014/main" id="{1DCD95D8-07B6-42C0-8767-A640B7CA853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5" name="Date Placeholder 4">
            <a:extLst>
              <a:ext uri="{FF2B5EF4-FFF2-40B4-BE49-F238E27FC236}">
                <a16:creationId xmlns:a16="http://schemas.microsoft.com/office/drawing/2014/main" id="{8E588C40-671D-463C-8463-D77B96C28D88}"/>
              </a:ext>
            </a:extLst>
          </p:cNvPr>
          <p:cNvSpPr>
            <a:spLocks noGrp="1"/>
          </p:cNvSpPr>
          <p:nvPr>
            <p:ph type="dt" sz="half" idx="19"/>
          </p:nvPr>
        </p:nvSpPr>
        <p:spPr/>
        <p:txBody>
          <a:bodyPr/>
          <a:lstStyle/>
          <a:p>
            <a:fld id="{F1A13B18-F5ED-4611-8DBB-F05123AFBA22}" type="datetimeFigureOut">
              <a:rPr lang="da-DK" smtClean="0"/>
              <a:pPr/>
              <a:t>08-05-2025</a:t>
            </a:fld>
            <a:endParaRPr lang="da-DK"/>
          </a:p>
        </p:txBody>
      </p:sp>
      <p:sp>
        <p:nvSpPr>
          <p:cNvPr id="6" name="Footer Placeholder 5">
            <a:extLst>
              <a:ext uri="{FF2B5EF4-FFF2-40B4-BE49-F238E27FC236}">
                <a16:creationId xmlns:a16="http://schemas.microsoft.com/office/drawing/2014/main" id="{2846E2E0-2E23-491A-B165-353CDF3F79E2}"/>
              </a:ext>
            </a:extLst>
          </p:cNvPr>
          <p:cNvSpPr>
            <a:spLocks noGrp="1"/>
          </p:cNvSpPr>
          <p:nvPr>
            <p:ph type="ftr" sz="quarter" idx="20"/>
          </p:nvPr>
        </p:nvSpPr>
        <p:spPr/>
        <p:txBody>
          <a:bodyPr/>
          <a:lstStyle/>
          <a:p>
            <a:endParaRPr lang="da-DK"/>
          </a:p>
        </p:txBody>
      </p:sp>
      <p:sp>
        <p:nvSpPr>
          <p:cNvPr id="7" name="Slide Number Placeholder 6">
            <a:extLst>
              <a:ext uri="{FF2B5EF4-FFF2-40B4-BE49-F238E27FC236}">
                <a16:creationId xmlns:a16="http://schemas.microsoft.com/office/drawing/2014/main" id="{35B93800-6F51-413B-BA21-0A9967FF3386}"/>
              </a:ext>
            </a:extLst>
          </p:cNvPr>
          <p:cNvSpPr>
            <a:spLocks noGrp="1"/>
          </p:cNvSpPr>
          <p:nvPr>
            <p:ph type="sldNum" sz="quarter" idx="21"/>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237257228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illede og indhold">
    <p:spTree>
      <p:nvGrpSpPr>
        <p:cNvPr id="1" name=""/>
        <p:cNvGrpSpPr/>
        <p:nvPr/>
      </p:nvGrpSpPr>
      <p:grpSpPr>
        <a:xfrm>
          <a:off x="0" y="0"/>
          <a:ext cx="0" cy="0"/>
          <a:chOff x="0" y="0"/>
          <a:chExt cx="0" cy="0"/>
        </a:xfrm>
      </p:grpSpPr>
      <p:sp>
        <p:nvSpPr>
          <p:cNvPr id="10" name="Pladsholder til billede 3"/>
          <p:cNvSpPr>
            <a:spLocks noGrp="1"/>
          </p:cNvSpPr>
          <p:nvPr>
            <p:ph type="pic" sz="quarter" idx="13" hasCustomPrompt="1"/>
          </p:nvPr>
        </p:nvSpPr>
        <p:spPr>
          <a:xfrm>
            <a:off x="0" y="0"/>
            <a:ext cx="6099300" cy="6858000"/>
          </a:xfrm>
          <a:solidFill>
            <a:schemeClr val="bg1"/>
          </a:solidFill>
        </p:spPr>
        <p:txBody>
          <a:bodyPr/>
          <a:lstStyle>
            <a:lvl1pPr marL="0" indent="0" algn="ctr">
              <a:buNone/>
              <a:defRPr sz="1200"/>
            </a:lvl1pPr>
          </a:lstStyle>
          <a:p>
            <a:r>
              <a:rPr lang="da-DK"/>
              <a:t>Vælg pladsholderen og indsæt billede via Templafy/Skyfish eller ikon eller logo via Templafy/Billeder</a:t>
            </a:r>
          </a:p>
        </p:txBody>
      </p:sp>
      <p:sp>
        <p:nvSpPr>
          <p:cNvPr id="8" name="Titel 1"/>
          <p:cNvSpPr>
            <a:spLocks noGrp="1"/>
          </p:cNvSpPr>
          <p:nvPr>
            <p:ph type="title" hasCustomPrompt="1"/>
          </p:nvPr>
        </p:nvSpPr>
        <p:spPr>
          <a:xfrm>
            <a:off x="6692401" y="1076109"/>
            <a:ext cx="4680000" cy="1822734"/>
          </a:xfrm>
        </p:spPr>
        <p:txBody>
          <a:bodyPr/>
          <a:lstStyle>
            <a:lvl1pPr>
              <a:defRPr/>
            </a:lvl1pPr>
          </a:lstStyle>
          <a:p>
            <a:r>
              <a:rPr lang="da-DK"/>
              <a:t>Klik for at tilføje overskrift, maksimalt 3 linjer</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692400"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4" name="text" descr="{&quot;templafy&quot;:{&quot;id&quot;:&quot;7dfbda98-fd3b-47f6-906d-39947fb1b234&quot;}}" title="UserProfile.Institut.InstituteDCU_{{DocumentLanguage}}">
            <a:extLst>
              <a:ext uri="{FF2B5EF4-FFF2-40B4-BE49-F238E27FC236}">
                <a16:creationId xmlns:a16="http://schemas.microsoft.com/office/drawing/2014/main" id="{060969B2-E177-4704-95D4-119A98BB90C5}"/>
              </a:ext>
            </a:extLst>
          </p:cNvPr>
          <p:cNvSpPr txBox="1">
            <a:spLocks/>
          </p:cNvSpPr>
          <p:nvPr userDrawn="1"/>
        </p:nvSpPr>
        <p:spPr>
          <a:xfrm>
            <a:off x="6692400" y="249585"/>
            <a:ext cx="4680000" cy="478677"/>
          </a:xfrm>
          <a:prstGeom prst="rect">
            <a:avLst/>
          </a:prstGeom>
          <a:noFill/>
        </p:spPr>
        <p:txBody>
          <a:bodyPr wrap="square" lIns="1080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8" name="Straight Connector 17">
            <a:extLst>
              <a:ext uri="{FF2B5EF4-FFF2-40B4-BE49-F238E27FC236}">
                <a16:creationId xmlns:a16="http://schemas.microsoft.com/office/drawing/2014/main" id="{B68D6574-D545-4AC1-804C-76EBF3BEC544}"/>
              </a:ext>
            </a:extLst>
          </p:cNvPr>
          <p:cNvCxnSpPr>
            <a:cxnSpLocks/>
          </p:cNvCxnSpPr>
          <p:nvPr userDrawn="1"/>
        </p:nvCxnSpPr>
        <p:spPr>
          <a:xfrm>
            <a:off x="6691637"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date" descr="{&quot;templafy&quot;:{&quot;id&quot;:&quot;ea6d2255-9531-478e-9e48-a9ad84cf4859&quot;}}" title="Form.Date">
            <a:extLst>
              <a:ext uri="{FF2B5EF4-FFF2-40B4-BE49-F238E27FC236}">
                <a16:creationId xmlns:a16="http://schemas.microsoft.com/office/drawing/2014/main" id="{38150A77-BE4E-404D-B314-A1C41C791C1B}"/>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4</a:t>
            </a:r>
          </a:p>
        </p:txBody>
      </p:sp>
      <p:pic>
        <p:nvPicPr>
          <p:cNvPr id="20" name="Logo black">
            <a:extLst>
              <a:ext uri="{FF2B5EF4-FFF2-40B4-BE49-F238E27FC236}">
                <a16:creationId xmlns:a16="http://schemas.microsoft.com/office/drawing/2014/main" id="{1421C492-A651-4EE4-BB8B-C6886E7B5C1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92400" y="6294893"/>
            <a:ext cx="784800" cy="211840"/>
          </a:xfrm>
          <a:prstGeom prst="rect">
            <a:avLst/>
          </a:prstGeom>
        </p:spPr>
      </p:pic>
      <p:sp>
        <p:nvSpPr>
          <p:cNvPr id="30" name="Date Placeholder 14">
            <a:extLst>
              <a:ext uri="{FF2B5EF4-FFF2-40B4-BE49-F238E27FC236}">
                <a16:creationId xmlns:a16="http://schemas.microsoft.com/office/drawing/2014/main" id="{2C4B35A0-F8F7-420F-9E06-CC0AAAA0B84F}"/>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22" name="TextBox 21">
            <a:extLst>
              <a:ext uri="{FF2B5EF4-FFF2-40B4-BE49-F238E27FC236}">
                <a16:creationId xmlns:a16="http://schemas.microsoft.com/office/drawing/2014/main" id="{7C94981C-CC58-4018-9B19-5053EFA6B6A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41001310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illede og tekst (CV)">
    <p:spTree>
      <p:nvGrpSpPr>
        <p:cNvPr id="1" name=""/>
        <p:cNvGrpSpPr/>
        <p:nvPr/>
      </p:nvGrpSpPr>
      <p:grpSpPr>
        <a:xfrm>
          <a:off x="0" y="0"/>
          <a:ext cx="0" cy="0"/>
          <a:chOff x="0" y="0"/>
          <a:chExt cx="0" cy="0"/>
        </a:xfrm>
      </p:grpSpPr>
      <p:sp>
        <p:nvSpPr>
          <p:cNvPr id="7" name="Titel 1"/>
          <p:cNvSpPr>
            <a:spLocks noGrp="1"/>
          </p:cNvSpPr>
          <p:nvPr>
            <p:ph type="title" hasCustomPrompt="1"/>
          </p:nvPr>
        </p:nvSpPr>
        <p:spPr>
          <a:xfrm>
            <a:off x="6710399" y="1700213"/>
            <a:ext cx="4677070" cy="1436392"/>
          </a:xfrm>
        </p:spPr>
        <p:txBody>
          <a:bodyPr/>
          <a:lstStyle>
            <a:lvl1pPr>
              <a:defRPr sz="4800"/>
            </a:lvl1pPr>
          </a:lstStyle>
          <a:p>
            <a:r>
              <a:rPr lang="da-DK"/>
              <a:t>Overskrift i </a:t>
            </a:r>
            <a:r>
              <a:rPr lang="da-DK" err="1"/>
              <a:t>maks</a:t>
            </a:r>
            <a:r>
              <a:rPr lang="da-DK"/>
              <a:t> 2 linjer</a:t>
            </a:r>
          </a:p>
        </p:txBody>
      </p:sp>
      <p:sp>
        <p:nvSpPr>
          <p:cNvPr id="15" name="Text Placeholder 4">
            <a:extLst>
              <a:ext uri="{FF2B5EF4-FFF2-40B4-BE49-F238E27FC236}">
                <a16:creationId xmlns:a16="http://schemas.microsoft.com/office/drawing/2014/main" id="{6FAAEFF0-FCE4-48D6-A0D1-A458F3CD3EB3}"/>
              </a:ext>
            </a:extLst>
          </p:cNvPr>
          <p:cNvSpPr>
            <a:spLocks noGrp="1"/>
          </p:cNvSpPr>
          <p:nvPr>
            <p:ph type="body" sz="quarter" idx="19" hasCustomPrompt="1"/>
          </p:nvPr>
        </p:nvSpPr>
        <p:spPr>
          <a:xfrm>
            <a:off x="6692202" y="3387600"/>
            <a:ext cx="4680000" cy="2466000"/>
          </a:xfrm>
        </p:spPr>
        <p:txBody>
          <a:bodyPr/>
          <a:lstStyle>
            <a:lvl1pPr>
              <a:defRPr/>
            </a:lvl1pPr>
          </a:lstStyle>
          <a:p>
            <a:pPr lvl="0"/>
            <a:r>
              <a:rPr lang="da-DK"/>
              <a:t>Klik for at tilføje tekst</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6" name="Text Placeholder 5">
            <a:extLst>
              <a:ext uri="{FF2B5EF4-FFF2-40B4-BE49-F238E27FC236}">
                <a16:creationId xmlns:a16="http://schemas.microsoft.com/office/drawing/2014/main" id="{2F21E6D3-406B-4DA0-9B5A-6A2F208BAF71}"/>
              </a:ext>
            </a:extLst>
          </p:cNvPr>
          <p:cNvSpPr>
            <a:spLocks noGrp="1"/>
          </p:cNvSpPr>
          <p:nvPr>
            <p:ph type="body" sz="quarter" idx="18" hasCustomPrompt="1"/>
          </p:nvPr>
        </p:nvSpPr>
        <p:spPr>
          <a:xfrm>
            <a:off x="6710399" y="452437"/>
            <a:ext cx="4659277" cy="790493"/>
          </a:xfrm>
        </p:spPr>
        <p:txBody>
          <a:bodyPr anchor="b" anchorCtr="0"/>
          <a:lstStyle>
            <a:lvl1pPr marL="0" indent="0">
              <a:buFont typeface="Arial" panose="020B0604020202020204" pitchFamily="34" charset="0"/>
              <a:buNone/>
              <a:defRPr/>
            </a:lvl1pPr>
          </a:lstStyle>
          <a:p>
            <a:pPr lvl="0"/>
            <a:r>
              <a:rPr lang="da-DK"/>
              <a:t>Klik for at indsætte tekst (f.eks. job titel)</a:t>
            </a:r>
          </a:p>
        </p:txBody>
      </p:sp>
      <p:sp>
        <p:nvSpPr>
          <p:cNvPr id="10" name="Pladsholder til billede 3"/>
          <p:cNvSpPr>
            <a:spLocks noGrp="1"/>
          </p:cNvSpPr>
          <p:nvPr>
            <p:ph type="pic" sz="quarter" idx="13" hasCustomPrompt="1"/>
          </p:nvPr>
        </p:nvSpPr>
        <p:spPr>
          <a:xfrm>
            <a:off x="411163" y="1016000"/>
            <a:ext cx="4043879" cy="4804038"/>
          </a:xfrm>
          <a:noFill/>
        </p:spPr>
        <p:txBody>
          <a:bodyPr/>
          <a:lstStyle>
            <a:lvl1pPr marL="0" indent="0" algn="ctr">
              <a:buNone/>
              <a:defRPr sz="1100"/>
            </a:lvl1pPr>
          </a:lstStyle>
          <a:p>
            <a:r>
              <a:rPr lang="da-DK"/>
              <a:t>Vælg pladsholderen og indsæt billede via Templafy/Skyfish eller ikon eller logo via Templafy/Billeder</a:t>
            </a:r>
          </a:p>
        </p:txBody>
      </p:sp>
      <p:sp>
        <p:nvSpPr>
          <p:cNvPr id="18" name="Date Placeholder 14">
            <a:extLst>
              <a:ext uri="{FF2B5EF4-FFF2-40B4-BE49-F238E27FC236}">
                <a16:creationId xmlns:a16="http://schemas.microsoft.com/office/drawing/2014/main" id="{4AC2696B-BD55-4932-A36E-BCC4318F22B0}"/>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4" name="Date Placeholder 3">
            <a:extLst>
              <a:ext uri="{FF2B5EF4-FFF2-40B4-BE49-F238E27FC236}">
                <a16:creationId xmlns:a16="http://schemas.microsoft.com/office/drawing/2014/main" id="{01591D0A-163E-46D9-B4AE-DA2791457328}"/>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5" name="Footer Placeholder 4">
            <a:extLst>
              <a:ext uri="{FF2B5EF4-FFF2-40B4-BE49-F238E27FC236}">
                <a16:creationId xmlns:a16="http://schemas.microsoft.com/office/drawing/2014/main" id="{CD31645F-3EEE-4ACC-9DE8-38B996FFAD12}"/>
              </a:ext>
            </a:extLst>
          </p:cNvPr>
          <p:cNvSpPr>
            <a:spLocks noGrp="1"/>
          </p:cNvSpPr>
          <p:nvPr>
            <p:ph type="ftr" sz="quarter" idx="21"/>
          </p:nvPr>
        </p:nvSpPr>
        <p:spPr/>
        <p:txBody>
          <a:bodyPr/>
          <a:lstStyle/>
          <a:p>
            <a:endParaRPr lang="da-DK"/>
          </a:p>
        </p:txBody>
      </p:sp>
      <p:sp>
        <p:nvSpPr>
          <p:cNvPr id="11" name="Slide Number Placeholder 10">
            <a:extLst>
              <a:ext uri="{FF2B5EF4-FFF2-40B4-BE49-F238E27FC236}">
                <a16:creationId xmlns:a16="http://schemas.microsoft.com/office/drawing/2014/main" id="{DA9685AE-678B-466E-B97B-590BC795CFDA}"/>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12" name="TextBox 11">
            <a:extLst>
              <a:ext uri="{FF2B5EF4-FFF2-40B4-BE49-F238E27FC236}">
                <a16:creationId xmlns:a16="http://schemas.microsoft.com/office/drawing/2014/main" id="{4E308762-F27B-4C02-A3F6-05048278412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pic>
        <p:nvPicPr>
          <p:cNvPr id="13" name="Logo black">
            <a:extLst>
              <a:ext uri="{FF2B5EF4-FFF2-40B4-BE49-F238E27FC236}">
                <a16:creationId xmlns:a16="http://schemas.microsoft.com/office/drawing/2014/main" id="{16CDF92D-C78F-4CBE-853B-4E3CD39D2A5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4" name="text" descr="{&quot;templafy&quot;:{&quot;id&quot;:&quot;84e0002e-7a76-4fca-9560-2d84df16dbb4&quot;}}" title="UserProfile.Institut.InstituteDCU_{{DocumentLanguage}}">
            <a:extLst>
              <a:ext uri="{FF2B5EF4-FFF2-40B4-BE49-F238E27FC236}">
                <a16:creationId xmlns:a16="http://schemas.microsoft.com/office/drawing/2014/main" id="{DF6D8BC8-E65A-425F-8A88-41B507F8A632}"/>
              </a:ext>
            </a:extLst>
          </p:cNvPr>
          <p:cNvSpPr txBox="1">
            <a:spLocks/>
          </p:cNvSpPr>
          <p:nvPr userDrawn="1"/>
        </p:nvSpPr>
        <p:spPr>
          <a:xfrm>
            <a:off x="411160" y="442422"/>
            <a:ext cx="602734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dirty="0"/>
              <a:t>SDU SIS</a:t>
            </a:r>
          </a:p>
        </p:txBody>
      </p:sp>
      <p:cxnSp>
        <p:nvCxnSpPr>
          <p:cNvPr id="16" name="Straight Connector 15">
            <a:extLst>
              <a:ext uri="{FF2B5EF4-FFF2-40B4-BE49-F238E27FC236}">
                <a16:creationId xmlns:a16="http://schemas.microsoft.com/office/drawing/2014/main" id="{07D7BB8A-9FF7-4F5F-964E-11BE0AD89A9E}"/>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EA0D29C7-1B08-47AE-80F0-21F12DFA77C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9" name="Rectangle 18">
            <a:extLst>
              <a:ext uri="{FF2B5EF4-FFF2-40B4-BE49-F238E27FC236}">
                <a16:creationId xmlns:a16="http://schemas.microsoft.com/office/drawing/2014/main" id="{BBE87218-65BF-484A-9BC3-CFE3F6FD4ECC}"/>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Tree>
    <p:extLst>
      <p:ext uri="{BB962C8B-B14F-4D97-AF65-F5344CB8AC3E}">
        <p14:creationId xmlns:p14="http://schemas.microsoft.com/office/powerpoint/2010/main" val="175242404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Overskrift og bille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400"/>
            </a:lvl1pPr>
          </a:lstStyle>
          <a:p>
            <a:r>
              <a:rPr lang="da-DK"/>
              <a:t>Vælg pladsholderen og indsæt billede via Templafy/Skyfish eller ikon eller logo via Templafy/Billeder</a:t>
            </a:r>
          </a:p>
        </p:txBody>
      </p:sp>
      <p:sp>
        <p:nvSpPr>
          <p:cNvPr id="17" name="Date Placeholder 14">
            <a:extLst>
              <a:ext uri="{FF2B5EF4-FFF2-40B4-BE49-F238E27FC236}">
                <a16:creationId xmlns:a16="http://schemas.microsoft.com/office/drawing/2014/main" id="{360EC57D-D72D-43A3-90BC-3ACC9F8BC95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8" name="Date Placeholder 14">
            <a:extLst>
              <a:ext uri="{FF2B5EF4-FFF2-40B4-BE49-F238E27FC236}">
                <a16:creationId xmlns:a16="http://schemas.microsoft.com/office/drawing/2014/main" id="{36B2A848-B2AD-472A-AC10-0002D162D52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920C039-324F-433E-90A2-B9FAD2872EC2}"/>
              </a:ext>
            </a:extLst>
          </p:cNvPr>
          <p:cNvSpPr>
            <a:spLocks noGrp="1"/>
          </p:cNvSpPr>
          <p:nvPr>
            <p:ph type="ftr" sz="quarter" idx="15"/>
          </p:nvPr>
        </p:nvSpPr>
        <p:spPr/>
        <p:txBody>
          <a:bodyPr/>
          <a:lstStyle/>
          <a:p>
            <a:endParaRPr lang="da-DK"/>
          </a:p>
        </p:txBody>
      </p:sp>
      <p:sp>
        <p:nvSpPr>
          <p:cNvPr id="4" name="Slide Number Placeholder 3">
            <a:extLst>
              <a:ext uri="{FF2B5EF4-FFF2-40B4-BE49-F238E27FC236}">
                <a16:creationId xmlns:a16="http://schemas.microsoft.com/office/drawing/2014/main" id="{417D6F82-73FC-4F13-BFEC-9200E77E1527}"/>
              </a:ext>
            </a:extLst>
          </p:cNvPr>
          <p:cNvSpPr>
            <a:spLocks noGrp="1"/>
          </p:cNvSpPr>
          <p:nvPr>
            <p:ph type="sldNum" sz="quarter" idx="16"/>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4598068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Fire ikoner">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2FA71C01-3350-42F9-9392-0F3379095A93}"/>
              </a:ext>
            </a:extLst>
          </p:cNvPr>
          <p:cNvSpPr>
            <a:spLocks noGrp="1"/>
          </p:cNvSpPr>
          <p:nvPr>
            <p:ph sz="quarter" idx="13" hasCustomPrompt="1"/>
          </p:nvPr>
        </p:nvSpPr>
        <p:spPr>
          <a:xfrm>
            <a:off x="2932902" y="1700213"/>
            <a:ext cx="936000" cy="936000"/>
          </a:xfrm>
        </p:spPr>
        <p:txBody>
          <a:bodyPr wrap="none"/>
          <a:lstStyle>
            <a:lvl1pPr marL="0" indent="0">
              <a:buNone/>
              <a:defRPr sz="1000"/>
            </a:lvl1pPr>
          </a:lstStyle>
          <a:p>
            <a:pPr lvl="0"/>
            <a:r>
              <a:rPr lang="da-DK"/>
              <a:t>Indsæt logo: Vælg pladsholderen, indsæt logo via Templafy/Billeder</a:t>
            </a:r>
          </a:p>
        </p:txBody>
      </p:sp>
      <p:sp>
        <p:nvSpPr>
          <p:cNvPr id="11" name="Text Placeholder 10">
            <a:extLst>
              <a:ext uri="{FF2B5EF4-FFF2-40B4-BE49-F238E27FC236}">
                <a16:creationId xmlns:a16="http://schemas.microsoft.com/office/drawing/2014/main" id="{C0A09C85-3CCC-44AB-A808-AA96845B1281}"/>
              </a:ext>
            </a:extLst>
          </p:cNvPr>
          <p:cNvSpPr>
            <a:spLocks noGrp="1"/>
          </p:cNvSpPr>
          <p:nvPr>
            <p:ph type="body" sz="quarter" idx="14" hasCustomPrompt="1"/>
          </p:nvPr>
        </p:nvSpPr>
        <p:spPr>
          <a:xfrm>
            <a:off x="2932902" y="2733129"/>
            <a:ext cx="3564000" cy="756000"/>
          </a:xfrm>
        </p:spPr>
        <p:txBody>
          <a:bodyPr/>
          <a:lstStyle>
            <a:lvl1pPr marL="0" indent="0">
              <a:buFont typeface="Arial" panose="020B0604020202020204" pitchFamily="34" charset="0"/>
              <a:buChar char="​"/>
              <a:defRPr sz="21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13" name="Content Placeholder 12">
            <a:extLst>
              <a:ext uri="{FF2B5EF4-FFF2-40B4-BE49-F238E27FC236}">
                <a16:creationId xmlns:a16="http://schemas.microsoft.com/office/drawing/2014/main" id="{3F35B7FD-E0E2-4581-BAC7-8858E530AFEA}"/>
              </a:ext>
            </a:extLst>
          </p:cNvPr>
          <p:cNvSpPr>
            <a:spLocks noGrp="1"/>
          </p:cNvSpPr>
          <p:nvPr>
            <p:ph sz="quarter" idx="15" hasCustomPrompt="1"/>
          </p:nvPr>
        </p:nvSpPr>
        <p:spPr>
          <a:xfrm>
            <a:off x="2934000"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15" name="Text Placeholder 14">
            <a:extLst>
              <a:ext uri="{FF2B5EF4-FFF2-40B4-BE49-F238E27FC236}">
                <a16:creationId xmlns:a16="http://schemas.microsoft.com/office/drawing/2014/main" id="{52C92166-E723-47D5-9A87-3354EB28C43E}"/>
              </a:ext>
            </a:extLst>
          </p:cNvPr>
          <p:cNvSpPr>
            <a:spLocks noGrp="1"/>
          </p:cNvSpPr>
          <p:nvPr>
            <p:ph type="body" sz="quarter" idx="16" hasCustomPrompt="1"/>
          </p:nvPr>
        </p:nvSpPr>
        <p:spPr>
          <a:xfrm>
            <a:off x="2932112" y="5093240"/>
            <a:ext cx="3564000" cy="756000"/>
          </a:xfrm>
        </p:spPr>
        <p:txBody>
          <a:bodyPr/>
          <a:lstStyle>
            <a:lvl1pPr marL="0" indent="0">
              <a:buFont typeface="Arial" panose="020B0604020202020204" pitchFamily="34" charset="0"/>
              <a:buChar char="​"/>
              <a:defRPr sz="2000" b="1"/>
            </a:lvl1pPr>
            <a:lvl2pPr marL="252000">
              <a:defRPr/>
            </a:lvl2pPr>
            <a:lvl3pPr marL="252000" indent="0">
              <a:buNone/>
              <a:defRPr/>
            </a:lvl3pPr>
          </a:lstStyle>
          <a:p>
            <a:pPr lvl="0"/>
            <a:r>
              <a:rPr lang="da-DK"/>
              <a:t>Klik for at tilføje overskrift</a:t>
            </a:r>
          </a:p>
          <a:p>
            <a:pPr lvl="1"/>
            <a:r>
              <a:rPr lang="da-DK"/>
              <a:t>Second level</a:t>
            </a:r>
          </a:p>
        </p:txBody>
      </p:sp>
      <p:sp>
        <p:nvSpPr>
          <p:cNvPr id="17" name="Content Placeholder 16">
            <a:extLst>
              <a:ext uri="{FF2B5EF4-FFF2-40B4-BE49-F238E27FC236}">
                <a16:creationId xmlns:a16="http://schemas.microsoft.com/office/drawing/2014/main" id="{AE23DA26-37CC-4CA7-8253-FD9AB459D2EF}"/>
              </a:ext>
            </a:extLst>
          </p:cNvPr>
          <p:cNvSpPr>
            <a:spLocks noGrp="1"/>
          </p:cNvSpPr>
          <p:nvPr>
            <p:ph sz="quarter" idx="17" hasCustomPrompt="1"/>
          </p:nvPr>
        </p:nvSpPr>
        <p:spPr>
          <a:xfrm>
            <a:off x="7474740" y="1700213"/>
            <a:ext cx="936000" cy="936000"/>
          </a:xfrm>
        </p:spPr>
        <p:txBody>
          <a:bodyPr wrap="none"/>
          <a:lstStyle>
            <a:lvl1pPr marL="0" indent="0">
              <a:buNone/>
              <a:defRPr sz="1000"/>
            </a:lvl1pPr>
            <a:lvl2pPr marL="252000" indent="0">
              <a:buNone/>
              <a:defRPr sz="1000"/>
            </a:lvl2pPr>
          </a:lstStyle>
          <a:p>
            <a:pPr lvl="0"/>
            <a:r>
              <a:rPr lang="da-DK"/>
              <a:t>Indsæt logo: Vælg pladsholderen, indsæt logo via Templafy/Billeder</a:t>
            </a:r>
          </a:p>
        </p:txBody>
      </p:sp>
      <p:sp>
        <p:nvSpPr>
          <p:cNvPr id="19" name="Text Placeholder 18">
            <a:extLst>
              <a:ext uri="{FF2B5EF4-FFF2-40B4-BE49-F238E27FC236}">
                <a16:creationId xmlns:a16="http://schemas.microsoft.com/office/drawing/2014/main" id="{62682726-03AB-4490-8664-993881FA0BB1}"/>
              </a:ext>
            </a:extLst>
          </p:cNvPr>
          <p:cNvSpPr>
            <a:spLocks noGrp="1"/>
          </p:cNvSpPr>
          <p:nvPr>
            <p:ph type="body" sz="quarter" idx="18" hasCustomPrompt="1"/>
          </p:nvPr>
        </p:nvSpPr>
        <p:spPr>
          <a:xfrm>
            <a:off x="7459663" y="273240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a:p>
            <a:pPr lvl="2"/>
            <a:endParaRPr lang="da-DK"/>
          </a:p>
        </p:txBody>
      </p:sp>
      <p:sp>
        <p:nvSpPr>
          <p:cNvPr id="21" name="Content Placeholder 20">
            <a:extLst>
              <a:ext uri="{FF2B5EF4-FFF2-40B4-BE49-F238E27FC236}">
                <a16:creationId xmlns:a16="http://schemas.microsoft.com/office/drawing/2014/main" id="{762625AB-198B-4F37-9382-C78FD9118D5A}"/>
              </a:ext>
            </a:extLst>
          </p:cNvPr>
          <p:cNvSpPr>
            <a:spLocks noGrp="1"/>
          </p:cNvSpPr>
          <p:nvPr>
            <p:ph sz="quarter" idx="19" hasCustomPrompt="1"/>
          </p:nvPr>
        </p:nvSpPr>
        <p:spPr>
          <a:xfrm>
            <a:off x="7459663" y="4012975"/>
            <a:ext cx="936000" cy="936000"/>
          </a:xfrm>
        </p:spPr>
        <p:txBody>
          <a:bodyPr wrap="none"/>
          <a:lstStyle>
            <a:lvl1pPr marL="0" indent="0">
              <a:buNone/>
              <a:defRPr sz="1000"/>
            </a:lvl1pPr>
          </a:lstStyle>
          <a:p>
            <a:pPr lvl="0"/>
            <a:r>
              <a:rPr lang="da-DK"/>
              <a:t>Indsæt logo: Vælg pladsholderen, indsæt logo via Templafy/Billeder</a:t>
            </a:r>
          </a:p>
        </p:txBody>
      </p:sp>
      <p:sp>
        <p:nvSpPr>
          <p:cNvPr id="23" name="Text Placeholder 22">
            <a:extLst>
              <a:ext uri="{FF2B5EF4-FFF2-40B4-BE49-F238E27FC236}">
                <a16:creationId xmlns:a16="http://schemas.microsoft.com/office/drawing/2014/main" id="{D8AE7F93-F2C6-4199-8D16-CFB4D977F63E}"/>
              </a:ext>
            </a:extLst>
          </p:cNvPr>
          <p:cNvSpPr>
            <a:spLocks noGrp="1"/>
          </p:cNvSpPr>
          <p:nvPr>
            <p:ph type="body" sz="quarter" idx="20" hasCustomPrompt="1"/>
          </p:nvPr>
        </p:nvSpPr>
        <p:spPr>
          <a:xfrm>
            <a:off x="7473948" y="5093240"/>
            <a:ext cx="3564000" cy="756000"/>
          </a:xfrm>
        </p:spPr>
        <p:txBody>
          <a:bodyPr/>
          <a:lstStyle>
            <a:lvl1pPr marL="0" indent="0">
              <a:buFont typeface="Arial" panose="020B0604020202020204" pitchFamily="34" charset="0"/>
              <a:buChar char="​"/>
              <a:defRPr sz="2000" b="1"/>
            </a:lvl1pPr>
            <a:lvl2pPr marL="252000">
              <a:defRPr/>
            </a:lvl2pPr>
            <a:lvl3pPr marL="504000">
              <a:defRPr/>
            </a:lvl3pPr>
          </a:lstStyle>
          <a:p>
            <a:pPr lvl="0"/>
            <a:r>
              <a:rPr lang="da-DK"/>
              <a:t>Klik for at tilføje overskrift</a:t>
            </a:r>
          </a:p>
          <a:p>
            <a:pPr lvl="1"/>
            <a:r>
              <a:rPr lang="da-DK"/>
              <a:t>Second level</a:t>
            </a:r>
          </a:p>
        </p:txBody>
      </p:sp>
      <p:sp>
        <p:nvSpPr>
          <p:cNvPr id="3" name="Footer Placeholder 2">
            <a:extLst>
              <a:ext uri="{FF2B5EF4-FFF2-40B4-BE49-F238E27FC236}">
                <a16:creationId xmlns:a16="http://schemas.microsoft.com/office/drawing/2014/main" id="{0C4D261F-AFF9-422D-9FB3-5AE92F19507E}"/>
              </a:ext>
            </a:extLst>
          </p:cNvPr>
          <p:cNvSpPr>
            <a:spLocks noGrp="1"/>
          </p:cNvSpPr>
          <p:nvPr>
            <p:ph type="ftr" sz="quarter" idx="10"/>
          </p:nvPr>
        </p:nvSpPr>
        <p:spPr/>
        <p:txBody>
          <a:bodyPr/>
          <a:lstStyle/>
          <a:p>
            <a:endParaRPr lang="da-DK"/>
          </a:p>
        </p:txBody>
      </p:sp>
      <p:sp>
        <p:nvSpPr>
          <p:cNvPr id="4" name="Date Placeholder 3">
            <a:extLst>
              <a:ext uri="{FF2B5EF4-FFF2-40B4-BE49-F238E27FC236}">
                <a16:creationId xmlns:a16="http://schemas.microsoft.com/office/drawing/2014/main" id="{21133E6A-A4F4-491B-846E-1DACC83D9BB7}"/>
              </a:ext>
            </a:extLst>
          </p:cNvPr>
          <p:cNvSpPr>
            <a:spLocks noGrp="1"/>
          </p:cNvSpPr>
          <p:nvPr>
            <p:ph type="dt" sz="half" idx="11"/>
          </p:nvPr>
        </p:nvSpPr>
        <p:spPr/>
        <p:txBody>
          <a:bodyPr/>
          <a:lstStyle/>
          <a:p>
            <a:fld id="{F1A13B18-F5ED-4611-8DBB-F05123AFBA22}" type="datetimeFigureOut">
              <a:rPr lang="da-DK" smtClean="0"/>
              <a:pPr/>
              <a:t>08-05-2025</a:t>
            </a:fld>
            <a:endParaRPr lang="da-DK"/>
          </a:p>
        </p:txBody>
      </p:sp>
      <p:sp>
        <p:nvSpPr>
          <p:cNvPr id="5" name="Slide Number Placeholder 4">
            <a:extLst>
              <a:ext uri="{FF2B5EF4-FFF2-40B4-BE49-F238E27FC236}">
                <a16:creationId xmlns:a16="http://schemas.microsoft.com/office/drawing/2014/main" id="{6C38E8B2-EC82-4BE1-85C6-8F272596913A}"/>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41275604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Overskrift og logo">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56F8A6A9-890A-4EA2-8FA4-EA834B1A12F4}"/>
              </a:ext>
            </a:extLst>
          </p:cNvPr>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11" name="Date Placeholder 14">
            <a:extLst>
              <a:ext uri="{FF2B5EF4-FFF2-40B4-BE49-F238E27FC236}">
                <a16:creationId xmlns:a16="http://schemas.microsoft.com/office/drawing/2014/main" id="{705F52FC-7E26-46C0-8E8B-4445D500B9C7}"/>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7" name="Date Placeholder 6">
            <a:extLst>
              <a:ext uri="{FF2B5EF4-FFF2-40B4-BE49-F238E27FC236}">
                <a16:creationId xmlns:a16="http://schemas.microsoft.com/office/drawing/2014/main" id="{D01B1D99-4B52-4731-AEC4-C722464A7D1B}"/>
              </a:ext>
            </a:extLst>
          </p:cNvPr>
          <p:cNvSpPr>
            <a:spLocks noGrp="1"/>
          </p:cNvSpPr>
          <p:nvPr>
            <p:ph type="dt" sz="half" idx="10"/>
          </p:nvPr>
        </p:nvSpPr>
        <p:spPr/>
        <p:txBody>
          <a:bodyPr/>
          <a:lstStyle/>
          <a:p>
            <a:fld id="{F1A13B18-F5ED-4611-8DBB-F05123AFBA22}" type="datetimeFigureOut">
              <a:rPr lang="da-DK" smtClean="0"/>
              <a:pPr/>
              <a:t>08-05-2025</a:t>
            </a:fld>
            <a:endParaRPr lang="da-DK"/>
          </a:p>
        </p:txBody>
      </p:sp>
      <p:sp>
        <p:nvSpPr>
          <p:cNvPr id="9" name="Footer Placeholder 8">
            <a:extLst>
              <a:ext uri="{FF2B5EF4-FFF2-40B4-BE49-F238E27FC236}">
                <a16:creationId xmlns:a16="http://schemas.microsoft.com/office/drawing/2014/main" id="{F5FCEDFC-AE26-4F9F-9153-1837190678EF}"/>
              </a:ext>
            </a:extLst>
          </p:cNvPr>
          <p:cNvSpPr>
            <a:spLocks noGrp="1"/>
          </p:cNvSpPr>
          <p:nvPr>
            <p:ph type="ftr" sz="quarter" idx="11"/>
          </p:nvPr>
        </p:nvSpPr>
        <p:spPr/>
        <p:txBody>
          <a:bodyPr/>
          <a:lstStyle/>
          <a:p>
            <a:endParaRPr lang="da-DK"/>
          </a:p>
        </p:txBody>
      </p:sp>
      <p:sp>
        <p:nvSpPr>
          <p:cNvPr id="12" name="Slide Number Placeholder 11">
            <a:extLst>
              <a:ext uri="{FF2B5EF4-FFF2-40B4-BE49-F238E27FC236}">
                <a16:creationId xmlns:a16="http://schemas.microsoft.com/office/drawing/2014/main" id="{4B452C39-88DE-4155-8ED8-643714B1A9FE}"/>
              </a:ext>
            </a:extLst>
          </p:cNvPr>
          <p:cNvSpPr>
            <a:spLocks noGrp="1"/>
          </p:cNvSpPr>
          <p:nvPr>
            <p:ph type="sldNum" sz="quarter" idx="12"/>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7831451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E582B1D4-6AB5-48A1-9B6A-2889C3B0A628}"/>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Placeholder 1">
            <a:extLst>
              <a:ext uri="{FF2B5EF4-FFF2-40B4-BE49-F238E27FC236}">
                <a16:creationId xmlns:a16="http://schemas.microsoft.com/office/drawing/2014/main" id="{94063DF3-5753-4195-AAB2-5E28887C5D4E}"/>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en-US"/>
              <a:t>Click to edit Master title style</a:t>
            </a:r>
            <a:endParaRPr lang="da-DK"/>
          </a:p>
        </p:txBody>
      </p:sp>
      <p:sp>
        <p:nvSpPr>
          <p:cNvPr id="11" name="Footer Placeholder 4">
            <a:extLst>
              <a:ext uri="{FF2B5EF4-FFF2-40B4-BE49-F238E27FC236}">
                <a16:creationId xmlns:a16="http://schemas.microsoft.com/office/drawing/2014/main" id="{345B4137-1DAF-46A8-B209-AC1FD44E9FFC}"/>
              </a:ext>
            </a:extLst>
          </p:cNvPr>
          <p:cNvSpPr>
            <a:spLocks noGrp="1"/>
          </p:cNvSpPr>
          <p:nvPr>
            <p:ph type="ftr" sz="quarter" idx="3"/>
          </p:nvPr>
        </p:nvSpPr>
        <p:spPr>
          <a:xfrm>
            <a:off x="4148487" y="6367732"/>
            <a:ext cx="4114800" cy="365125"/>
          </a:xfrm>
          <a:prstGeom prst="rect">
            <a:avLst/>
          </a:prstGeom>
        </p:spPr>
        <p:txBody>
          <a:bodyPr vert="horz" lIns="91440" tIns="45720" rIns="91440" bIns="45720" rtlCol="0" anchor="ctr"/>
          <a:lstStyle>
            <a:lvl1pPr algn="ctr">
              <a:defRPr sz="800" i="0">
                <a:solidFill>
                  <a:schemeClr val="tx1"/>
                </a:solidFill>
              </a:defRPr>
            </a:lvl1p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12" name="Slide Number Placeholder 5">
            <a:extLst>
              <a:ext uri="{FF2B5EF4-FFF2-40B4-BE49-F238E27FC236}">
                <a16:creationId xmlns:a16="http://schemas.microsoft.com/office/drawing/2014/main" id="{F335B9EE-7146-4559-A6A9-CE1CB99D9C35}"/>
              </a:ext>
            </a:extLst>
          </p:cNvPr>
          <p:cNvSpPr>
            <a:spLocks noGrp="1"/>
          </p:cNvSpPr>
          <p:nvPr>
            <p:ph type="sldNum" sz="quarter" idx="4"/>
          </p:nvPr>
        </p:nvSpPr>
        <p:spPr>
          <a:xfrm>
            <a:off x="8904515" y="6367732"/>
            <a:ext cx="2492829"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3" name="Date Placeholder 2">
            <a:extLst>
              <a:ext uri="{FF2B5EF4-FFF2-40B4-BE49-F238E27FC236}">
                <a16:creationId xmlns:a16="http://schemas.microsoft.com/office/drawing/2014/main" id="{CA8E0E6D-23D9-4234-A780-CA6F6EB4D91F}"/>
              </a:ext>
            </a:extLst>
          </p:cNvPr>
          <p:cNvSpPr>
            <a:spLocks noGrp="1"/>
          </p:cNvSpPr>
          <p:nvPr>
            <p:ph type="dt" sz="half" idx="2"/>
          </p:nvPr>
        </p:nvSpPr>
        <p:spPr>
          <a:xfrm>
            <a:off x="764059" y="6367732"/>
            <a:ext cx="2743200"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B997A535-D0D4-43B5-AD8A-8D9F9278F202}" type="datetime1">
              <a:rPr lang="da-DK" smtClean="0"/>
              <a:t>08-05-2025</a:t>
            </a:fld>
            <a:endParaRPr lang="da-DK"/>
          </a:p>
        </p:txBody>
      </p:sp>
    </p:spTree>
    <p:extLst>
      <p:ext uri="{BB962C8B-B14F-4D97-AF65-F5344CB8AC3E}">
        <p14:creationId xmlns:p14="http://schemas.microsoft.com/office/powerpoint/2010/main" val="29833413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Fire indho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3B9A67-E62D-400C-BC42-A3A96AAED25F}"/>
              </a:ext>
            </a:extLst>
          </p:cNvPr>
          <p:cNvSpPr>
            <a:spLocks noGrp="1"/>
          </p:cNvSpPr>
          <p:nvPr>
            <p:ph type="title" hasCustomPrompt="1"/>
          </p:nvPr>
        </p:nvSpPr>
        <p:spPr>
          <a:xfrm>
            <a:off x="410401" y="1028247"/>
            <a:ext cx="2502000" cy="432000"/>
          </a:xfrm>
        </p:spPr>
        <p:txBody>
          <a:bodyPr/>
          <a:lstStyle>
            <a:lvl1pPr>
              <a:lnSpc>
                <a:spcPct val="110000"/>
              </a:lnSpc>
              <a:defRPr sz="1200"/>
            </a:lvl1pPr>
          </a:lstStyle>
          <a:p>
            <a:r>
              <a:rPr lang="da-DK" noProof="0"/>
              <a:t>Klik for at tilføje underoverskrift</a:t>
            </a:r>
            <a:endParaRPr lang="da-DK"/>
          </a:p>
        </p:txBody>
      </p:sp>
      <p:sp>
        <p:nvSpPr>
          <p:cNvPr id="14" name="Content Placeholder 13">
            <a:extLst>
              <a:ext uri="{FF2B5EF4-FFF2-40B4-BE49-F238E27FC236}">
                <a16:creationId xmlns:a16="http://schemas.microsoft.com/office/drawing/2014/main" id="{E60E8CAC-51BD-4862-8B6E-BD3E315677C4}"/>
              </a:ext>
            </a:extLst>
          </p:cNvPr>
          <p:cNvSpPr>
            <a:spLocks noGrp="1"/>
          </p:cNvSpPr>
          <p:nvPr>
            <p:ph sz="quarter" idx="13" hasCustomPrompt="1"/>
          </p:nvPr>
        </p:nvSpPr>
        <p:spPr>
          <a:xfrm>
            <a:off x="411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5" name="Subtitle 2">
            <a:extLst>
              <a:ext uri="{FF2B5EF4-FFF2-40B4-BE49-F238E27FC236}">
                <a16:creationId xmlns:a16="http://schemas.microsoft.com/office/drawing/2014/main" id="{25135A09-8F8A-4D87-8C43-B3A0A80BE2F5}"/>
              </a:ext>
            </a:extLst>
          </p:cNvPr>
          <p:cNvSpPr>
            <a:spLocks noGrp="1"/>
          </p:cNvSpPr>
          <p:nvPr>
            <p:ph type="subTitle" idx="1" hasCustomPrompt="1"/>
          </p:nvPr>
        </p:nvSpPr>
        <p:spPr>
          <a:xfrm>
            <a:off x="3273164" y="1028246"/>
            <a:ext cx="2502000" cy="432000"/>
          </a:xfrm>
        </p:spPr>
        <p:txBody>
          <a:bodyPr/>
          <a:lstStyle>
            <a:lvl1pPr marL="0" indent="0" algn="l">
              <a:buNone/>
              <a:defRPr sz="12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a-DK" noProof="0"/>
              <a:t>Klik for at tilføje underoverskrift</a:t>
            </a:r>
            <a:endParaRPr lang="da-DK"/>
          </a:p>
        </p:txBody>
      </p:sp>
      <p:sp>
        <p:nvSpPr>
          <p:cNvPr id="17" name="Content Placeholder 16">
            <a:extLst>
              <a:ext uri="{FF2B5EF4-FFF2-40B4-BE49-F238E27FC236}">
                <a16:creationId xmlns:a16="http://schemas.microsoft.com/office/drawing/2014/main" id="{462D92C6-668E-491E-B394-72897FAB3085}"/>
              </a:ext>
            </a:extLst>
          </p:cNvPr>
          <p:cNvSpPr>
            <a:spLocks noGrp="1"/>
          </p:cNvSpPr>
          <p:nvPr>
            <p:ph sz="quarter" idx="14" hasCustomPrompt="1"/>
          </p:nvPr>
        </p:nvSpPr>
        <p:spPr>
          <a:xfrm>
            <a:off x="3273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19" name="Text Placeholder 18">
            <a:extLst>
              <a:ext uri="{FF2B5EF4-FFF2-40B4-BE49-F238E27FC236}">
                <a16:creationId xmlns:a16="http://schemas.microsoft.com/office/drawing/2014/main" id="{C0F1B1F1-CA40-4EA4-AB68-69DBBD61ED9D}"/>
              </a:ext>
            </a:extLst>
          </p:cNvPr>
          <p:cNvSpPr>
            <a:spLocks noGrp="1"/>
          </p:cNvSpPr>
          <p:nvPr>
            <p:ph type="body" sz="quarter" idx="15" hasCustomPrompt="1"/>
          </p:nvPr>
        </p:nvSpPr>
        <p:spPr>
          <a:xfrm>
            <a:off x="6135163" y="1028246"/>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1" name="Content Placeholder 20">
            <a:extLst>
              <a:ext uri="{FF2B5EF4-FFF2-40B4-BE49-F238E27FC236}">
                <a16:creationId xmlns:a16="http://schemas.microsoft.com/office/drawing/2014/main" id="{3DBEE0FF-2C0E-499E-ACAF-B6F421AF13D5}"/>
              </a:ext>
            </a:extLst>
          </p:cNvPr>
          <p:cNvSpPr>
            <a:spLocks noGrp="1"/>
          </p:cNvSpPr>
          <p:nvPr>
            <p:ph sz="quarter" idx="16" hasCustomPrompt="1"/>
          </p:nvPr>
        </p:nvSpPr>
        <p:spPr>
          <a:xfrm>
            <a:off x="6135163" y="1475354"/>
            <a:ext cx="2502000"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3" name="Text Placeholder 22">
            <a:extLst>
              <a:ext uri="{FF2B5EF4-FFF2-40B4-BE49-F238E27FC236}">
                <a16:creationId xmlns:a16="http://schemas.microsoft.com/office/drawing/2014/main" id="{F091117C-5AED-4416-88BA-F1C88ACD7A25}"/>
              </a:ext>
            </a:extLst>
          </p:cNvPr>
          <p:cNvSpPr>
            <a:spLocks noGrp="1"/>
          </p:cNvSpPr>
          <p:nvPr>
            <p:ph type="body" sz="quarter" idx="17" hasCustomPrompt="1"/>
          </p:nvPr>
        </p:nvSpPr>
        <p:spPr>
          <a:xfrm>
            <a:off x="8997162" y="1028247"/>
            <a:ext cx="2502000" cy="432000"/>
          </a:xfrm>
        </p:spPr>
        <p:txBody>
          <a:bodyPr/>
          <a:lstStyle>
            <a:lvl1pPr marL="0" indent="0">
              <a:buNone/>
              <a:defRPr sz="1200" b="1"/>
            </a:lvl1pPr>
            <a:lvl2pPr marL="252000" indent="0">
              <a:buNone/>
              <a:defRPr/>
            </a:lvl2pPr>
          </a:lstStyle>
          <a:p>
            <a:pPr lvl="0"/>
            <a:r>
              <a:rPr lang="da-DK" noProof="0"/>
              <a:t>Klik for at tilføje underoverskrift</a:t>
            </a:r>
            <a:endParaRPr lang="da-DK"/>
          </a:p>
        </p:txBody>
      </p:sp>
      <p:sp>
        <p:nvSpPr>
          <p:cNvPr id="25" name="Content Placeholder 24">
            <a:extLst>
              <a:ext uri="{FF2B5EF4-FFF2-40B4-BE49-F238E27FC236}">
                <a16:creationId xmlns:a16="http://schemas.microsoft.com/office/drawing/2014/main" id="{C66F31E1-769E-4E9A-9DCC-2C64321A89C1}"/>
              </a:ext>
            </a:extLst>
          </p:cNvPr>
          <p:cNvSpPr>
            <a:spLocks noGrp="1"/>
          </p:cNvSpPr>
          <p:nvPr>
            <p:ph sz="quarter" idx="18" hasCustomPrompt="1"/>
          </p:nvPr>
        </p:nvSpPr>
        <p:spPr>
          <a:xfrm>
            <a:off x="8997161" y="1475354"/>
            <a:ext cx="2501999" cy="4366646"/>
          </a:xfrm>
        </p:spPr>
        <p:txBody>
          <a:bodyPr/>
          <a:lstStyle>
            <a:lvl1pPr>
              <a:defRPr sz="1200"/>
            </a:lvl1pPr>
            <a:lvl2pPr>
              <a:defRPr sz="1200"/>
            </a:lvl2pPr>
            <a:lvl4pPr>
              <a:defRPr sz="1200"/>
            </a:lvl4pPr>
            <a:lvl5pPr>
              <a:defRPr sz="1200"/>
            </a:lvl5pPr>
          </a:lstStyle>
          <a:p>
            <a:pPr lvl="0"/>
            <a:r>
              <a:rPr lang="da-DK" noProof="0"/>
              <a:t>Klik for at tilføje tekst</a:t>
            </a:r>
            <a:endParaRPr lang="da-DK"/>
          </a:p>
          <a:p>
            <a:pPr lvl="1"/>
            <a:r>
              <a:rPr lang="da-DK" noProof="0"/>
              <a:t>Second </a:t>
            </a:r>
            <a:r>
              <a:rPr lang="da-DK" noProof="0" err="1"/>
              <a:t>level</a:t>
            </a:r>
            <a:endParaRPr lang="da-DK" noProof="0"/>
          </a:p>
          <a:p>
            <a:pPr lvl="2"/>
            <a:r>
              <a:rPr lang="da-DK" noProof="0"/>
              <a:t>Third </a:t>
            </a:r>
            <a:r>
              <a:rPr lang="da-DK" noProof="0" err="1"/>
              <a:t>level</a:t>
            </a:r>
            <a:endParaRPr lang="da-DK" noProof="0"/>
          </a:p>
          <a:p>
            <a:pPr lvl="3"/>
            <a:r>
              <a:rPr lang="da-DK" noProof="0" err="1"/>
              <a:t>Fourth</a:t>
            </a:r>
            <a:r>
              <a:rPr lang="da-DK" noProof="0"/>
              <a:t> </a:t>
            </a:r>
            <a:r>
              <a:rPr lang="da-DK" noProof="0" err="1"/>
              <a:t>level</a:t>
            </a:r>
            <a:endParaRPr lang="da-DK" noProof="0"/>
          </a:p>
          <a:p>
            <a:pPr lvl="4"/>
            <a:r>
              <a:rPr lang="da-DK" noProof="0"/>
              <a:t>Fifth </a:t>
            </a:r>
            <a:r>
              <a:rPr lang="da-DK" noProof="0" err="1"/>
              <a:t>level</a:t>
            </a:r>
            <a:endParaRPr lang="da-DK" noProof="0"/>
          </a:p>
        </p:txBody>
      </p:sp>
      <p:sp>
        <p:nvSpPr>
          <p:cNvPr id="28" name="Date Placeholder 14">
            <a:extLst>
              <a:ext uri="{FF2B5EF4-FFF2-40B4-BE49-F238E27FC236}">
                <a16:creationId xmlns:a16="http://schemas.microsoft.com/office/drawing/2014/main" id="{1DCD95D8-07B6-42C0-8767-A640B7CA853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5" name="Date Placeholder 4">
            <a:extLst>
              <a:ext uri="{FF2B5EF4-FFF2-40B4-BE49-F238E27FC236}">
                <a16:creationId xmlns:a16="http://schemas.microsoft.com/office/drawing/2014/main" id="{8E588C40-671D-463C-8463-D77B96C28D88}"/>
              </a:ext>
            </a:extLst>
          </p:cNvPr>
          <p:cNvSpPr>
            <a:spLocks noGrp="1"/>
          </p:cNvSpPr>
          <p:nvPr>
            <p:ph type="dt" sz="half" idx="19"/>
          </p:nvPr>
        </p:nvSpPr>
        <p:spPr/>
        <p:txBody>
          <a:bodyPr/>
          <a:lstStyle/>
          <a:p>
            <a:fld id="{F1A13B18-F5ED-4611-8DBB-F05123AFBA22}" type="datetimeFigureOut">
              <a:rPr lang="da-DK" smtClean="0"/>
              <a:pPr/>
              <a:t>02-05-2025</a:t>
            </a:fld>
            <a:endParaRPr lang="da-DK"/>
          </a:p>
        </p:txBody>
      </p:sp>
      <p:sp>
        <p:nvSpPr>
          <p:cNvPr id="6" name="Footer Placeholder 5">
            <a:extLst>
              <a:ext uri="{FF2B5EF4-FFF2-40B4-BE49-F238E27FC236}">
                <a16:creationId xmlns:a16="http://schemas.microsoft.com/office/drawing/2014/main" id="{2846E2E0-2E23-491A-B165-353CDF3F79E2}"/>
              </a:ext>
            </a:extLst>
          </p:cNvPr>
          <p:cNvSpPr>
            <a:spLocks noGrp="1"/>
          </p:cNvSpPr>
          <p:nvPr>
            <p:ph type="ftr" sz="quarter" idx="20"/>
          </p:nvPr>
        </p:nvSpPr>
        <p:spPr/>
        <p:txBody>
          <a:bodyPr/>
          <a:lstStyle/>
          <a:p>
            <a:endParaRPr lang="da-DK"/>
          </a:p>
        </p:txBody>
      </p:sp>
      <p:sp>
        <p:nvSpPr>
          <p:cNvPr id="7" name="Slide Number Placeholder 6">
            <a:extLst>
              <a:ext uri="{FF2B5EF4-FFF2-40B4-BE49-F238E27FC236}">
                <a16:creationId xmlns:a16="http://schemas.microsoft.com/office/drawing/2014/main" id="{35B93800-6F51-413B-BA21-0A9967FF3386}"/>
              </a:ext>
            </a:extLst>
          </p:cNvPr>
          <p:cNvSpPr>
            <a:spLocks noGrp="1"/>
          </p:cNvSpPr>
          <p:nvPr>
            <p:ph type="sldNum" sz="quarter" idx="21"/>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27563761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Overskrift og indhold 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6" y="999173"/>
            <a:ext cx="10952579" cy="701040"/>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414696" y="1989138"/>
            <a:ext cx="10952580" cy="38528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379960337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05658C06-E668-41FD-BC8E-10BED683B814}"/>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D2F70ACF-A56D-4728-A5F0-F1701EF89A04}"/>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375786890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el og indholdsobjek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42C19E-F596-4C8B-A64F-9EFEB36FE200}"/>
              </a:ext>
            </a:extLst>
          </p:cNvPr>
          <p:cNvSpPr>
            <a:spLocks noGrp="1"/>
          </p:cNvSpPr>
          <p:nvPr>
            <p:ph idx="1"/>
          </p:nvPr>
        </p:nvSpPr>
        <p:spPr>
          <a:xfrm>
            <a:off x="764059" y="1219200"/>
            <a:ext cx="10633285" cy="4585749"/>
          </a:xfrm>
        </p:spPr>
        <p:txBody>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cxnSp>
        <p:nvCxnSpPr>
          <p:cNvPr id="26" name="Straight Connector 25">
            <a:extLst>
              <a:ext uri="{FF2B5EF4-FFF2-40B4-BE49-F238E27FC236}">
                <a16:creationId xmlns:a16="http://schemas.microsoft.com/office/drawing/2014/main" id="{F3B1A9DB-FCD3-436D-9C09-A2C395428131}"/>
              </a:ext>
            </a:extLst>
          </p:cNvPr>
          <p:cNvCxnSpPr>
            <a:cxnSpLocks/>
          </p:cNvCxnSpPr>
          <p:nvPr userDrawn="1"/>
        </p:nvCxnSpPr>
        <p:spPr>
          <a:xfrm>
            <a:off x="11397344" y="6363499"/>
            <a:ext cx="0" cy="38481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8" name="Title Placeholder 1">
            <a:extLst>
              <a:ext uri="{FF2B5EF4-FFF2-40B4-BE49-F238E27FC236}">
                <a16:creationId xmlns:a16="http://schemas.microsoft.com/office/drawing/2014/main" id="{8993F0E4-EF8C-4328-BF0F-D4D3A98C1E31}"/>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11" name="Slide Number Placeholder 5">
            <a:extLst>
              <a:ext uri="{FF2B5EF4-FFF2-40B4-BE49-F238E27FC236}">
                <a16:creationId xmlns:a16="http://schemas.microsoft.com/office/drawing/2014/main" id="{B0751AEF-1843-451A-9418-F0E0C3DC69E2}"/>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12" name="Date Placeholder 2">
            <a:extLst>
              <a:ext uri="{FF2B5EF4-FFF2-40B4-BE49-F238E27FC236}">
                <a16:creationId xmlns:a16="http://schemas.microsoft.com/office/drawing/2014/main" id="{0248BF5A-3EA4-44A2-85A9-D816B038DD0A}"/>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spTree>
    <p:extLst>
      <p:ext uri="{BB962C8B-B14F-4D97-AF65-F5344CB8AC3E}">
        <p14:creationId xmlns:p14="http://schemas.microsoft.com/office/powerpoint/2010/main" val="11459621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ort forside">
    <p:spTree>
      <p:nvGrpSpPr>
        <p:cNvPr id="1" name=""/>
        <p:cNvGrpSpPr/>
        <p:nvPr/>
      </p:nvGrpSpPr>
      <p:grpSpPr>
        <a:xfrm>
          <a:off x="0" y="0"/>
          <a:ext cx="0" cy="0"/>
          <a:chOff x="0" y="0"/>
          <a:chExt cx="0" cy="0"/>
        </a:xfrm>
      </p:grpSpPr>
      <p:sp>
        <p:nvSpPr>
          <p:cNvPr id="3" name="Background">
            <a:extLst>
              <a:ext uri="{FF2B5EF4-FFF2-40B4-BE49-F238E27FC236}">
                <a16:creationId xmlns:a16="http://schemas.microsoft.com/office/drawing/2014/main" id="{BBCAF46D-9983-4AEE-9B8A-24654CDEDDB0}"/>
              </a:ext>
            </a:extLst>
          </p:cNvPr>
          <p:cNvSpPr/>
          <p:nvPr userDrawn="1"/>
        </p:nvSpPr>
        <p:spPr>
          <a:xfrm>
            <a:off x="0" y="0"/>
            <a:ext cx="121896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err="1"/>
          </a:p>
        </p:txBody>
      </p:sp>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bg1"/>
                </a:solidFill>
              </a:defRPr>
            </a:lvl1pPr>
          </a:lstStyle>
          <a:p>
            <a:r>
              <a:rPr lang="da-DK"/>
              <a:t>Klik for at tilføje overskrift</a:t>
            </a:r>
          </a:p>
        </p:txBody>
      </p:sp>
      <p:sp>
        <p:nvSpPr>
          <p:cNvPr id="19" name="text" descr="{&quot;templafy&quot;:{&quot;id&quot;:&quot;625e59af-0af1-42f8-9708-9f97431f1a16&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no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solidFill>
                  <a:schemeClr val="bg1"/>
                </a:solidFill>
              </a:rPr>
              <a:t>SDU Digital</a:t>
            </a:r>
          </a:p>
        </p:txBody>
      </p:sp>
      <p:pic>
        <p:nvPicPr>
          <p:cNvPr id="7" name="Logo black">
            <a:extLst>
              <a:ext uri="{FF2B5EF4-FFF2-40B4-BE49-F238E27FC236}">
                <a16:creationId xmlns:a16="http://schemas.microsoft.com/office/drawing/2014/main" id="{E6E48129-FB3C-4F39-A5A1-63313B41D3C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200" y="6296400"/>
            <a:ext cx="786874" cy="212400"/>
          </a:xfrm>
          <a:prstGeom prst="rect">
            <a:avLst/>
          </a:prstGeom>
        </p:spPr>
      </p:pic>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bg1"/>
                </a:solidFill>
              </a:rPr>
              <a:t>#sdudk</a:t>
            </a:r>
            <a:endParaRPr lang="da-DK"/>
          </a:p>
        </p:txBody>
      </p:sp>
      <p:cxnSp>
        <p:nvCxnSpPr>
          <p:cNvPr id="12" name="Straight Connector 11">
            <a:extLst>
              <a:ext uri="{FF2B5EF4-FFF2-40B4-BE49-F238E27FC236}">
                <a16:creationId xmlns:a16="http://schemas.microsoft.com/office/drawing/2014/main" id="{0C739632-1CD3-47C1-98D9-4B1B2253C7C9}"/>
              </a:ext>
            </a:extLst>
          </p:cNvPr>
          <p:cNvCxnSpPr>
            <a:cxnSpLocks/>
          </p:cNvCxnSpPr>
          <p:nvPr userDrawn="1"/>
        </p:nvCxnSpPr>
        <p:spPr>
          <a:xfrm>
            <a:off x="410400" y="715665"/>
            <a:ext cx="699211"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Date Placeholder 14">
            <a:extLst>
              <a:ext uri="{FF2B5EF4-FFF2-40B4-BE49-F238E27FC236}">
                <a16:creationId xmlns:a16="http://schemas.microsoft.com/office/drawing/2014/main" id="{D4E1389B-CA3B-4709-956D-F396D960BBC8}"/>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4" name="Date Placeholder 14">
            <a:extLst>
              <a:ext uri="{FF2B5EF4-FFF2-40B4-BE49-F238E27FC236}">
                <a16:creationId xmlns:a16="http://schemas.microsoft.com/office/drawing/2014/main" id="{8A94F1C1-AE36-4BBA-B958-8FC614A9472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Tree>
    <p:extLst>
      <p:ext uri="{BB962C8B-B14F-4D97-AF65-F5344CB8AC3E}">
        <p14:creationId xmlns:p14="http://schemas.microsoft.com/office/powerpoint/2010/main" val="30229626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Hvid fors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49384" y="1760373"/>
            <a:ext cx="10069011" cy="4070408"/>
          </a:xfrm>
        </p:spPr>
        <p:txBody>
          <a:bodyPr anchor="t" anchorCtr="0"/>
          <a:lstStyle>
            <a:lvl1pPr algn="l">
              <a:lnSpc>
                <a:spcPct val="90000"/>
              </a:lnSpc>
              <a:defRPr sz="9400">
                <a:solidFill>
                  <a:schemeClr val="tx1"/>
                </a:solidFill>
              </a:defRPr>
            </a:lvl1pPr>
          </a:lstStyle>
          <a:p>
            <a:r>
              <a:rPr lang="da-DK"/>
              <a:t>Klik for at tilføje overskrift</a:t>
            </a:r>
          </a:p>
        </p:txBody>
      </p:sp>
      <p:sp>
        <p:nvSpPr>
          <p:cNvPr id="13" name="Date Placeholder 14">
            <a:extLst>
              <a:ext uri="{FF2B5EF4-FFF2-40B4-BE49-F238E27FC236}">
                <a16:creationId xmlns:a16="http://schemas.microsoft.com/office/drawing/2014/main" id="{5161ABAB-6DB4-433A-ACC8-A0EC0AACAD0C}"/>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4" name="Date Placeholder 14">
            <a:extLst>
              <a:ext uri="{FF2B5EF4-FFF2-40B4-BE49-F238E27FC236}">
                <a16:creationId xmlns:a16="http://schemas.microsoft.com/office/drawing/2014/main" id="{BC3A8B03-9EA5-416E-BD54-B87E6C4A6781}"/>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Tree>
    <p:extLst>
      <p:ext uri="{BB962C8B-B14F-4D97-AF65-F5344CB8AC3E}">
        <p14:creationId xmlns:p14="http://schemas.microsoft.com/office/powerpoint/2010/main" val="385828724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reaker A">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BAC5FF5C-5A1F-4EF8-85A8-E1370E4FA7C5}"/>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4400">
                <a:solidFill>
                  <a:schemeClr val="tx1"/>
                </a:solidFill>
              </a:defRPr>
            </a:lvl1pPr>
          </a:lstStyle>
          <a:p>
            <a:r>
              <a:rPr lang="da-DK"/>
              <a:t>Klik for at tilføje overskrift</a:t>
            </a:r>
          </a:p>
        </p:txBody>
      </p:sp>
      <p:sp>
        <p:nvSpPr>
          <p:cNvPr id="19" name="text" descr="{&quot;templafy&quot;:{&quot;id&quot;:&quot;4f455b05-4319-4f8f-8f7d-79f450a749aa&quot;}}" title="UserProfile.Institut.InstituteDCU_{{DocumentLanguage}}">
            <a:extLst>
              <a:ext uri="{FF2B5EF4-FFF2-40B4-BE49-F238E27FC236}">
                <a16:creationId xmlns:a16="http://schemas.microsoft.com/office/drawing/2014/main" id="{610DD8E7-635C-4517-8E21-65C3CB025FF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
        <p:nvSpPr>
          <p:cNvPr id="20" name="sdu.dk">
            <a:extLst>
              <a:ext uri="{FF2B5EF4-FFF2-40B4-BE49-F238E27FC236}">
                <a16:creationId xmlns:a16="http://schemas.microsoft.com/office/drawing/2014/main" id="{4B84D86E-3D20-4505-8DAD-8EB1F3E63B0A}"/>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21" name="#sdudk">
            <a:extLst>
              <a:ext uri="{FF2B5EF4-FFF2-40B4-BE49-F238E27FC236}">
                <a16:creationId xmlns:a16="http://schemas.microsoft.com/office/drawing/2014/main" id="{B58A6A9A-5E98-43AC-8CA5-F6C4B0573364}"/>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cxnSp>
        <p:nvCxnSpPr>
          <p:cNvPr id="11" name="Straight Connector 10">
            <a:extLst>
              <a:ext uri="{FF2B5EF4-FFF2-40B4-BE49-F238E27FC236}">
                <a16:creationId xmlns:a16="http://schemas.microsoft.com/office/drawing/2014/main" id="{EEFBD90C-157B-45E5-8A90-9560C86CAB4C}"/>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date" descr="{&quot;templafy&quot;:{&quot;id&quot;:&quot;859008e1-1671-4807-8867-2aaa4d8b9bc1&quot;}}" title="Form.Date">
            <a:extLst>
              <a:ext uri="{FF2B5EF4-FFF2-40B4-BE49-F238E27FC236}">
                <a16:creationId xmlns:a16="http://schemas.microsoft.com/office/drawing/2014/main" id="{508E925B-663E-4A1A-8916-BC4FCFEA746C}"/>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4</a:t>
            </a:r>
          </a:p>
        </p:txBody>
      </p:sp>
      <p:pic>
        <p:nvPicPr>
          <p:cNvPr id="13" name="Logo black">
            <a:extLst>
              <a:ext uri="{FF2B5EF4-FFF2-40B4-BE49-F238E27FC236}">
                <a16:creationId xmlns:a16="http://schemas.microsoft.com/office/drawing/2014/main" id="{8790A71A-B09B-4B5F-9D31-846A17201C9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17" name="Date Placeholder 14">
            <a:extLst>
              <a:ext uri="{FF2B5EF4-FFF2-40B4-BE49-F238E27FC236}">
                <a16:creationId xmlns:a16="http://schemas.microsoft.com/office/drawing/2014/main" id="{D63CFED0-47FC-4852-81C1-6B705FD6417D}"/>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TextBox 2">
            <a:extLst>
              <a:ext uri="{FF2B5EF4-FFF2-40B4-BE49-F238E27FC236}">
                <a16:creationId xmlns:a16="http://schemas.microsoft.com/office/drawing/2014/main" id="{2D2565F4-7FB3-4F2B-AED8-4859D42935AE}"/>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11575540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reaker B">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b" anchorCtr="0"/>
          <a:lstStyle>
            <a:lvl1pPr algn="l">
              <a:lnSpc>
                <a:spcPct val="100000"/>
              </a:lnSpc>
              <a:defRPr sz="4400">
                <a:solidFill>
                  <a:schemeClr val="tx1"/>
                </a:solidFill>
              </a:defRPr>
            </a:lvl1pPr>
          </a:lstStyle>
          <a:p>
            <a:r>
              <a:rPr lang="da-DK"/>
              <a:t>Klik for at tilføje overskrift</a:t>
            </a:r>
          </a:p>
        </p:txBody>
      </p:sp>
      <p:sp>
        <p:nvSpPr>
          <p:cNvPr id="14" name="Picture Placeholder 3">
            <a:extLst>
              <a:ext uri="{FF2B5EF4-FFF2-40B4-BE49-F238E27FC236}">
                <a16:creationId xmlns:a16="http://schemas.microsoft.com/office/drawing/2014/main" id="{A915360E-F247-49FB-821B-5399F1326472}"/>
              </a:ext>
            </a:extLst>
          </p:cNvPr>
          <p:cNvSpPr>
            <a:spLocks noGrp="1"/>
          </p:cNvSpPr>
          <p:nvPr>
            <p:ph type="pic" sz="quarter" idx="14" hasCustomPrompt="1"/>
          </p:nvPr>
        </p:nvSpPr>
        <p:spPr>
          <a:xfrm>
            <a:off x="6415848" y="1000443"/>
            <a:ext cx="4951428" cy="4841557"/>
          </a:xfrm>
        </p:spPr>
        <p:txBody>
          <a:bodyPr/>
          <a:lstStyle>
            <a:lvl1pPr marL="0" indent="0" algn="ctr">
              <a:buNone/>
              <a:defRPr sz="1200"/>
            </a:lvl1pPr>
          </a:lstStyle>
          <a:p>
            <a:r>
              <a:rPr lang="da-DK"/>
              <a:t>Vælg pladsholderen og indsæt billede via Templafy/Skyfish eller ikon eller logo via Templafy/Billeder</a:t>
            </a:r>
          </a:p>
        </p:txBody>
      </p:sp>
      <p:sp>
        <p:nvSpPr>
          <p:cNvPr id="7" name="Date Placeholder 14">
            <a:extLst>
              <a:ext uri="{FF2B5EF4-FFF2-40B4-BE49-F238E27FC236}">
                <a16:creationId xmlns:a16="http://schemas.microsoft.com/office/drawing/2014/main" id="{FB068F22-0263-44BB-8333-C5643293F39A}"/>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8" name="Date Placeholder 14">
            <a:extLst>
              <a:ext uri="{FF2B5EF4-FFF2-40B4-BE49-F238E27FC236}">
                <a16:creationId xmlns:a16="http://schemas.microsoft.com/office/drawing/2014/main" id="{2D08A2CA-4B19-4B39-B540-F97244C446A4}"/>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10" name="TextBox 9">
            <a:extLst>
              <a:ext uri="{FF2B5EF4-FFF2-40B4-BE49-F238E27FC236}">
                <a16:creationId xmlns:a16="http://schemas.microsoft.com/office/drawing/2014/main" id="{7EB9F81D-3EAD-42E8-88EC-432C25D7A8F9}"/>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87011205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Overskrift og indhold A">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7" y="1700212"/>
            <a:ext cx="5367600" cy="4141787"/>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6673356" y="1700212"/>
            <a:ext cx="4693920" cy="4141788"/>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66685058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Overskrift og indhold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CC1A9A-6ADC-4F72-A312-ED1DBEF01BE1}"/>
              </a:ext>
            </a:extLst>
          </p:cNvPr>
          <p:cNvSpPr>
            <a:spLocks noGrp="1"/>
          </p:cNvSpPr>
          <p:nvPr>
            <p:ph type="title" hasCustomPrompt="1"/>
          </p:nvPr>
        </p:nvSpPr>
        <p:spPr>
          <a:xfrm>
            <a:off x="410400" y="1028246"/>
            <a:ext cx="5366267" cy="1884283"/>
          </a:xfrm>
        </p:spPr>
        <p:txBody>
          <a:bodyPr/>
          <a:lstStyle>
            <a:lvl1pPr>
              <a:defRPr/>
            </a:lvl1pPr>
          </a:lstStyle>
          <a:p>
            <a:r>
              <a:rPr lang="da-DK"/>
              <a:t>Klik for at tilføje overskrift</a:t>
            </a:r>
          </a:p>
        </p:txBody>
      </p:sp>
      <p:sp>
        <p:nvSpPr>
          <p:cNvPr id="6" name="Content Placeholder 5">
            <a:extLst>
              <a:ext uri="{FF2B5EF4-FFF2-40B4-BE49-F238E27FC236}">
                <a16:creationId xmlns:a16="http://schemas.microsoft.com/office/drawing/2014/main" id="{C4256969-981A-4869-9324-B595DF89D12E}"/>
              </a:ext>
            </a:extLst>
          </p:cNvPr>
          <p:cNvSpPr>
            <a:spLocks noGrp="1"/>
          </p:cNvSpPr>
          <p:nvPr>
            <p:ph sz="quarter" idx="19" hasCustomPrompt="1"/>
          </p:nvPr>
        </p:nvSpPr>
        <p:spPr>
          <a:xfrm>
            <a:off x="6156000" y="1028246"/>
            <a:ext cx="5216400" cy="4825354"/>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6" name="sdu.dk">
            <a:extLst>
              <a:ext uri="{FF2B5EF4-FFF2-40B4-BE49-F238E27FC236}">
                <a16:creationId xmlns:a16="http://schemas.microsoft.com/office/drawing/2014/main" id="{406E07B7-D9E4-488D-BA7B-56AC0D1DDD05}"/>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sdudk">
            <a:extLst>
              <a:ext uri="{FF2B5EF4-FFF2-40B4-BE49-F238E27FC236}">
                <a16:creationId xmlns:a16="http://schemas.microsoft.com/office/drawing/2014/main" id="{CD1A1828-0ED2-4AFE-8C5E-683996CBAF9D}"/>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5" name="text" descr="{&quot;templafy&quot;:{&quot;id&quot;:&quot;818ddaee-197f-4ab3-bf21-6d1f305e442b&quot;}}" title="UserProfile.Institut.InstituteDCU_{{DocumentLanguage}}">
            <a:extLst>
              <a:ext uri="{FF2B5EF4-FFF2-40B4-BE49-F238E27FC236}">
                <a16:creationId xmlns:a16="http://schemas.microsoft.com/office/drawing/2014/main" id="{964E632B-B9F2-4547-AC03-2C579124053E}"/>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cxnSp>
        <p:nvCxnSpPr>
          <p:cNvPr id="21" name="Straight Connector 20">
            <a:extLst>
              <a:ext uri="{FF2B5EF4-FFF2-40B4-BE49-F238E27FC236}">
                <a16:creationId xmlns:a16="http://schemas.microsoft.com/office/drawing/2014/main" id="{5D6B1FAA-D7ED-4C71-8DC4-E5439F01BCEB}"/>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Logo black">
            <a:extLst>
              <a:ext uri="{FF2B5EF4-FFF2-40B4-BE49-F238E27FC236}">
                <a16:creationId xmlns:a16="http://schemas.microsoft.com/office/drawing/2014/main" id="{CAAF367F-3818-457C-9EE1-320E9050AEB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sp>
        <p:nvSpPr>
          <p:cNvPr id="3" name="Date Placeholder 2">
            <a:extLst>
              <a:ext uri="{FF2B5EF4-FFF2-40B4-BE49-F238E27FC236}">
                <a16:creationId xmlns:a16="http://schemas.microsoft.com/office/drawing/2014/main" id="{C0F779A9-E4FE-4412-9D9E-BF5BF84D02AB}"/>
              </a:ext>
            </a:extLst>
          </p:cNvPr>
          <p:cNvSpPr>
            <a:spLocks noGrp="1"/>
          </p:cNvSpPr>
          <p:nvPr>
            <p:ph type="dt" sz="half" idx="20"/>
          </p:nvPr>
        </p:nvSpPr>
        <p:spPr/>
        <p:txBody>
          <a:bodyPr/>
          <a:lstStyle/>
          <a:p>
            <a:fld id="{F1A13B18-F5ED-4611-8DBB-F05123AFBA22}" type="datetimeFigureOut">
              <a:rPr lang="da-DK" smtClean="0"/>
              <a:pPr/>
              <a:t>08-05-2025</a:t>
            </a:fld>
            <a:endParaRPr lang="da-DK"/>
          </a:p>
        </p:txBody>
      </p:sp>
      <p:sp>
        <p:nvSpPr>
          <p:cNvPr id="4" name="Footer Placeholder 3">
            <a:extLst>
              <a:ext uri="{FF2B5EF4-FFF2-40B4-BE49-F238E27FC236}">
                <a16:creationId xmlns:a16="http://schemas.microsoft.com/office/drawing/2014/main" id="{496ECF2D-BB4C-4004-9F8E-08239A46461C}"/>
              </a:ext>
            </a:extLst>
          </p:cNvPr>
          <p:cNvSpPr>
            <a:spLocks noGrp="1"/>
          </p:cNvSpPr>
          <p:nvPr>
            <p:ph type="ftr" sz="quarter" idx="21"/>
          </p:nvPr>
        </p:nvSpPr>
        <p:spPr/>
        <p:txBody>
          <a:bodyPr/>
          <a:lstStyle/>
          <a:p>
            <a:endParaRPr lang="da-DK"/>
          </a:p>
        </p:txBody>
      </p:sp>
      <p:sp>
        <p:nvSpPr>
          <p:cNvPr id="5" name="Slide Number Placeholder 4">
            <a:extLst>
              <a:ext uri="{FF2B5EF4-FFF2-40B4-BE49-F238E27FC236}">
                <a16:creationId xmlns:a16="http://schemas.microsoft.com/office/drawing/2014/main" id="{FB5949DE-6D77-480D-A4A9-E2E53BE1CE80}"/>
              </a:ext>
            </a:extLst>
          </p:cNvPr>
          <p:cNvSpPr>
            <a:spLocks noGrp="1"/>
          </p:cNvSpPr>
          <p:nvPr>
            <p:ph type="sldNum" sz="quarter" idx="22"/>
          </p:nvPr>
        </p:nvSpPr>
        <p:spPr/>
        <p:txBody>
          <a:bodyPr/>
          <a:lstStyle/>
          <a:p>
            <a:fld id="{45D37B1E-C366-494F-A587-962AD9AABC83}" type="slidenum">
              <a:rPr lang="da-DK" smtClean="0"/>
              <a:pPr/>
              <a:t>‹#›</a:t>
            </a:fld>
            <a:endParaRPr lang="da-DK"/>
          </a:p>
        </p:txBody>
      </p:sp>
      <p:sp>
        <p:nvSpPr>
          <p:cNvPr id="20" name="TextBox 19">
            <a:extLst>
              <a:ext uri="{FF2B5EF4-FFF2-40B4-BE49-F238E27FC236}">
                <a16:creationId xmlns:a16="http://schemas.microsoft.com/office/drawing/2014/main" id="{E75150F5-CFA6-40F1-B2B7-79337C2232BB}"/>
              </a:ext>
            </a:extLst>
          </p:cNvPr>
          <p:cNvSpPr txBox="1"/>
          <p:nvPr userDrawn="1"/>
        </p:nvSpPr>
        <p:spPr>
          <a:xfrm>
            <a:off x="0" y="-349741"/>
            <a:ext cx="11457183" cy="323165"/>
          </a:xfrm>
          <a:prstGeom prst="rect">
            <a:avLst/>
          </a:prstGeom>
          <a:noFill/>
        </p:spPr>
        <p:txBody>
          <a:bodyPr wrap="square" lIns="0" tIns="0" rIns="0" bIns="0" rtlCol="0">
            <a:spAutoFit/>
          </a:bodyPr>
          <a:lstStyle/>
          <a:p>
            <a:r>
              <a:rPr lang="da-DK" sz="1050" b="1" noProof="1"/>
              <a:t>Skift baggrundsfarve. </a:t>
            </a:r>
            <a:r>
              <a:rPr lang="da-DK" sz="1050" noProof="1"/>
              <a:t>Højreklik på slidet og vælg </a:t>
            </a:r>
            <a:r>
              <a:rPr lang="da-DK" sz="1050" b="1" noProof="1"/>
              <a:t>Formatér baggrund</a:t>
            </a:r>
            <a:r>
              <a:rPr lang="da-DK" sz="1050" noProof="1"/>
              <a:t>. Klik på </a:t>
            </a:r>
            <a:r>
              <a:rPr lang="da-DK" sz="1050" b="1" noProof="1"/>
              <a:t>Fyld farve </a:t>
            </a:r>
            <a:r>
              <a:rPr lang="da-DK" sz="1050" noProof="1"/>
              <a:t>i Formater baggrund vinduet og vælg farve fra øverste række i SDU’s farve palette eller fra den brugerdefinerede farvepalette</a:t>
            </a:r>
            <a:endParaRPr lang="da-DK"/>
          </a:p>
        </p:txBody>
      </p:sp>
    </p:spTree>
    <p:extLst>
      <p:ext uri="{BB962C8B-B14F-4D97-AF65-F5344CB8AC3E}">
        <p14:creationId xmlns:p14="http://schemas.microsoft.com/office/powerpoint/2010/main" val="51800599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verskrift og indhold C">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14696" y="999173"/>
            <a:ext cx="10952579" cy="701040"/>
          </a:xfrm>
        </p:spPr>
        <p:txBody>
          <a:bodyPr anchor="t" anchorCtr="0"/>
          <a:lstStyle>
            <a:lvl1pPr algn="l">
              <a:lnSpc>
                <a:spcPct val="100000"/>
              </a:lnSpc>
              <a:defRPr sz="3600">
                <a:solidFill>
                  <a:schemeClr val="tx1"/>
                </a:solidFill>
              </a:defRPr>
            </a:lvl1pPr>
          </a:lstStyle>
          <a:p>
            <a:r>
              <a:rPr lang="da-DK"/>
              <a:t>Klik for at tilføje overskrift</a:t>
            </a:r>
          </a:p>
        </p:txBody>
      </p:sp>
      <p:sp>
        <p:nvSpPr>
          <p:cNvPr id="7" name="Content Placeholder 6">
            <a:extLst>
              <a:ext uri="{FF2B5EF4-FFF2-40B4-BE49-F238E27FC236}">
                <a16:creationId xmlns:a16="http://schemas.microsoft.com/office/drawing/2014/main" id="{A9D41ADC-5992-4476-8E55-8A709AA1B4B5}"/>
              </a:ext>
            </a:extLst>
          </p:cNvPr>
          <p:cNvSpPr>
            <a:spLocks noGrp="1"/>
          </p:cNvSpPr>
          <p:nvPr>
            <p:ph sz="quarter" idx="13" hasCustomPrompt="1"/>
          </p:nvPr>
        </p:nvSpPr>
        <p:spPr>
          <a:xfrm>
            <a:off x="414696" y="1989138"/>
            <a:ext cx="10952580" cy="3852862"/>
          </a:xfrm>
        </p:spPr>
        <p:txBody>
          <a:bodyPr/>
          <a:lstStyle>
            <a:lvl1pPr>
              <a:defRPr/>
            </a:lvl1pPr>
          </a:lstStyle>
          <a:p>
            <a:pPr lvl="0"/>
            <a:r>
              <a:rPr lang="da-DK"/>
              <a:t>Klik for at tilføje tekst, klik ikon for at tilføje graf/tabel</a:t>
            </a:r>
          </a:p>
          <a:p>
            <a:pPr lvl="1"/>
            <a:r>
              <a:rPr lang="da-DK"/>
              <a:t>Second </a:t>
            </a:r>
            <a:r>
              <a:rPr lang="da-DK" err="1"/>
              <a:t>level</a:t>
            </a:r>
            <a:endParaRPr lang="da-DK"/>
          </a:p>
          <a:p>
            <a:pPr lvl="2"/>
            <a:r>
              <a:rPr lang="da-DK"/>
              <a:t>Third </a:t>
            </a:r>
            <a:r>
              <a:rPr lang="da-DK" err="1"/>
              <a:t>level</a:t>
            </a:r>
            <a:endParaRPr lang="da-DK"/>
          </a:p>
          <a:p>
            <a:pPr lvl="3"/>
            <a:r>
              <a:rPr lang="da-DK" err="1"/>
              <a:t>Fourth</a:t>
            </a:r>
            <a:r>
              <a:rPr lang="da-DK"/>
              <a:t> </a:t>
            </a:r>
            <a:r>
              <a:rPr lang="da-DK" err="1"/>
              <a:t>level</a:t>
            </a:r>
            <a:endParaRPr lang="da-DK"/>
          </a:p>
          <a:p>
            <a:pPr lvl="4"/>
            <a:r>
              <a:rPr lang="da-DK"/>
              <a:t>Fifth </a:t>
            </a:r>
            <a:r>
              <a:rPr lang="da-DK" err="1"/>
              <a:t>level</a:t>
            </a:r>
            <a:endParaRPr lang="da-DK"/>
          </a:p>
        </p:txBody>
      </p:sp>
      <p:sp>
        <p:nvSpPr>
          <p:cNvPr id="10" name="Date Placeholder 14">
            <a:extLst>
              <a:ext uri="{FF2B5EF4-FFF2-40B4-BE49-F238E27FC236}">
                <a16:creationId xmlns:a16="http://schemas.microsoft.com/office/drawing/2014/main" id="{BBCDE8CE-8147-4B12-B358-7B7ACA92FFF2}"/>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sp>
        <p:nvSpPr>
          <p:cNvPr id="11" name="Date Placeholder 14">
            <a:extLst>
              <a:ext uri="{FF2B5EF4-FFF2-40B4-BE49-F238E27FC236}">
                <a16:creationId xmlns:a16="http://schemas.microsoft.com/office/drawing/2014/main" id="{7ACE2053-07AA-42FA-A789-E1430CAF7988}"/>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3" name="Footer Placeholder 2">
            <a:extLst>
              <a:ext uri="{FF2B5EF4-FFF2-40B4-BE49-F238E27FC236}">
                <a16:creationId xmlns:a16="http://schemas.microsoft.com/office/drawing/2014/main" id="{2BD490B9-04D5-4C98-9BAE-36CAE61DE349}"/>
              </a:ext>
            </a:extLst>
          </p:cNvPr>
          <p:cNvSpPr>
            <a:spLocks noGrp="1"/>
          </p:cNvSpPr>
          <p:nvPr>
            <p:ph type="ftr" sz="quarter" idx="14"/>
          </p:nvPr>
        </p:nvSpPr>
        <p:spPr/>
        <p:txBody>
          <a:bodyPr/>
          <a:lstStyle/>
          <a:p>
            <a:endParaRPr lang="da-DK"/>
          </a:p>
        </p:txBody>
      </p:sp>
      <p:sp>
        <p:nvSpPr>
          <p:cNvPr id="4" name="Slide Number Placeholder 3">
            <a:extLst>
              <a:ext uri="{FF2B5EF4-FFF2-40B4-BE49-F238E27FC236}">
                <a16:creationId xmlns:a16="http://schemas.microsoft.com/office/drawing/2014/main" id="{DBDCBB1C-1FE3-42F2-ACED-70B0664062BD}"/>
              </a:ext>
            </a:extLst>
          </p:cNvPr>
          <p:cNvSpPr>
            <a:spLocks noGrp="1"/>
          </p:cNvSpPr>
          <p:nvPr>
            <p:ph type="sldNum" sz="quarter" idx="15"/>
          </p:nvPr>
        </p:nvSpPr>
        <p:spPr/>
        <p:txBody>
          <a:bodyPr/>
          <a:lstStyle/>
          <a:p>
            <a:fld id="{45D37B1E-C366-494F-A587-962AD9AABC83}" type="slidenum">
              <a:rPr lang="da-DK" smtClean="0"/>
              <a:pPr/>
              <a:t>‹#›</a:t>
            </a:fld>
            <a:endParaRPr lang="da-DK"/>
          </a:p>
        </p:txBody>
      </p:sp>
    </p:spTree>
    <p:extLst>
      <p:ext uri="{BB962C8B-B14F-4D97-AF65-F5344CB8AC3E}">
        <p14:creationId xmlns:p14="http://schemas.microsoft.com/office/powerpoint/2010/main" val="14901770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slideLayout" Target="../slideLayouts/slideLayout35.xml"/><Relationship Id="rId3" Type="http://schemas.openxmlformats.org/officeDocument/2006/relationships/slideLayout" Target="../slideLayouts/slideLayout20.xml"/><Relationship Id="rId21" Type="http://schemas.openxmlformats.org/officeDocument/2006/relationships/slideLayout" Target="../slideLayouts/slideLayout38.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6.xml"/><Relationship Id="rId13" Type="http://schemas.openxmlformats.org/officeDocument/2006/relationships/slideLayout" Target="../slideLayouts/slideLayout51.xml"/><Relationship Id="rId18" Type="http://schemas.openxmlformats.org/officeDocument/2006/relationships/slideLayout" Target="../slideLayouts/slideLayout56.xml"/><Relationship Id="rId3" Type="http://schemas.openxmlformats.org/officeDocument/2006/relationships/slideLayout" Target="../slideLayouts/slideLayout41.xml"/><Relationship Id="rId7" Type="http://schemas.openxmlformats.org/officeDocument/2006/relationships/slideLayout" Target="../slideLayouts/slideLayout45.xml"/><Relationship Id="rId12" Type="http://schemas.openxmlformats.org/officeDocument/2006/relationships/slideLayout" Target="../slideLayouts/slideLayout50.xml"/><Relationship Id="rId17" Type="http://schemas.openxmlformats.org/officeDocument/2006/relationships/slideLayout" Target="../slideLayouts/slideLayout55.xml"/><Relationship Id="rId2" Type="http://schemas.openxmlformats.org/officeDocument/2006/relationships/slideLayout" Target="../slideLayouts/slideLayout40.xml"/><Relationship Id="rId16" Type="http://schemas.openxmlformats.org/officeDocument/2006/relationships/slideLayout" Target="../slideLayouts/slideLayout54.xml"/><Relationship Id="rId20" Type="http://schemas.openxmlformats.org/officeDocument/2006/relationships/theme" Target="../theme/theme3.xml"/><Relationship Id="rId1" Type="http://schemas.openxmlformats.org/officeDocument/2006/relationships/slideLayout" Target="../slideLayouts/slideLayout39.xml"/><Relationship Id="rId6" Type="http://schemas.openxmlformats.org/officeDocument/2006/relationships/slideLayout" Target="../slideLayouts/slideLayout44.xml"/><Relationship Id="rId11" Type="http://schemas.openxmlformats.org/officeDocument/2006/relationships/slideLayout" Target="../slideLayouts/slideLayout49.xml"/><Relationship Id="rId5" Type="http://schemas.openxmlformats.org/officeDocument/2006/relationships/slideLayout" Target="../slideLayouts/slideLayout43.xml"/><Relationship Id="rId15" Type="http://schemas.openxmlformats.org/officeDocument/2006/relationships/slideLayout" Target="../slideLayouts/slideLayout53.xml"/><Relationship Id="rId10" Type="http://schemas.openxmlformats.org/officeDocument/2006/relationships/slideLayout" Target="../slideLayouts/slideLayout48.xml"/><Relationship Id="rId19" Type="http://schemas.openxmlformats.org/officeDocument/2006/relationships/slideLayout" Target="../slideLayouts/slideLayout57.xml"/><Relationship Id="rId4" Type="http://schemas.openxmlformats.org/officeDocument/2006/relationships/slideLayout" Target="../slideLayouts/slideLayout42.xml"/><Relationship Id="rId9" Type="http://schemas.openxmlformats.org/officeDocument/2006/relationships/slideLayout" Target="../slideLayouts/slideLayout47.xml"/><Relationship Id="rId14" Type="http://schemas.openxmlformats.org/officeDocument/2006/relationships/slideLayout" Target="../slideLayouts/slideLayout5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slideLayout" Target="../slideLayouts/slideLayout70.xml"/><Relationship Id="rId18" Type="http://schemas.openxmlformats.org/officeDocument/2006/relationships/theme" Target="../theme/theme4.xml"/><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slideLayout" Target="../slideLayouts/slideLayout74.xml"/><Relationship Id="rId2" Type="http://schemas.openxmlformats.org/officeDocument/2006/relationships/slideLayout" Target="../slideLayouts/slideLayout59.xml"/><Relationship Id="rId16" Type="http://schemas.openxmlformats.org/officeDocument/2006/relationships/slideLayout" Target="../slideLayouts/slideLayout73.xml"/><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slideLayout" Target="../slideLayouts/slideLayout72.xml"/><Relationship Id="rId10" Type="http://schemas.openxmlformats.org/officeDocument/2006/relationships/slideLayout" Target="../slideLayouts/slideLayout67.xml"/><Relationship Id="rId19" Type="http://schemas.openxmlformats.org/officeDocument/2006/relationships/image" Target="../media/image1.emf"/><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slideLayout" Target="../slideLayouts/slideLayout7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2.xml"/><Relationship Id="rId13" Type="http://schemas.openxmlformats.org/officeDocument/2006/relationships/slideLayout" Target="../slideLayouts/slideLayout87.xml"/><Relationship Id="rId18" Type="http://schemas.openxmlformats.org/officeDocument/2006/relationships/slideLayout" Target="../slideLayouts/slideLayout92.xml"/><Relationship Id="rId3" Type="http://schemas.openxmlformats.org/officeDocument/2006/relationships/slideLayout" Target="../slideLayouts/slideLayout77.xml"/><Relationship Id="rId7" Type="http://schemas.openxmlformats.org/officeDocument/2006/relationships/slideLayout" Target="../slideLayouts/slideLayout81.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image" Target="../media/image1.emf"/><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10" Type="http://schemas.openxmlformats.org/officeDocument/2006/relationships/slideLayout" Target="../slideLayouts/slideLayout84.xml"/><Relationship Id="rId19" Type="http://schemas.openxmlformats.org/officeDocument/2006/relationships/theme" Target="../theme/theme5.xml"/><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slideLayout" Target="../slideLayouts/slideLayout105.xml"/><Relationship Id="rId18" Type="http://schemas.openxmlformats.org/officeDocument/2006/relationships/slideLayout" Target="../slideLayouts/slideLayout110.xml"/><Relationship Id="rId3" Type="http://schemas.openxmlformats.org/officeDocument/2006/relationships/slideLayout" Target="../slideLayouts/slideLayout95.xml"/><Relationship Id="rId21" Type="http://schemas.openxmlformats.org/officeDocument/2006/relationships/theme" Target="../theme/theme6.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slideLayout" Target="../slideLayouts/slideLayout109.xml"/><Relationship Id="rId2" Type="http://schemas.openxmlformats.org/officeDocument/2006/relationships/slideLayout" Target="../slideLayouts/slideLayout94.xml"/><Relationship Id="rId16" Type="http://schemas.openxmlformats.org/officeDocument/2006/relationships/slideLayout" Target="../slideLayouts/slideLayout108.xml"/><Relationship Id="rId20" Type="http://schemas.openxmlformats.org/officeDocument/2006/relationships/slideLayout" Target="../slideLayouts/slideLayout112.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slideLayout" Target="../slideLayouts/slideLayout107.xml"/><Relationship Id="rId10" Type="http://schemas.openxmlformats.org/officeDocument/2006/relationships/slideLayout" Target="../slideLayouts/slideLayout102.xml"/><Relationship Id="rId19" Type="http://schemas.openxmlformats.org/officeDocument/2006/relationships/slideLayout" Target="../slideLayouts/slideLayout111.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slideLayout" Target="../slideLayouts/slideLayout106.xml"/><Relationship Id="rId22"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400" y="1028247"/>
            <a:ext cx="11379347" cy="1602672"/>
          </a:xfrm>
          <a:prstGeom prst="rect">
            <a:avLst/>
          </a:prstGeom>
        </p:spPr>
        <p:txBody>
          <a:bodyPr vert="horz" lIns="0" tIns="0" rIns="0" bIns="0" rtlCol="0" anchor="t" anchorCtr="0">
            <a:noAutofit/>
          </a:bodyPr>
          <a:lstStyle/>
          <a:p>
            <a:r>
              <a:rPr lang="da-DK"/>
              <a:t>Klik for at redigere i master</a:t>
            </a:r>
          </a:p>
        </p:txBody>
      </p:sp>
      <p:sp>
        <p:nvSpPr>
          <p:cNvPr id="3" name="Text Placeholder 2"/>
          <p:cNvSpPr>
            <a:spLocks noGrp="1"/>
          </p:cNvSpPr>
          <p:nvPr>
            <p:ph type="body" idx="1"/>
          </p:nvPr>
        </p:nvSpPr>
        <p:spPr>
          <a:xfrm>
            <a:off x="410400" y="3369040"/>
            <a:ext cx="11371905" cy="2472960"/>
          </a:xfrm>
          <a:prstGeom prst="rect">
            <a:avLst/>
          </a:prstGeom>
        </p:spPr>
        <p:txBody>
          <a:bodyPr vert="horz" lIns="0" tIns="0" rIns="0" bIns="0" rtlCol="0">
            <a:noAutofit/>
          </a:bodyPr>
          <a:lstStyle/>
          <a:p>
            <a:pPr lvl="0"/>
            <a:r>
              <a:rPr lang="da-DK"/>
              <a:t>Første niveau, bullet 16 </a:t>
            </a:r>
            <a:r>
              <a:rPr lang="da-DK" err="1"/>
              <a:t>pkt</a:t>
            </a:r>
            <a:endParaRPr lang="da-DK"/>
          </a:p>
          <a:p>
            <a:pPr lvl="1"/>
            <a:r>
              <a:rPr lang="da-DK"/>
              <a:t>Andet niveau, bullet 14 </a:t>
            </a:r>
            <a:r>
              <a:rPr lang="da-DK" err="1"/>
              <a:t>pkt</a:t>
            </a:r>
            <a:endParaRPr lang="da-DK"/>
          </a:p>
          <a:p>
            <a:pPr lvl="2"/>
            <a:r>
              <a:rPr lang="da-DK"/>
              <a:t>Tredje niveau, bullet 12 </a:t>
            </a:r>
            <a:r>
              <a:rPr lang="da-DK" err="1"/>
              <a:t>pkt</a:t>
            </a:r>
            <a:endParaRPr lang="da-DK"/>
          </a:p>
          <a:p>
            <a:pPr lvl="3"/>
            <a:r>
              <a:rPr lang="da-DK"/>
              <a:t>Fjerde niveau, Header bold 16 </a:t>
            </a:r>
            <a:r>
              <a:rPr lang="da-DK" err="1"/>
              <a:t>pkt</a:t>
            </a:r>
            <a:endParaRPr lang="da-DK"/>
          </a:p>
          <a:p>
            <a:pPr lvl="4"/>
            <a:r>
              <a:rPr lang="da-DK"/>
              <a:t>Femte niveau, Body </a:t>
            </a:r>
            <a:r>
              <a:rPr lang="da-DK" err="1"/>
              <a:t>regular</a:t>
            </a:r>
            <a:r>
              <a:rPr lang="da-DK"/>
              <a:t> 16 </a:t>
            </a:r>
            <a:r>
              <a:rPr lang="da-DK" err="1"/>
              <a:t>pkt</a:t>
            </a:r>
            <a:endParaRPr lang="da-DK"/>
          </a:p>
          <a:p>
            <a:pPr lvl="5"/>
            <a:r>
              <a:rPr lang="da-DK"/>
              <a:t>Sjette niveau, bullet 12 </a:t>
            </a:r>
            <a:r>
              <a:rPr lang="da-DK" err="1"/>
              <a:t>pkt</a:t>
            </a:r>
            <a:endParaRPr lang="da-DK"/>
          </a:p>
          <a:p>
            <a:pPr lvl="6"/>
            <a:r>
              <a:rPr lang="da-DK"/>
              <a:t>Syvende niveau, bullet 12 </a:t>
            </a:r>
            <a:r>
              <a:rPr lang="da-DK" err="1"/>
              <a:t>pkt</a:t>
            </a:r>
            <a:r>
              <a:rPr lang="da-DK"/>
              <a:t> (indryk 1 gang)</a:t>
            </a:r>
          </a:p>
          <a:p>
            <a:pPr lvl="7"/>
            <a:r>
              <a:rPr lang="da-DK"/>
              <a:t>Ottende niveau, Header bold, 12 </a:t>
            </a:r>
            <a:r>
              <a:rPr lang="da-DK" err="1"/>
              <a:t>pkt</a:t>
            </a:r>
            <a:endParaRPr lang="da-DK"/>
          </a:p>
          <a:p>
            <a:pPr lvl="8"/>
            <a:r>
              <a:rPr lang="da-DK"/>
              <a:t>Niende niveau, Body </a:t>
            </a:r>
            <a:r>
              <a:rPr lang="da-DK" err="1"/>
              <a:t>regular</a:t>
            </a:r>
            <a:r>
              <a:rPr lang="da-DK"/>
              <a:t>, 12 </a:t>
            </a:r>
            <a:r>
              <a:rPr lang="da-DK" err="1"/>
              <a:t>pkt</a:t>
            </a:r>
            <a:endParaRPr lang="da-DK"/>
          </a:p>
        </p:txBody>
      </p:sp>
      <p:sp>
        <p:nvSpPr>
          <p:cNvPr id="5" name="OFF_institute"/>
          <p:cNvSpPr>
            <a:spLocks noGrp="1"/>
          </p:cNvSpPr>
          <p:nvPr>
            <p:ph type="ftr" sz="quarter" idx="3"/>
          </p:nvPr>
        </p:nvSpPr>
        <p:spPr>
          <a:xfrm>
            <a:off x="6915600" y="6376129"/>
            <a:ext cx="2240432" cy="180000"/>
          </a:xfrm>
          <a:prstGeom prst="rect">
            <a:avLst/>
          </a:prstGeom>
        </p:spPr>
        <p:txBody>
          <a:bodyPr vert="horz" lIns="0" tIns="0" rIns="0" bIns="0" rtlCol="0" anchor="t" anchorCtr="0">
            <a:noAutofit/>
          </a:bodyPr>
          <a:lstStyle>
            <a:lvl1pPr algn="r">
              <a:defRPr sz="1000" b="0" cap="none" baseline="0">
                <a:solidFill>
                  <a:schemeClr val="tx1"/>
                </a:solidFill>
              </a:defRPr>
            </a:lvl1pPr>
          </a:lstStyle>
          <a:p>
            <a:endParaRPr lang="da-DK"/>
          </a:p>
        </p:txBody>
      </p:sp>
      <p:sp>
        <p:nvSpPr>
          <p:cNvPr id="16" name="Rectangle 15">
            <a:extLst>
              <a:ext uri="{FF2B5EF4-FFF2-40B4-BE49-F238E27FC236}">
                <a16:creationId xmlns:a16="http://schemas.microsoft.com/office/drawing/2014/main" id="{D9C3F3D4-B958-489D-8401-2859D15536D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Rectangle 16">
            <a:extLst>
              <a:ext uri="{FF2B5EF4-FFF2-40B4-BE49-F238E27FC236}">
                <a16:creationId xmlns:a16="http://schemas.microsoft.com/office/drawing/2014/main" id="{EDAD2A31-35D3-4D5D-AA2D-C72C49CA7FB0}"/>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5" name="Date Placeholder 14">
            <a:extLst>
              <a:ext uri="{FF2B5EF4-FFF2-40B4-BE49-F238E27FC236}">
                <a16:creationId xmlns:a16="http://schemas.microsoft.com/office/drawing/2014/main" id="{A56ADEC3-98E1-4CEA-9AF5-46F4CDD2FA7D}"/>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2-05-2025</a:t>
            </a:fld>
            <a:endParaRPr lang="da-DK"/>
          </a:p>
        </p:txBody>
      </p:sp>
      <p:cxnSp>
        <p:nvCxnSpPr>
          <p:cNvPr id="27" name="Straight Connector 26">
            <a:extLst>
              <a:ext uri="{FF2B5EF4-FFF2-40B4-BE49-F238E27FC236}">
                <a16:creationId xmlns:a16="http://schemas.microsoft.com/office/drawing/2014/main" id="{C6C4C210-3CAD-4E96-8F10-9CD4863FC9B7}"/>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e" descr="{&quot;templafy&quot;:{&quot;id&quot;:&quot;55c1fae4-2d3e-4442-ba05-9546e893e284&quot;}}" title="Form.Date">
            <a:extLst>
              <a:ext uri="{FF2B5EF4-FFF2-40B4-BE49-F238E27FC236}">
                <a16:creationId xmlns:a16="http://schemas.microsoft.com/office/drawing/2014/main" id="{8A346F21-C2D9-45A4-B26D-7DDC2CEB9FB7}"/>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a:solidFill>
                  <a:schemeClr val="tx1"/>
                </a:solidFill>
              </a:rPr>
              <a:t>2025</a:t>
            </a:r>
          </a:p>
        </p:txBody>
      </p:sp>
      <p:sp>
        <p:nvSpPr>
          <p:cNvPr id="6" name="Slide Number Placeholder 5"/>
          <p:cNvSpPr>
            <a:spLocks noGrp="1"/>
          </p:cNvSpPr>
          <p:nvPr>
            <p:ph type="sldNum" sz="quarter" idx="4"/>
          </p:nvPr>
        </p:nvSpPr>
        <p:spPr>
          <a:xfrm>
            <a:off x="0" y="6912000"/>
            <a:ext cx="0" cy="0"/>
          </a:xfrm>
          <a:prstGeom prst="rect">
            <a:avLst/>
          </a:prstGeom>
        </p:spPr>
        <p:txBody>
          <a:bodyPr vert="horz" lIns="0" tIns="0" rIns="0" bIns="0" rtlCol="0" anchor="t" anchorCtr="0">
            <a:noAutofit/>
          </a:bodyPr>
          <a:lstStyle>
            <a:lvl1pPr algn="ctr">
              <a:defRPr sz="100">
                <a:noFill/>
              </a:defRPr>
            </a:lvl1pPr>
          </a:lstStyle>
          <a:p>
            <a:fld id="{45D37B1E-C366-494F-A587-962AD9AABC83}" type="slidenum">
              <a:rPr lang="da-DK" smtClean="0"/>
              <a:pPr/>
              <a:t>‹#›</a:t>
            </a:fld>
            <a:endParaRPr lang="da-DK"/>
          </a:p>
        </p:txBody>
      </p:sp>
      <p:sp>
        <p:nvSpPr>
          <p:cNvPr id="18" name="Date Placeholder 14">
            <a:extLst>
              <a:ext uri="{FF2B5EF4-FFF2-40B4-BE49-F238E27FC236}">
                <a16:creationId xmlns:a16="http://schemas.microsoft.com/office/drawing/2014/main" id="{7DF98717-AAEA-4E2B-96B8-AAAFF896C0E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2-05-2025</a:t>
            </a:fld>
            <a:endParaRPr lang="da-DK"/>
          </a:p>
        </p:txBody>
      </p:sp>
      <p:sp>
        <p:nvSpPr>
          <p:cNvPr id="13" name="text" descr="{&quot;templafy&quot;:{&quot;id&quot;:&quot;d0069329-db3e-43d6-a721-6a4cf7c20ad9&quot;}}" title="UserProfile.Institut.InstituteDCU_{{DocumentLanguage}}">
            <a:extLst>
              <a:ext uri="{FF2B5EF4-FFF2-40B4-BE49-F238E27FC236}">
                <a16:creationId xmlns:a16="http://schemas.microsoft.com/office/drawing/2014/main" id="{125E96D5-3BB9-422E-861E-C7C7A150AD68}"/>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SIS</a:t>
            </a:r>
          </a:p>
        </p:txBody>
      </p:sp>
    </p:spTree>
    <p:extLst>
      <p:ext uri="{BB962C8B-B14F-4D97-AF65-F5344CB8AC3E}">
        <p14:creationId xmlns:p14="http://schemas.microsoft.com/office/powerpoint/2010/main" val="518253758"/>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23" r:id="rId17"/>
  </p:sldLayoutIdLst>
  <p:hf hdr="0"/>
  <p:txStyles>
    <p:titleStyle>
      <a:lvl1pPr algn="l" defTabSz="914400" rtl="0" eaLnBrk="1" latinLnBrk="0" hangingPunct="1">
        <a:lnSpc>
          <a:spcPct val="97000"/>
        </a:lnSpc>
        <a:spcBef>
          <a:spcPct val="0"/>
        </a:spcBef>
        <a:buNone/>
        <a:tabLst>
          <a:tab pos="1438275" algn="l"/>
        </a:tabLst>
        <a:defRPr sz="3600" b="1"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5">
          <p15:clr>
            <a:srgbClr val="F26B43"/>
          </p15:clr>
        </p15:guide>
        <p15:guide id="4" orient="horz" pos="1071">
          <p15:clr>
            <a:srgbClr val="F26B43"/>
          </p15:clr>
        </p15:guide>
        <p15:guide id="5" pos="259">
          <p15:clr>
            <a:srgbClr val="F26B43"/>
          </p15:clr>
        </p15:guide>
        <p15:guide id="6" pos="7421">
          <p15:clr>
            <a:srgbClr val="F26B43"/>
          </p15:clr>
        </p15:guide>
        <p15:guide id="7" orient="horz" pos="1253">
          <p15:clr>
            <a:srgbClr val="F26B43"/>
          </p15:clr>
        </p15:guide>
        <p15:guide id="8" orient="horz" pos="3680">
          <p15:clr>
            <a:srgbClr val="F26B43"/>
          </p15:clr>
        </p15:guide>
        <p15:guide id="9" orient="horz" pos="3916">
          <p15:clr>
            <a:srgbClr val="F26B43"/>
          </p15:clr>
        </p15:guide>
        <p15:guide id="10" orient="horz" pos="4094">
          <p15:clr>
            <a:srgbClr val="F26B43"/>
          </p15:clr>
        </p15:guide>
        <p15:guide id="11" pos="54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46DD4A2-45FB-4F4E-8B78-36733C0BFA53}"/>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Text Placeholder 2">
            <a:extLst>
              <a:ext uri="{FF2B5EF4-FFF2-40B4-BE49-F238E27FC236}">
                <a16:creationId xmlns:a16="http://schemas.microsoft.com/office/drawing/2014/main" id="{7B00B7FD-8EF9-4F27-9FF5-E4D3F24BFDEE}"/>
              </a:ext>
            </a:extLst>
          </p:cNvPr>
          <p:cNvSpPr>
            <a:spLocks noGrp="1"/>
          </p:cNvSpPr>
          <p:nvPr>
            <p:ph type="body" idx="1"/>
          </p:nvPr>
        </p:nvSpPr>
        <p:spPr>
          <a:xfrm>
            <a:off x="764060" y="1219200"/>
            <a:ext cx="10633284" cy="4585749"/>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Slide Number Placeholder 5">
            <a:extLst>
              <a:ext uri="{FF2B5EF4-FFF2-40B4-BE49-F238E27FC236}">
                <a16:creationId xmlns:a16="http://schemas.microsoft.com/office/drawing/2014/main" id="{1F1C07C1-CD3D-4DB6-9298-730D47960B9A}"/>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21" name="Date Placeholder 2">
            <a:extLst>
              <a:ext uri="{FF2B5EF4-FFF2-40B4-BE49-F238E27FC236}">
                <a16:creationId xmlns:a16="http://schemas.microsoft.com/office/drawing/2014/main" id="{7B85E22B-E3A6-468B-B191-847B1A52434C}"/>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2-05-2025</a:t>
            </a:fld>
            <a:endParaRPr lang="da-DK" noProof="0"/>
          </a:p>
        </p:txBody>
      </p:sp>
      <p:cxnSp>
        <p:nvCxnSpPr>
          <p:cNvPr id="44" name="Straight Connector 43">
            <a:extLst>
              <a:ext uri="{FF2B5EF4-FFF2-40B4-BE49-F238E27FC236}">
                <a16:creationId xmlns:a16="http://schemas.microsoft.com/office/drawing/2014/main" id="{DD9B577F-B1B7-49CF-BBA6-9AB551BB078E}"/>
              </a:ext>
            </a:extLst>
          </p:cNvPr>
          <p:cNvCxnSpPr>
            <a:cxnSpLocks/>
          </p:cNvCxnSpPr>
          <p:nvPr userDrawn="1"/>
        </p:nvCxnSpPr>
        <p:spPr>
          <a:xfrm>
            <a:off x="11397344" y="6321704"/>
            <a:ext cx="0" cy="45718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184EC0E8-A7B2-4536-A22C-59A10CD810BE}"/>
              </a:ext>
            </a:extLst>
          </p:cNvPr>
          <p:cNvGrpSpPr>
            <a:grpSpLocks/>
          </p:cNvGrpSpPr>
          <p:nvPr userDrawn="1"/>
        </p:nvGrpSpPr>
        <p:grpSpPr>
          <a:xfrm>
            <a:off x="220034" y="6097318"/>
            <a:ext cx="1469181" cy="538076"/>
            <a:chOff x="632997" y="3237301"/>
            <a:chExt cx="1214135" cy="444667"/>
          </a:xfrm>
        </p:grpSpPr>
        <p:grpSp>
          <p:nvGrpSpPr>
            <p:cNvPr id="9" name="Graphic 5">
              <a:extLst>
                <a:ext uri="{FF2B5EF4-FFF2-40B4-BE49-F238E27FC236}">
                  <a16:creationId xmlns:a16="http://schemas.microsoft.com/office/drawing/2014/main" id="{1E03E947-F546-40E3-B1F9-6514937E3B36}"/>
                </a:ext>
              </a:extLst>
            </p:cNvPr>
            <p:cNvGrpSpPr/>
            <p:nvPr/>
          </p:nvGrpSpPr>
          <p:grpSpPr>
            <a:xfrm>
              <a:off x="1202431" y="3237301"/>
              <a:ext cx="644701" cy="179292"/>
              <a:chOff x="1202431" y="3237301"/>
              <a:chExt cx="644701" cy="179292"/>
            </a:xfrm>
            <a:solidFill>
              <a:srgbClr val="084F45"/>
            </a:solidFill>
          </p:grpSpPr>
          <p:sp>
            <p:nvSpPr>
              <p:cNvPr id="68" name="Freeform: Shape 67">
                <a:extLst>
                  <a:ext uri="{FF2B5EF4-FFF2-40B4-BE49-F238E27FC236}">
                    <a16:creationId xmlns:a16="http://schemas.microsoft.com/office/drawing/2014/main" id="{3F564439-84D5-4814-BDA4-902435653E1A}"/>
                  </a:ext>
                </a:extLst>
              </p:cNvPr>
              <p:cNvSpPr/>
              <p:nvPr/>
            </p:nvSpPr>
            <p:spPr>
              <a:xfrm>
                <a:off x="1202431" y="3239718"/>
                <a:ext cx="108415" cy="136600"/>
              </a:xfrm>
              <a:custGeom>
                <a:avLst/>
                <a:gdLst>
                  <a:gd name="connsiteX0" fmla="*/ 0 w 108415"/>
                  <a:gd name="connsiteY0" fmla="*/ 136601 h 136600"/>
                  <a:gd name="connsiteX1" fmla="*/ 0 w 108415"/>
                  <a:gd name="connsiteY1" fmla="*/ 0 h 136600"/>
                  <a:gd name="connsiteX2" fmla="*/ 26849 w 108415"/>
                  <a:gd name="connsiteY2" fmla="*/ 0 h 136600"/>
                  <a:gd name="connsiteX3" fmla="*/ 82775 w 108415"/>
                  <a:gd name="connsiteY3" fmla="*/ 91237 h 136600"/>
                  <a:gd name="connsiteX4" fmla="*/ 82775 w 108415"/>
                  <a:gd name="connsiteY4" fmla="*/ 0 h 136600"/>
                  <a:gd name="connsiteX5" fmla="*/ 108415 w 108415"/>
                  <a:gd name="connsiteY5" fmla="*/ 0 h 136600"/>
                  <a:gd name="connsiteX6" fmla="*/ 108415 w 108415"/>
                  <a:gd name="connsiteY6" fmla="*/ 136601 h 136600"/>
                  <a:gd name="connsiteX7" fmla="*/ 80739 w 108415"/>
                  <a:gd name="connsiteY7" fmla="*/ 136601 h 136600"/>
                  <a:gd name="connsiteX8" fmla="*/ 25640 w 108415"/>
                  <a:gd name="connsiteY8" fmla="*/ 47527 h 136600"/>
                  <a:gd name="connsiteX9" fmla="*/ 25640 w 108415"/>
                  <a:gd name="connsiteY9" fmla="*/ 136601 h 136600"/>
                  <a:gd name="connsiteX10" fmla="*/ 0 w 108415"/>
                  <a:gd name="connsiteY10" fmla="*/ 136601 h 1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15" h="136600">
                    <a:moveTo>
                      <a:pt x="0" y="136601"/>
                    </a:moveTo>
                    <a:lnTo>
                      <a:pt x="0" y="0"/>
                    </a:lnTo>
                    <a:lnTo>
                      <a:pt x="26849" y="0"/>
                    </a:lnTo>
                    <a:lnTo>
                      <a:pt x="82775" y="91237"/>
                    </a:lnTo>
                    <a:lnTo>
                      <a:pt x="82775" y="0"/>
                    </a:lnTo>
                    <a:lnTo>
                      <a:pt x="108415" y="0"/>
                    </a:lnTo>
                    <a:lnTo>
                      <a:pt x="108415" y="136601"/>
                    </a:lnTo>
                    <a:lnTo>
                      <a:pt x="80739" y="136601"/>
                    </a:lnTo>
                    <a:lnTo>
                      <a:pt x="25640" y="47527"/>
                    </a:lnTo>
                    <a:lnTo>
                      <a:pt x="25640" y="136601"/>
                    </a:lnTo>
                    <a:lnTo>
                      <a:pt x="0" y="136601"/>
                    </a:lnTo>
                    <a:close/>
                  </a:path>
                </a:pathLst>
              </a:custGeom>
              <a:solidFill>
                <a:srgbClr val="084F45"/>
              </a:solidFill>
              <a:ln w="6361" cap="flat">
                <a:noFill/>
                <a:prstDash val="solid"/>
                <a:miter/>
              </a:ln>
            </p:spPr>
            <p:txBody>
              <a:bodyPr rtlCol="0" anchor="ctr"/>
              <a:lstStyle/>
              <a:p>
                <a:endParaRPr lang="da-DK"/>
              </a:p>
            </p:txBody>
          </p:sp>
          <p:sp>
            <p:nvSpPr>
              <p:cNvPr id="69" name="Freeform: Shape 68">
                <a:extLst>
                  <a:ext uri="{FF2B5EF4-FFF2-40B4-BE49-F238E27FC236}">
                    <a16:creationId xmlns:a16="http://schemas.microsoft.com/office/drawing/2014/main" id="{C61C0758-62F3-4C5D-8A8A-165898090604}"/>
                  </a:ext>
                </a:extLst>
              </p:cNvPr>
              <p:cNvSpPr/>
              <p:nvPr/>
            </p:nvSpPr>
            <p:spPr>
              <a:xfrm>
                <a:off x="1323571" y="3277384"/>
                <a:ext cx="101734" cy="139208"/>
              </a:xfrm>
              <a:custGeom>
                <a:avLst/>
                <a:gdLst>
                  <a:gd name="connsiteX0" fmla="*/ 0 w 101734"/>
                  <a:gd name="connsiteY0" fmla="*/ 0 h 139208"/>
                  <a:gd name="connsiteX1" fmla="*/ 27867 w 101734"/>
                  <a:gd name="connsiteY1" fmla="*/ 0 h 139208"/>
                  <a:gd name="connsiteX2" fmla="*/ 51535 w 101734"/>
                  <a:gd name="connsiteY2" fmla="*/ 70241 h 139208"/>
                  <a:gd name="connsiteX3" fmla="*/ 74631 w 101734"/>
                  <a:gd name="connsiteY3" fmla="*/ 0 h 139208"/>
                  <a:gd name="connsiteX4" fmla="*/ 101735 w 101734"/>
                  <a:gd name="connsiteY4" fmla="*/ 0 h 139208"/>
                  <a:gd name="connsiteX5" fmla="*/ 66805 w 101734"/>
                  <a:gd name="connsiteY5" fmla="*/ 95245 h 139208"/>
                  <a:gd name="connsiteX6" fmla="*/ 60570 w 101734"/>
                  <a:gd name="connsiteY6" fmla="*/ 112487 h 139208"/>
                  <a:gd name="connsiteX7" fmla="*/ 54017 w 101734"/>
                  <a:gd name="connsiteY7" fmla="*/ 125721 h 139208"/>
                  <a:gd name="connsiteX8" fmla="*/ 46827 w 101734"/>
                  <a:gd name="connsiteY8" fmla="*/ 133165 h 139208"/>
                  <a:gd name="connsiteX9" fmla="*/ 36838 w 101734"/>
                  <a:gd name="connsiteY9" fmla="*/ 137618 h 139208"/>
                  <a:gd name="connsiteX10" fmla="*/ 23477 w 101734"/>
                  <a:gd name="connsiteY10" fmla="*/ 139209 h 139208"/>
                  <a:gd name="connsiteX11" fmla="*/ 8653 w 101734"/>
                  <a:gd name="connsiteY11" fmla="*/ 137618 h 139208"/>
                  <a:gd name="connsiteX12" fmla="*/ 6299 w 101734"/>
                  <a:gd name="connsiteY12" fmla="*/ 117131 h 139208"/>
                  <a:gd name="connsiteX13" fmla="*/ 17369 w 101734"/>
                  <a:gd name="connsiteY13" fmla="*/ 118340 h 139208"/>
                  <a:gd name="connsiteX14" fmla="*/ 30858 w 101734"/>
                  <a:gd name="connsiteY14" fmla="*/ 112996 h 139208"/>
                  <a:gd name="connsiteX15" fmla="*/ 37538 w 101734"/>
                  <a:gd name="connsiteY15" fmla="*/ 99317 h 139208"/>
                  <a:gd name="connsiteX16" fmla="*/ 0 w 101734"/>
                  <a:gd name="connsiteY16" fmla="*/ 0 h 13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39208">
                    <a:moveTo>
                      <a:pt x="0" y="0"/>
                    </a:moveTo>
                    <a:lnTo>
                      <a:pt x="27867" y="0"/>
                    </a:lnTo>
                    <a:lnTo>
                      <a:pt x="51535" y="70241"/>
                    </a:lnTo>
                    <a:lnTo>
                      <a:pt x="74631" y="0"/>
                    </a:lnTo>
                    <a:lnTo>
                      <a:pt x="101735" y="0"/>
                    </a:lnTo>
                    <a:lnTo>
                      <a:pt x="66805" y="95245"/>
                    </a:lnTo>
                    <a:lnTo>
                      <a:pt x="60570" y="112487"/>
                    </a:lnTo>
                    <a:cubicBezTo>
                      <a:pt x="58279" y="118277"/>
                      <a:pt x="56053" y="122667"/>
                      <a:pt x="54017" y="125721"/>
                    </a:cubicBezTo>
                    <a:cubicBezTo>
                      <a:pt x="51917" y="128775"/>
                      <a:pt x="49563" y="131256"/>
                      <a:pt x="46827" y="133165"/>
                    </a:cubicBezTo>
                    <a:cubicBezTo>
                      <a:pt x="44155" y="135073"/>
                      <a:pt x="40783" y="136537"/>
                      <a:pt x="36838" y="137618"/>
                    </a:cubicBezTo>
                    <a:cubicBezTo>
                      <a:pt x="32894" y="138700"/>
                      <a:pt x="28440" y="139209"/>
                      <a:pt x="23477" y="139209"/>
                    </a:cubicBezTo>
                    <a:cubicBezTo>
                      <a:pt x="18451" y="139209"/>
                      <a:pt x="13488" y="138700"/>
                      <a:pt x="8653" y="137618"/>
                    </a:cubicBezTo>
                    <a:lnTo>
                      <a:pt x="6299" y="117131"/>
                    </a:lnTo>
                    <a:cubicBezTo>
                      <a:pt x="10371" y="117959"/>
                      <a:pt x="14125" y="118340"/>
                      <a:pt x="17369" y="118340"/>
                    </a:cubicBezTo>
                    <a:cubicBezTo>
                      <a:pt x="23477" y="118340"/>
                      <a:pt x="27995" y="116559"/>
                      <a:pt x="30858" y="112996"/>
                    </a:cubicBezTo>
                    <a:cubicBezTo>
                      <a:pt x="33784" y="109433"/>
                      <a:pt x="36011" y="104852"/>
                      <a:pt x="37538" y="99317"/>
                    </a:cubicBezTo>
                    <a:lnTo>
                      <a:pt x="0" y="0"/>
                    </a:lnTo>
                    <a:close/>
                  </a:path>
                </a:pathLst>
              </a:custGeom>
              <a:solidFill>
                <a:srgbClr val="084F45"/>
              </a:solidFill>
              <a:ln w="6361" cap="flat">
                <a:noFill/>
                <a:prstDash val="solid"/>
                <a:miter/>
              </a:ln>
            </p:spPr>
            <p:txBody>
              <a:bodyPr rtlCol="0" anchor="ctr"/>
              <a:lstStyle/>
              <a:p>
                <a:endParaRPr lang="da-DK"/>
              </a:p>
            </p:txBody>
          </p:sp>
          <p:sp>
            <p:nvSpPr>
              <p:cNvPr id="70" name="Freeform: Shape 69">
                <a:extLst>
                  <a:ext uri="{FF2B5EF4-FFF2-40B4-BE49-F238E27FC236}">
                    <a16:creationId xmlns:a16="http://schemas.microsoft.com/office/drawing/2014/main" id="{05AB0557-A49F-4624-8C73-1D5EBD57224C}"/>
                  </a:ext>
                </a:extLst>
              </p:cNvPr>
              <p:cNvSpPr/>
              <p:nvPr/>
            </p:nvSpPr>
            <p:spPr>
              <a:xfrm>
                <a:off x="1435231" y="3242518"/>
                <a:ext cx="58343" cy="136091"/>
              </a:xfrm>
              <a:custGeom>
                <a:avLst/>
                <a:gdLst>
                  <a:gd name="connsiteX0" fmla="*/ 56116 w 58343"/>
                  <a:gd name="connsiteY0" fmla="*/ 34866 h 136091"/>
                  <a:gd name="connsiteX1" fmla="*/ 56116 w 58343"/>
                  <a:gd name="connsiteY1" fmla="*/ 55735 h 136091"/>
                  <a:gd name="connsiteX2" fmla="*/ 38238 w 58343"/>
                  <a:gd name="connsiteY2" fmla="*/ 55735 h 136091"/>
                  <a:gd name="connsiteX3" fmla="*/ 38238 w 58343"/>
                  <a:gd name="connsiteY3" fmla="*/ 95627 h 136091"/>
                  <a:gd name="connsiteX4" fmla="*/ 38747 w 58343"/>
                  <a:gd name="connsiteY4" fmla="*/ 109751 h 136091"/>
                  <a:gd name="connsiteX5" fmla="*/ 41101 w 58343"/>
                  <a:gd name="connsiteY5" fmla="*/ 113060 h 136091"/>
                  <a:gd name="connsiteX6" fmla="*/ 45555 w 58343"/>
                  <a:gd name="connsiteY6" fmla="*/ 114396 h 136091"/>
                  <a:gd name="connsiteX7" fmla="*/ 56116 w 58343"/>
                  <a:gd name="connsiteY7" fmla="*/ 111851 h 136091"/>
                  <a:gd name="connsiteX8" fmla="*/ 58343 w 58343"/>
                  <a:gd name="connsiteY8" fmla="*/ 132147 h 136091"/>
                  <a:gd name="connsiteX9" fmla="*/ 37665 w 58343"/>
                  <a:gd name="connsiteY9" fmla="*/ 136091 h 136091"/>
                  <a:gd name="connsiteX10" fmla="*/ 24877 w 58343"/>
                  <a:gd name="connsiteY10" fmla="*/ 133737 h 136091"/>
                  <a:gd name="connsiteX11" fmla="*/ 16542 w 58343"/>
                  <a:gd name="connsiteY11" fmla="*/ 127566 h 136091"/>
                  <a:gd name="connsiteX12" fmla="*/ 12852 w 58343"/>
                  <a:gd name="connsiteY12" fmla="*/ 117386 h 136091"/>
                  <a:gd name="connsiteX13" fmla="*/ 12025 w 58343"/>
                  <a:gd name="connsiteY13" fmla="*/ 98935 h 136091"/>
                  <a:gd name="connsiteX14" fmla="*/ 12025 w 58343"/>
                  <a:gd name="connsiteY14" fmla="*/ 55798 h 136091"/>
                  <a:gd name="connsiteX15" fmla="*/ 0 w 58343"/>
                  <a:gd name="connsiteY15" fmla="*/ 55798 h 136091"/>
                  <a:gd name="connsiteX16" fmla="*/ 0 w 58343"/>
                  <a:gd name="connsiteY16" fmla="*/ 34929 h 136091"/>
                  <a:gd name="connsiteX17" fmla="*/ 12025 w 58343"/>
                  <a:gd name="connsiteY17" fmla="*/ 34929 h 136091"/>
                  <a:gd name="connsiteX18" fmla="*/ 12025 w 58343"/>
                  <a:gd name="connsiteY18" fmla="*/ 15270 h 136091"/>
                  <a:gd name="connsiteX19" fmla="*/ 38302 w 58343"/>
                  <a:gd name="connsiteY19" fmla="*/ 0 h 136091"/>
                  <a:gd name="connsiteX20" fmla="*/ 38302 w 58343"/>
                  <a:gd name="connsiteY20" fmla="*/ 34929 h 136091"/>
                  <a:gd name="connsiteX21" fmla="*/ 56116 w 58343"/>
                  <a:gd name="connsiteY21" fmla="*/ 34929 h 13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343" h="136091">
                    <a:moveTo>
                      <a:pt x="56116" y="34866"/>
                    </a:moveTo>
                    <a:lnTo>
                      <a:pt x="56116" y="55735"/>
                    </a:lnTo>
                    <a:lnTo>
                      <a:pt x="38238" y="55735"/>
                    </a:lnTo>
                    <a:lnTo>
                      <a:pt x="38238" y="95627"/>
                    </a:lnTo>
                    <a:cubicBezTo>
                      <a:pt x="38238" y="103707"/>
                      <a:pt x="38429" y="108415"/>
                      <a:pt x="38747" y="109751"/>
                    </a:cubicBezTo>
                    <a:cubicBezTo>
                      <a:pt x="39065" y="111087"/>
                      <a:pt x="39892" y="112169"/>
                      <a:pt x="41101" y="113060"/>
                    </a:cubicBezTo>
                    <a:cubicBezTo>
                      <a:pt x="42310" y="113950"/>
                      <a:pt x="43773" y="114396"/>
                      <a:pt x="45555" y="114396"/>
                    </a:cubicBezTo>
                    <a:cubicBezTo>
                      <a:pt x="47972" y="114396"/>
                      <a:pt x="51472" y="113569"/>
                      <a:pt x="56116" y="111851"/>
                    </a:cubicBezTo>
                    <a:lnTo>
                      <a:pt x="58343" y="132147"/>
                    </a:lnTo>
                    <a:cubicBezTo>
                      <a:pt x="52235" y="134755"/>
                      <a:pt x="45364" y="136091"/>
                      <a:pt x="37665" y="136091"/>
                    </a:cubicBezTo>
                    <a:cubicBezTo>
                      <a:pt x="32957" y="136091"/>
                      <a:pt x="28694" y="135328"/>
                      <a:pt x="24877" y="133737"/>
                    </a:cubicBezTo>
                    <a:cubicBezTo>
                      <a:pt x="21059" y="132147"/>
                      <a:pt x="18324" y="130111"/>
                      <a:pt x="16542" y="127566"/>
                    </a:cubicBezTo>
                    <a:cubicBezTo>
                      <a:pt x="14761" y="125021"/>
                      <a:pt x="13552" y="121649"/>
                      <a:pt x="12852" y="117386"/>
                    </a:cubicBezTo>
                    <a:cubicBezTo>
                      <a:pt x="12279" y="114332"/>
                      <a:pt x="12025" y="108161"/>
                      <a:pt x="12025" y="98935"/>
                    </a:cubicBezTo>
                    <a:lnTo>
                      <a:pt x="12025" y="55798"/>
                    </a:lnTo>
                    <a:lnTo>
                      <a:pt x="0" y="55798"/>
                    </a:lnTo>
                    <a:lnTo>
                      <a:pt x="0" y="34929"/>
                    </a:lnTo>
                    <a:lnTo>
                      <a:pt x="12025" y="34929"/>
                    </a:lnTo>
                    <a:lnTo>
                      <a:pt x="12025" y="15270"/>
                    </a:lnTo>
                    <a:lnTo>
                      <a:pt x="38302" y="0"/>
                    </a:lnTo>
                    <a:lnTo>
                      <a:pt x="38302" y="34929"/>
                    </a:lnTo>
                    <a:lnTo>
                      <a:pt x="56116" y="34929"/>
                    </a:lnTo>
                    <a:close/>
                  </a:path>
                </a:pathLst>
              </a:custGeom>
              <a:solidFill>
                <a:srgbClr val="084F45"/>
              </a:solidFill>
              <a:ln w="6361" cap="flat">
                <a:noFill/>
                <a:prstDash val="solid"/>
                <a:miter/>
              </a:ln>
            </p:spPr>
            <p:txBody>
              <a:bodyPr rtlCol="0" anchor="ctr"/>
              <a:lstStyle/>
              <a:p>
                <a:endParaRPr lang="da-DK"/>
              </a:p>
            </p:txBody>
          </p:sp>
          <p:sp>
            <p:nvSpPr>
              <p:cNvPr id="71" name="Freeform: Shape 70">
                <a:extLst>
                  <a:ext uri="{FF2B5EF4-FFF2-40B4-BE49-F238E27FC236}">
                    <a16:creationId xmlns:a16="http://schemas.microsoft.com/office/drawing/2014/main" id="{785AF69F-A057-4C4D-A0B5-D66ADB672583}"/>
                  </a:ext>
                </a:extLst>
              </p:cNvPr>
              <p:cNvSpPr/>
              <p:nvPr/>
            </p:nvSpPr>
            <p:spPr>
              <a:xfrm>
                <a:off x="1555734" y="3237301"/>
                <a:ext cx="111023" cy="141435"/>
              </a:xfrm>
              <a:custGeom>
                <a:avLst/>
                <a:gdLst>
                  <a:gd name="connsiteX0" fmla="*/ 0 w 111023"/>
                  <a:gd name="connsiteY0" fmla="*/ 94545 h 141435"/>
                  <a:gd name="connsiteX1" fmla="*/ 26849 w 111023"/>
                  <a:gd name="connsiteY1" fmla="*/ 91937 h 141435"/>
                  <a:gd name="connsiteX2" fmla="*/ 36647 w 111023"/>
                  <a:gd name="connsiteY2" fmla="*/ 111787 h 141435"/>
                  <a:gd name="connsiteX3" fmla="*/ 56625 w 111023"/>
                  <a:gd name="connsiteY3" fmla="*/ 118150 h 141435"/>
                  <a:gd name="connsiteX4" fmla="*/ 76730 w 111023"/>
                  <a:gd name="connsiteY4" fmla="*/ 112487 h 141435"/>
                  <a:gd name="connsiteX5" fmla="*/ 83475 w 111023"/>
                  <a:gd name="connsiteY5" fmla="*/ 99317 h 141435"/>
                  <a:gd name="connsiteX6" fmla="*/ 80611 w 111023"/>
                  <a:gd name="connsiteY6" fmla="*/ 91046 h 141435"/>
                  <a:gd name="connsiteX7" fmla="*/ 70686 w 111023"/>
                  <a:gd name="connsiteY7" fmla="*/ 85129 h 141435"/>
                  <a:gd name="connsiteX8" fmla="*/ 48609 w 111023"/>
                  <a:gd name="connsiteY8" fmla="*/ 79148 h 141435"/>
                  <a:gd name="connsiteX9" fmla="*/ 17497 w 111023"/>
                  <a:gd name="connsiteY9" fmla="*/ 65660 h 141435"/>
                  <a:gd name="connsiteX10" fmla="*/ 4899 w 111023"/>
                  <a:gd name="connsiteY10" fmla="*/ 38174 h 141435"/>
                  <a:gd name="connsiteX11" fmla="*/ 10816 w 111023"/>
                  <a:gd name="connsiteY11" fmla="*/ 18642 h 141435"/>
                  <a:gd name="connsiteX12" fmla="*/ 27867 w 111023"/>
                  <a:gd name="connsiteY12" fmla="*/ 4772 h 141435"/>
                  <a:gd name="connsiteX13" fmla="*/ 54780 w 111023"/>
                  <a:gd name="connsiteY13" fmla="*/ 0 h 141435"/>
                  <a:gd name="connsiteX14" fmla="*/ 93527 w 111023"/>
                  <a:gd name="connsiteY14" fmla="*/ 11262 h 141435"/>
                  <a:gd name="connsiteX15" fmla="*/ 107206 w 111023"/>
                  <a:gd name="connsiteY15" fmla="*/ 41356 h 141435"/>
                  <a:gd name="connsiteX16" fmla="*/ 79593 w 111023"/>
                  <a:gd name="connsiteY16" fmla="*/ 42564 h 141435"/>
                  <a:gd name="connsiteX17" fmla="*/ 72022 w 111023"/>
                  <a:gd name="connsiteY17" fmla="*/ 27422 h 141435"/>
                  <a:gd name="connsiteX18" fmla="*/ 54526 w 111023"/>
                  <a:gd name="connsiteY18" fmla="*/ 22841 h 141435"/>
                  <a:gd name="connsiteX19" fmla="*/ 35693 w 111023"/>
                  <a:gd name="connsiteY19" fmla="*/ 27804 h 141435"/>
                  <a:gd name="connsiteX20" fmla="*/ 31303 w 111023"/>
                  <a:gd name="connsiteY20" fmla="*/ 36266 h 141435"/>
                  <a:gd name="connsiteX21" fmla="*/ 35375 w 111023"/>
                  <a:gd name="connsiteY21" fmla="*/ 44537 h 141435"/>
                  <a:gd name="connsiteX22" fmla="*/ 60697 w 111023"/>
                  <a:gd name="connsiteY22" fmla="*/ 53699 h 141435"/>
                  <a:gd name="connsiteX23" fmla="*/ 90473 w 111023"/>
                  <a:gd name="connsiteY23" fmla="*/ 63560 h 141435"/>
                  <a:gd name="connsiteX24" fmla="*/ 105552 w 111023"/>
                  <a:gd name="connsiteY24" fmla="*/ 77430 h 141435"/>
                  <a:gd name="connsiteX25" fmla="*/ 111024 w 111023"/>
                  <a:gd name="connsiteY25" fmla="*/ 99190 h 141435"/>
                  <a:gd name="connsiteX26" fmla="*/ 104470 w 111023"/>
                  <a:gd name="connsiteY26" fmla="*/ 121204 h 141435"/>
                  <a:gd name="connsiteX27" fmla="*/ 86020 w 111023"/>
                  <a:gd name="connsiteY27" fmla="*/ 136473 h 141435"/>
                  <a:gd name="connsiteX28" fmla="*/ 56307 w 111023"/>
                  <a:gd name="connsiteY28" fmla="*/ 141436 h 141435"/>
                  <a:gd name="connsiteX29" fmla="*/ 16542 w 111023"/>
                  <a:gd name="connsiteY29" fmla="*/ 129475 h 141435"/>
                  <a:gd name="connsiteX30" fmla="*/ 0 w 111023"/>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23" h="141435">
                    <a:moveTo>
                      <a:pt x="0" y="94545"/>
                    </a:moveTo>
                    <a:lnTo>
                      <a:pt x="26849" y="91937"/>
                    </a:lnTo>
                    <a:cubicBezTo>
                      <a:pt x="28440" y="100971"/>
                      <a:pt x="31748" y="107588"/>
                      <a:pt x="36647" y="111787"/>
                    </a:cubicBezTo>
                    <a:cubicBezTo>
                      <a:pt x="41546" y="115986"/>
                      <a:pt x="48227" y="118150"/>
                      <a:pt x="56625" y="118150"/>
                    </a:cubicBezTo>
                    <a:cubicBezTo>
                      <a:pt x="65533" y="118150"/>
                      <a:pt x="72213" y="116304"/>
                      <a:pt x="76730" y="112487"/>
                    </a:cubicBezTo>
                    <a:cubicBezTo>
                      <a:pt x="81248" y="108733"/>
                      <a:pt x="83475" y="104343"/>
                      <a:pt x="83475" y="99317"/>
                    </a:cubicBezTo>
                    <a:cubicBezTo>
                      <a:pt x="83475" y="96072"/>
                      <a:pt x="82520" y="93336"/>
                      <a:pt x="80611" y="91046"/>
                    </a:cubicBezTo>
                    <a:cubicBezTo>
                      <a:pt x="78703" y="88755"/>
                      <a:pt x="75394" y="86783"/>
                      <a:pt x="70686" y="85129"/>
                    </a:cubicBezTo>
                    <a:cubicBezTo>
                      <a:pt x="67441" y="83984"/>
                      <a:pt x="60125" y="82011"/>
                      <a:pt x="48609" y="79148"/>
                    </a:cubicBezTo>
                    <a:cubicBezTo>
                      <a:pt x="33848" y="75458"/>
                      <a:pt x="23414" y="71004"/>
                      <a:pt x="17497" y="65660"/>
                    </a:cubicBezTo>
                    <a:cubicBezTo>
                      <a:pt x="9098" y="58152"/>
                      <a:pt x="4899" y="48990"/>
                      <a:pt x="4899" y="38174"/>
                    </a:cubicBezTo>
                    <a:cubicBezTo>
                      <a:pt x="4899" y="31239"/>
                      <a:pt x="6871" y="24686"/>
                      <a:pt x="10816" y="18642"/>
                    </a:cubicBezTo>
                    <a:cubicBezTo>
                      <a:pt x="14761" y="12598"/>
                      <a:pt x="20423" y="7953"/>
                      <a:pt x="27867" y="4772"/>
                    </a:cubicBezTo>
                    <a:cubicBezTo>
                      <a:pt x="35311" y="1591"/>
                      <a:pt x="44282" y="0"/>
                      <a:pt x="54780" y="0"/>
                    </a:cubicBezTo>
                    <a:cubicBezTo>
                      <a:pt x="71959" y="0"/>
                      <a:pt x="84811" y="3754"/>
                      <a:pt x="93527" y="11262"/>
                    </a:cubicBezTo>
                    <a:cubicBezTo>
                      <a:pt x="102244" y="18769"/>
                      <a:pt x="106761" y="28822"/>
                      <a:pt x="107206" y="41356"/>
                    </a:cubicBezTo>
                    <a:lnTo>
                      <a:pt x="79593" y="42564"/>
                    </a:lnTo>
                    <a:cubicBezTo>
                      <a:pt x="78385" y="35566"/>
                      <a:pt x="75903" y="30476"/>
                      <a:pt x="72022" y="27422"/>
                    </a:cubicBezTo>
                    <a:cubicBezTo>
                      <a:pt x="68141" y="24368"/>
                      <a:pt x="62288" y="22841"/>
                      <a:pt x="54526" y="22841"/>
                    </a:cubicBezTo>
                    <a:cubicBezTo>
                      <a:pt x="46509" y="22841"/>
                      <a:pt x="40210" y="24495"/>
                      <a:pt x="35693" y="27804"/>
                    </a:cubicBezTo>
                    <a:cubicBezTo>
                      <a:pt x="32766" y="29903"/>
                      <a:pt x="31303" y="32766"/>
                      <a:pt x="31303" y="36266"/>
                    </a:cubicBezTo>
                    <a:cubicBezTo>
                      <a:pt x="31303" y="39510"/>
                      <a:pt x="32639" y="42246"/>
                      <a:pt x="35375" y="44537"/>
                    </a:cubicBezTo>
                    <a:cubicBezTo>
                      <a:pt x="38874" y="47463"/>
                      <a:pt x="47336" y="50517"/>
                      <a:pt x="60697" y="53699"/>
                    </a:cubicBezTo>
                    <a:cubicBezTo>
                      <a:pt x="74058" y="56880"/>
                      <a:pt x="84047" y="60125"/>
                      <a:pt x="90473" y="63560"/>
                    </a:cubicBezTo>
                    <a:cubicBezTo>
                      <a:pt x="96899" y="66932"/>
                      <a:pt x="101926" y="71577"/>
                      <a:pt x="105552" y="77430"/>
                    </a:cubicBezTo>
                    <a:cubicBezTo>
                      <a:pt x="109179" y="83284"/>
                      <a:pt x="111024" y="90537"/>
                      <a:pt x="111024" y="99190"/>
                    </a:cubicBezTo>
                    <a:cubicBezTo>
                      <a:pt x="111024" y="107015"/>
                      <a:pt x="108861" y="114332"/>
                      <a:pt x="104470" y="121204"/>
                    </a:cubicBezTo>
                    <a:cubicBezTo>
                      <a:pt x="100080" y="128075"/>
                      <a:pt x="93973" y="133101"/>
                      <a:pt x="86020" y="136473"/>
                    </a:cubicBezTo>
                    <a:cubicBezTo>
                      <a:pt x="78067" y="139782"/>
                      <a:pt x="68141" y="141436"/>
                      <a:pt x="56307" y="141436"/>
                    </a:cubicBezTo>
                    <a:cubicBezTo>
                      <a:pt x="39065" y="141436"/>
                      <a:pt x="25768" y="137428"/>
                      <a:pt x="16542" y="129475"/>
                    </a:cubicBezTo>
                    <a:cubicBezTo>
                      <a:pt x="7317" y="121522"/>
                      <a:pt x="1781" y="109879"/>
                      <a:pt x="0" y="94545"/>
                    </a:cubicBezTo>
                    <a:close/>
                  </a:path>
                </a:pathLst>
              </a:custGeom>
              <a:solidFill>
                <a:srgbClr val="084F45"/>
              </a:solidFill>
              <a:ln w="6361" cap="flat">
                <a:noFill/>
                <a:prstDash val="solid"/>
                <a:miter/>
              </a:ln>
            </p:spPr>
            <p:txBody>
              <a:bodyPr rtlCol="0" anchor="ctr"/>
              <a:lstStyle/>
              <a:p>
                <a:endParaRPr lang="da-DK"/>
              </a:p>
            </p:txBody>
          </p:sp>
          <p:sp>
            <p:nvSpPr>
              <p:cNvPr id="72" name="Freeform: Shape 71">
                <a:extLst>
                  <a:ext uri="{FF2B5EF4-FFF2-40B4-BE49-F238E27FC236}">
                    <a16:creationId xmlns:a16="http://schemas.microsoft.com/office/drawing/2014/main" id="{81DBB95D-3D62-4E95-B349-9ADCBC27C30C}"/>
                  </a:ext>
                </a:extLst>
              </p:cNvPr>
              <p:cNvSpPr/>
              <p:nvPr/>
            </p:nvSpPr>
            <p:spPr>
              <a:xfrm>
                <a:off x="1689217" y="3239718"/>
                <a:ext cx="27612" cy="136600"/>
              </a:xfrm>
              <a:custGeom>
                <a:avLst/>
                <a:gdLst>
                  <a:gd name="connsiteX0" fmla="*/ 0 w 27612"/>
                  <a:gd name="connsiteY0" fmla="*/ 136601 h 136600"/>
                  <a:gd name="connsiteX1" fmla="*/ 0 w 27612"/>
                  <a:gd name="connsiteY1" fmla="*/ 0 h 136600"/>
                  <a:gd name="connsiteX2" fmla="*/ 27613 w 27612"/>
                  <a:gd name="connsiteY2" fmla="*/ 0 h 136600"/>
                  <a:gd name="connsiteX3" fmla="*/ 27613 w 27612"/>
                  <a:gd name="connsiteY3" fmla="*/ 136601 h 136600"/>
                  <a:gd name="connsiteX4" fmla="*/ 0 w 27612"/>
                  <a:gd name="connsiteY4" fmla="*/ 136601 h 1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12" h="136600">
                    <a:moveTo>
                      <a:pt x="0" y="136601"/>
                    </a:moveTo>
                    <a:lnTo>
                      <a:pt x="0" y="0"/>
                    </a:lnTo>
                    <a:lnTo>
                      <a:pt x="27613" y="0"/>
                    </a:lnTo>
                    <a:lnTo>
                      <a:pt x="27613" y="136601"/>
                    </a:lnTo>
                    <a:lnTo>
                      <a:pt x="0" y="136601"/>
                    </a:lnTo>
                    <a:close/>
                  </a:path>
                </a:pathLst>
              </a:custGeom>
              <a:solidFill>
                <a:srgbClr val="084F45"/>
              </a:solidFill>
              <a:ln w="6361" cap="flat">
                <a:noFill/>
                <a:prstDash val="solid"/>
                <a:miter/>
              </a:ln>
            </p:spPr>
            <p:txBody>
              <a:bodyPr rtlCol="0" anchor="ctr"/>
              <a:lstStyle/>
              <a:p>
                <a:endParaRPr lang="da-DK"/>
              </a:p>
            </p:txBody>
          </p:sp>
          <p:sp>
            <p:nvSpPr>
              <p:cNvPr id="73" name="Freeform: Shape 72">
                <a:extLst>
                  <a:ext uri="{FF2B5EF4-FFF2-40B4-BE49-F238E27FC236}">
                    <a16:creationId xmlns:a16="http://schemas.microsoft.com/office/drawing/2014/main" id="{F5B75A5A-13E4-4EE2-B7D5-814F76D13E3A}"/>
                  </a:ext>
                </a:extLst>
              </p:cNvPr>
              <p:cNvSpPr/>
              <p:nvPr/>
            </p:nvSpPr>
            <p:spPr>
              <a:xfrm>
                <a:off x="1736044" y="3237301"/>
                <a:ext cx="111087" cy="141435"/>
              </a:xfrm>
              <a:custGeom>
                <a:avLst/>
                <a:gdLst>
                  <a:gd name="connsiteX0" fmla="*/ 0 w 111087"/>
                  <a:gd name="connsiteY0" fmla="*/ 94545 h 141435"/>
                  <a:gd name="connsiteX1" fmla="*/ 26849 w 111087"/>
                  <a:gd name="connsiteY1" fmla="*/ 91937 h 141435"/>
                  <a:gd name="connsiteX2" fmla="*/ 36711 w 111087"/>
                  <a:gd name="connsiteY2" fmla="*/ 111787 h 141435"/>
                  <a:gd name="connsiteX3" fmla="*/ 56689 w 111087"/>
                  <a:gd name="connsiteY3" fmla="*/ 118150 h 141435"/>
                  <a:gd name="connsiteX4" fmla="*/ 76794 w 111087"/>
                  <a:gd name="connsiteY4" fmla="*/ 112487 h 141435"/>
                  <a:gd name="connsiteX5" fmla="*/ 83538 w 111087"/>
                  <a:gd name="connsiteY5" fmla="*/ 99317 h 141435"/>
                  <a:gd name="connsiteX6" fmla="*/ 80675 w 111087"/>
                  <a:gd name="connsiteY6" fmla="*/ 91046 h 141435"/>
                  <a:gd name="connsiteX7" fmla="*/ 70750 w 111087"/>
                  <a:gd name="connsiteY7" fmla="*/ 85129 h 141435"/>
                  <a:gd name="connsiteX8" fmla="*/ 48672 w 111087"/>
                  <a:gd name="connsiteY8" fmla="*/ 79148 h 141435"/>
                  <a:gd name="connsiteX9" fmla="*/ 17560 w 111087"/>
                  <a:gd name="connsiteY9" fmla="*/ 65660 h 141435"/>
                  <a:gd name="connsiteX10" fmla="*/ 4963 w 111087"/>
                  <a:gd name="connsiteY10" fmla="*/ 38174 h 141435"/>
                  <a:gd name="connsiteX11" fmla="*/ 10880 w 111087"/>
                  <a:gd name="connsiteY11" fmla="*/ 18642 h 141435"/>
                  <a:gd name="connsiteX12" fmla="*/ 27931 w 111087"/>
                  <a:gd name="connsiteY12" fmla="*/ 4772 h 141435"/>
                  <a:gd name="connsiteX13" fmla="*/ 54844 w 111087"/>
                  <a:gd name="connsiteY13" fmla="*/ 0 h 141435"/>
                  <a:gd name="connsiteX14" fmla="*/ 93591 w 111087"/>
                  <a:gd name="connsiteY14" fmla="*/ 11262 h 141435"/>
                  <a:gd name="connsiteX15" fmla="*/ 107270 w 111087"/>
                  <a:gd name="connsiteY15" fmla="*/ 41356 h 141435"/>
                  <a:gd name="connsiteX16" fmla="*/ 79657 w 111087"/>
                  <a:gd name="connsiteY16" fmla="*/ 42564 h 141435"/>
                  <a:gd name="connsiteX17" fmla="*/ 72086 w 111087"/>
                  <a:gd name="connsiteY17" fmla="*/ 27422 h 141435"/>
                  <a:gd name="connsiteX18" fmla="*/ 54589 w 111087"/>
                  <a:gd name="connsiteY18" fmla="*/ 22841 h 141435"/>
                  <a:gd name="connsiteX19" fmla="*/ 35757 w 111087"/>
                  <a:gd name="connsiteY19" fmla="*/ 27804 h 141435"/>
                  <a:gd name="connsiteX20" fmla="*/ 31367 w 111087"/>
                  <a:gd name="connsiteY20" fmla="*/ 36266 h 141435"/>
                  <a:gd name="connsiteX21" fmla="*/ 35439 w 111087"/>
                  <a:gd name="connsiteY21" fmla="*/ 44537 h 141435"/>
                  <a:gd name="connsiteX22" fmla="*/ 60761 w 111087"/>
                  <a:gd name="connsiteY22" fmla="*/ 53699 h 141435"/>
                  <a:gd name="connsiteX23" fmla="*/ 90537 w 111087"/>
                  <a:gd name="connsiteY23" fmla="*/ 63560 h 141435"/>
                  <a:gd name="connsiteX24" fmla="*/ 105616 w 111087"/>
                  <a:gd name="connsiteY24" fmla="*/ 77430 h 141435"/>
                  <a:gd name="connsiteX25" fmla="*/ 111087 w 111087"/>
                  <a:gd name="connsiteY25" fmla="*/ 99190 h 141435"/>
                  <a:gd name="connsiteX26" fmla="*/ 104534 w 111087"/>
                  <a:gd name="connsiteY26" fmla="*/ 121204 h 141435"/>
                  <a:gd name="connsiteX27" fmla="*/ 86083 w 111087"/>
                  <a:gd name="connsiteY27" fmla="*/ 136473 h 141435"/>
                  <a:gd name="connsiteX28" fmla="*/ 56371 w 111087"/>
                  <a:gd name="connsiteY28" fmla="*/ 141436 h 141435"/>
                  <a:gd name="connsiteX29" fmla="*/ 16542 w 111087"/>
                  <a:gd name="connsiteY29" fmla="*/ 129475 h 141435"/>
                  <a:gd name="connsiteX30" fmla="*/ 0 w 111087"/>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87" h="141435">
                    <a:moveTo>
                      <a:pt x="0" y="94545"/>
                    </a:moveTo>
                    <a:lnTo>
                      <a:pt x="26849" y="91937"/>
                    </a:lnTo>
                    <a:cubicBezTo>
                      <a:pt x="28440" y="100971"/>
                      <a:pt x="31748" y="107588"/>
                      <a:pt x="36711" y="111787"/>
                    </a:cubicBezTo>
                    <a:cubicBezTo>
                      <a:pt x="41674" y="115986"/>
                      <a:pt x="48291" y="118150"/>
                      <a:pt x="56689" y="118150"/>
                    </a:cubicBezTo>
                    <a:cubicBezTo>
                      <a:pt x="65596" y="118150"/>
                      <a:pt x="72277" y="116304"/>
                      <a:pt x="76794" y="112487"/>
                    </a:cubicBezTo>
                    <a:cubicBezTo>
                      <a:pt x="81311" y="108733"/>
                      <a:pt x="83538" y="104343"/>
                      <a:pt x="83538" y="99317"/>
                    </a:cubicBezTo>
                    <a:cubicBezTo>
                      <a:pt x="83538" y="96072"/>
                      <a:pt x="82584" y="93336"/>
                      <a:pt x="80675" y="91046"/>
                    </a:cubicBezTo>
                    <a:cubicBezTo>
                      <a:pt x="78766" y="88755"/>
                      <a:pt x="75458" y="86783"/>
                      <a:pt x="70750" y="85129"/>
                    </a:cubicBezTo>
                    <a:cubicBezTo>
                      <a:pt x="67505" y="83984"/>
                      <a:pt x="60125" y="82011"/>
                      <a:pt x="48672" y="79148"/>
                    </a:cubicBezTo>
                    <a:cubicBezTo>
                      <a:pt x="33912" y="75458"/>
                      <a:pt x="23477" y="71004"/>
                      <a:pt x="17560" y="65660"/>
                    </a:cubicBezTo>
                    <a:cubicBezTo>
                      <a:pt x="9162" y="58152"/>
                      <a:pt x="4963" y="48990"/>
                      <a:pt x="4963" y="38174"/>
                    </a:cubicBezTo>
                    <a:cubicBezTo>
                      <a:pt x="4963" y="31239"/>
                      <a:pt x="6935" y="24686"/>
                      <a:pt x="10880" y="18642"/>
                    </a:cubicBezTo>
                    <a:cubicBezTo>
                      <a:pt x="14824" y="12598"/>
                      <a:pt x="20487" y="7953"/>
                      <a:pt x="27931" y="4772"/>
                    </a:cubicBezTo>
                    <a:cubicBezTo>
                      <a:pt x="35375" y="1591"/>
                      <a:pt x="44346" y="0"/>
                      <a:pt x="54844" y="0"/>
                    </a:cubicBezTo>
                    <a:cubicBezTo>
                      <a:pt x="72022" y="0"/>
                      <a:pt x="84874" y="3754"/>
                      <a:pt x="93591" y="11262"/>
                    </a:cubicBezTo>
                    <a:cubicBezTo>
                      <a:pt x="102307" y="18769"/>
                      <a:pt x="106825" y="28822"/>
                      <a:pt x="107270" y="41356"/>
                    </a:cubicBezTo>
                    <a:lnTo>
                      <a:pt x="79657" y="42564"/>
                    </a:lnTo>
                    <a:cubicBezTo>
                      <a:pt x="78448" y="35566"/>
                      <a:pt x="75967" y="30476"/>
                      <a:pt x="72086" y="27422"/>
                    </a:cubicBezTo>
                    <a:cubicBezTo>
                      <a:pt x="68205" y="24368"/>
                      <a:pt x="62351" y="22841"/>
                      <a:pt x="54589" y="22841"/>
                    </a:cubicBezTo>
                    <a:cubicBezTo>
                      <a:pt x="46573" y="22841"/>
                      <a:pt x="40274" y="24495"/>
                      <a:pt x="35757" y="27804"/>
                    </a:cubicBezTo>
                    <a:cubicBezTo>
                      <a:pt x="32830" y="29903"/>
                      <a:pt x="31367" y="32766"/>
                      <a:pt x="31367" y="36266"/>
                    </a:cubicBezTo>
                    <a:cubicBezTo>
                      <a:pt x="31367" y="39510"/>
                      <a:pt x="32703" y="42246"/>
                      <a:pt x="35439" y="44537"/>
                    </a:cubicBezTo>
                    <a:cubicBezTo>
                      <a:pt x="38938" y="47463"/>
                      <a:pt x="47400" y="50517"/>
                      <a:pt x="60761" y="53699"/>
                    </a:cubicBezTo>
                    <a:cubicBezTo>
                      <a:pt x="74122" y="56880"/>
                      <a:pt x="84111" y="60125"/>
                      <a:pt x="90537" y="63560"/>
                    </a:cubicBezTo>
                    <a:cubicBezTo>
                      <a:pt x="96963" y="66932"/>
                      <a:pt x="101989" y="71577"/>
                      <a:pt x="105616" y="77430"/>
                    </a:cubicBezTo>
                    <a:cubicBezTo>
                      <a:pt x="109242" y="83284"/>
                      <a:pt x="111087" y="90537"/>
                      <a:pt x="111087" y="99190"/>
                    </a:cubicBezTo>
                    <a:cubicBezTo>
                      <a:pt x="111087" y="107015"/>
                      <a:pt x="108924" y="114332"/>
                      <a:pt x="104534" y="121204"/>
                    </a:cubicBezTo>
                    <a:cubicBezTo>
                      <a:pt x="100144" y="128075"/>
                      <a:pt x="94036" y="133101"/>
                      <a:pt x="86083" y="136473"/>
                    </a:cubicBezTo>
                    <a:cubicBezTo>
                      <a:pt x="78130" y="139782"/>
                      <a:pt x="68205" y="141436"/>
                      <a:pt x="56371" y="141436"/>
                    </a:cubicBezTo>
                    <a:cubicBezTo>
                      <a:pt x="39129" y="141436"/>
                      <a:pt x="25831" y="137428"/>
                      <a:pt x="16542" y="129475"/>
                    </a:cubicBezTo>
                    <a:cubicBezTo>
                      <a:pt x="7380" y="121522"/>
                      <a:pt x="1845" y="109879"/>
                      <a:pt x="0" y="94545"/>
                    </a:cubicBezTo>
                    <a:close/>
                  </a:path>
                </a:pathLst>
              </a:custGeom>
              <a:solidFill>
                <a:srgbClr val="084F45"/>
              </a:solidFill>
              <a:ln w="6361" cap="flat">
                <a:noFill/>
                <a:prstDash val="solid"/>
                <a:miter/>
              </a:ln>
            </p:spPr>
            <p:txBody>
              <a:bodyPr rtlCol="0" anchor="ctr"/>
              <a:lstStyle/>
              <a:p>
                <a:endParaRPr lang="da-DK"/>
              </a:p>
            </p:txBody>
          </p:sp>
        </p:grpSp>
        <p:grpSp>
          <p:nvGrpSpPr>
            <p:cNvPr id="10" name="Graphic 5">
              <a:extLst>
                <a:ext uri="{FF2B5EF4-FFF2-40B4-BE49-F238E27FC236}">
                  <a16:creationId xmlns:a16="http://schemas.microsoft.com/office/drawing/2014/main" id="{09307607-EE28-4912-B147-0A9CEC0F07A2}"/>
                </a:ext>
              </a:extLst>
            </p:cNvPr>
            <p:cNvGrpSpPr/>
            <p:nvPr/>
          </p:nvGrpSpPr>
          <p:grpSpPr>
            <a:xfrm>
              <a:off x="1202622" y="3457567"/>
              <a:ext cx="491876" cy="224401"/>
              <a:chOff x="1202622" y="3457567"/>
              <a:chExt cx="491876" cy="224401"/>
            </a:xfrm>
            <a:solidFill>
              <a:srgbClr val="084F45"/>
            </a:solidFill>
          </p:grpSpPr>
          <p:sp>
            <p:nvSpPr>
              <p:cNvPr id="19" name="Freeform: Shape 18">
                <a:extLst>
                  <a:ext uri="{FF2B5EF4-FFF2-40B4-BE49-F238E27FC236}">
                    <a16:creationId xmlns:a16="http://schemas.microsoft.com/office/drawing/2014/main" id="{28C31192-3221-46CD-9DD4-9C93DA10C02B}"/>
                  </a:ext>
                </a:extLst>
              </p:cNvPr>
              <p:cNvSpPr/>
              <p:nvPr/>
            </p:nvSpPr>
            <p:spPr>
              <a:xfrm>
                <a:off x="1202622" y="3457567"/>
                <a:ext cx="28503" cy="45554"/>
              </a:xfrm>
              <a:custGeom>
                <a:avLst/>
                <a:gdLst>
                  <a:gd name="connsiteX0" fmla="*/ 0 w 28503"/>
                  <a:gd name="connsiteY0" fmla="*/ 45555 h 45554"/>
                  <a:gd name="connsiteX1" fmla="*/ 0 w 28503"/>
                  <a:gd name="connsiteY1" fmla="*/ 0 h 45554"/>
                  <a:gd name="connsiteX2" fmla="*/ 6044 w 28503"/>
                  <a:gd name="connsiteY2" fmla="*/ 0 h 45554"/>
                  <a:gd name="connsiteX3" fmla="*/ 6044 w 28503"/>
                  <a:gd name="connsiteY3" fmla="*/ 40147 h 45554"/>
                  <a:gd name="connsiteX4" fmla="*/ 28504 w 28503"/>
                  <a:gd name="connsiteY4" fmla="*/ 40147 h 45554"/>
                  <a:gd name="connsiteX5" fmla="*/ 28504 w 28503"/>
                  <a:gd name="connsiteY5" fmla="*/ 45491 h 45554"/>
                  <a:gd name="connsiteX6" fmla="*/ 0 w 28503"/>
                  <a:gd name="connsiteY6"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03" h="45554">
                    <a:moveTo>
                      <a:pt x="0" y="45555"/>
                    </a:moveTo>
                    <a:lnTo>
                      <a:pt x="0" y="0"/>
                    </a:lnTo>
                    <a:lnTo>
                      <a:pt x="6044" y="0"/>
                    </a:lnTo>
                    <a:lnTo>
                      <a:pt x="6044" y="40147"/>
                    </a:lnTo>
                    <a:lnTo>
                      <a:pt x="28504" y="40147"/>
                    </a:lnTo>
                    <a:lnTo>
                      <a:pt x="28504" y="45491"/>
                    </a:lnTo>
                    <a:lnTo>
                      <a:pt x="0" y="45491"/>
                    </a:lnTo>
                    <a:close/>
                  </a:path>
                </a:pathLst>
              </a:custGeom>
              <a:solidFill>
                <a:srgbClr val="084F45"/>
              </a:solidFill>
              <a:ln w="6361" cap="flat">
                <a:noFill/>
                <a:prstDash val="solid"/>
                <a:miter/>
              </a:ln>
            </p:spPr>
            <p:txBody>
              <a:bodyPr rtlCol="0" anchor="ctr"/>
              <a:lstStyle/>
              <a:p>
                <a:endParaRPr lang="da-DK"/>
              </a:p>
            </p:txBody>
          </p:sp>
          <p:sp>
            <p:nvSpPr>
              <p:cNvPr id="20" name="Freeform: Shape 19">
                <a:extLst>
                  <a:ext uri="{FF2B5EF4-FFF2-40B4-BE49-F238E27FC236}">
                    <a16:creationId xmlns:a16="http://schemas.microsoft.com/office/drawing/2014/main" id="{2B4D14B4-E40A-453A-9F6A-CB0BC9E2FC94}"/>
                  </a:ext>
                </a:extLst>
              </p:cNvPr>
              <p:cNvSpPr/>
              <p:nvPr/>
            </p:nvSpPr>
            <p:spPr>
              <a:xfrm>
                <a:off x="1235770"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F11A250B-9B14-4154-A164-ECDBA3DD8FDB}"/>
                  </a:ext>
                </a:extLst>
              </p:cNvPr>
              <p:cNvSpPr/>
              <p:nvPr/>
            </p:nvSpPr>
            <p:spPr>
              <a:xfrm>
                <a:off x="126993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07 w 16033"/>
                  <a:gd name="connsiteY11" fmla="*/ 0 h 44918"/>
                  <a:gd name="connsiteX12" fmla="*/ 9607 w 16033"/>
                  <a:gd name="connsiteY12" fmla="*/ 11516 h 44918"/>
                  <a:gd name="connsiteX13" fmla="*/ 15206 w 16033"/>
                  <a:gd name="connsiteY13" fmla="*/ 11516 h 44918"/>
                  <a:gd name="connsiteX14" fmla="*/ 15206 w 16033"/>
                  <a:gd name="connsiteY14" fmla="*/ 15842 h 44918"/>
                  <a:gd name="connsiteX15" fmla="*/ 9607 w 16033"/>
                  <a:gd name="connsiteY15" fmla="*/ 15842 h 44918"/>
                  <a:gd name="connsiteX16" fmla="*/ 9607 w 16033"/>
                  <a:gd name="connsiteY16" fmla="*/ 35120 h 44918"/>
                  <a:gd name="connsiteX17" fmla="*/ 9925 w 16033"/>
                  <a:gd name="connsiteY17" fmla="*/ 38174 h 44918"/>
                  <a:gd name="connsiteX18" fmla="*/ 10880 w 16033"/>
                  <a:gd name="connsiteY18" fmla="*/ 39256 h 44918"/>
                  <a:gd name="connsiteX19" fmla="*/ 12788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07" y="0"/>
                    </a:lnTo>
                    <a:lnTo>
                      <a:pt x="9607" y="11516"/>
                    </a:lnTo>
                    <a:lnTo>
                      <a:pt x="15206" y="11516"/>
                    </a:lnTo>
                    <a:lnTo>
                      <a:pt x="15206" y="15842"/>
                    </a:lnTo>
                    <a:lnTo>
                      <a:pt x="9607" y="15842"/>
                    </a:lnTo>
                    <a:lnTo>
                      <a:pt x="9607" y="35120"/>
                    </a:lnTo>
                    <a:cubicBezTo>
                      <a:pt x="9607" y="36711"/>
                      <a:pt x="9734" y="37729"/>
                      <a:pt x="9925" y="38174"/>
                    </a:cubicBezTo>
                    <a:cubicBezTo>
                      <a:pt x="10116" y="38620"/>
                      <a:pt x="10434" y="39001"/>
                      <a:pt x="10880" y="39256"/>
                    </a:cubicBezTo>
                    <a:cubicBezTo>
                      <a:pt x="11325" y="39510"/>
                      <a:pt x="11961" y="39638"/>
                      <a:pt x="12788"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D829689-5C03-4F33-9338-234966059962}"/>
                  </a:ext>
                </a:extLst>
              </p:cNvPr>
              <p:cNvSpPr/>
              <p:nvPr/>
            </p:nvSpPr>
            <p:spPr>
              <a:xfrm>
                <a:off x="1287623"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8A5C464F-6112-4E69-A6C9-1D474AF2B586}"/>
                  </a:ext>
                </a:extLst>
              </p:cNvPr>
              <p:cNvSpPr/>
              <p:nvPr/>
            </p:nvSpPr>
            <p:spPr>
              <a:xfrm>
                <a:off x="1306456" y="3469401"/>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25" name="Freeform: Shape 24">
                <a:extLst>
                  <a:ext uri="{FF2B5EF4-FFF2-40B4-BE49-F238E27FC236}">
                    <a16:creationId xmlns:a16="http://schemas.microsoft.com/office/drawing/2014/main" id="{36DD6A76-0520-48AE-B957-A61CA7D34D53}"/>
                  </a:ext>
                </a:extLst>
              </p:cNvPr>
              <p:cNvSpPr/>
              <p:nvPr/>
            </p:nvSpPr>
            <p:spPr>
              <a:xfrm>
                <a:off x="1343612" y="3469337"/>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3"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26" name="Freeform: Shape 25">
                <a:extLst>
                  <a:ext uri="{FF2B5EF4-FFF2-40B4-BE49-F238E27FC236}">
                    <a16:creationId xmlns:a16="http://schemas.microsoft.com/office/drawing/2014/main" id="{107BD362-8716-4FA4-8FFA-3083497AD0D6}"/>
                  </a:ext>
                </a:extLst>
              </p:cNvPr>
              <p:cNvSpPr/>
              <p:nvPr/>
            </p:nvSpPr>
            <p:spPr>
              <a:xfrm>
                <a:off x="1363081"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663 w 30412"/>
                  <a:gd name="connsiteY11" fmla="*/ 18642 h 34484"/>
                  <a:gd name="connsiteX12" fmla="*/ 8716 w 30412"/>
                  <a:gd name="connsiteY12" fmla="*/ 26976 h 34484"/>
                  <a:gd name="connsiteX13" fmla="*/ 15588 w 30412"/>
                  <a:gd name="connsiteY13" fmla="*/ 29840 h 34484"/>
                  <a:gd name="connsiteX14" fmla="*/ 20869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663" y="18642"/>
                    </a:lnTo>
                    <a:cubicBezTo>
                      <a:pt x="5853" y="22268"/>
                      <a:pt x="6871" y="25068"/>
                      <a:pt x="8716" y="26976"/>
                    </a:cubicBezTo>
                    <a:cubicBezTo>
                      <a:pt x="10562" y="28885"/>
                      <a:pt x="12852" y="29840"/>
                      <a:pt x="15588" y="29840"/>
                    </a:cubicBezTo>
                    <a:cubicBezTo>
                      <a:pt x="17624" y="29840"/>
                      <a:pt x="19405" y="29331"/>
                      <a:pt x="20869"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27" name="Freeform: Shape 26">
                <a:extLst>
                  <a:ext uri="{FF2B5EF4-FFF2-40B4-BE49-F238E27FC236}">
                    <a16:creationId xmlns:a16="http://schemas.microsoft.com/office/drawing/2014/main" id="{3E20457A-586D-4BFF-A950-66A1E43251DD}"/>
                  </a:ext>
                </a:extLst>
              </p:cNvPr>
              <p:cNvSpPr/>
              <p:nvPr/>
            </p:nvSpPr>
            <p:spPr>
              <a:xfrm>
                <a:off x="1415698" y="3469337"/>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28" name="Freeform: Shape 27">
                <a:extLst>
                  <a:ext uri="{FF2B5EF4-FFF2-40B4-BE49-F238E27FC236}">
                    <a16:creationId xmlns:a16="http://schemas.microsoft.com/office/drawing/2014/main" id="{71F06945-ADA2-411E-ACDD-6A72B1460E5C}"/>
                  </a:ext>
                </a:extLst>
              </p:cNvPr>
              <p:cNvSpPr/>
              <p:nvPr/>
            </p:nvSpPr>
            <p:spPr>
              <a:xfrm>
                <a:off x="144674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8"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9" name="Freeform: Shape 28">
                <a:extLst>
                  <a:ext uri="{FF2B5EF4-FFF2-40B4-BE49-F238E27FC236}">
                    <a16:creationId xmlns:a16="http://schemas.microsoft.com/office/drawing/2014/main" id="{FAADC1BD-5FC6-47B8-BEAA-19D3D0BCC040}"/>
                  </a:ext>
                </a:extLst>
              </p:cNvPr>
              <p:cNvSpPr/>
              <p:nvPr/>
            </p:nvSpPr>
            <p:spPr>
              <a:xfrm>
                <a:off x="1467297" y="3470164"/>
                <a:ext cx="26658" cy="33720"/>
              </a:xfrm>
              <a:custGeom>
                <a:avLst/>
                <a:gdLst>
                  <a:gd name="connsiteX0" fmla="*/ 21696 w 26658"/>
                  <a:gd name="connsiteY0" fmla="*/ 32957 h 33720"/>
                  <a:gd name="connsiteX1" fmla="*/ 21696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696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696" y="32957"/>
                    </a:moveTo>
                    <a:lnTo>
                      <a:pt x="21696" y="28122"/>
                    </a:lnTo>
                    <a:cubicBezTo>
                      <a:pt x="19151" y="31876"/>
                      <a:pt x="15651"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35" y="25704"/>
                      <a:pt x="6999" y="26849"/>
                      <a:pt x="8144" y="27676"/>
                    </a:cubicBezTo>
                    <a:cubicBezTo>
                      <a:pt x="9289" y="28504"/>
                      <a:pt x="10689" y="28949"/>
                      <a:pt x="12343" y="28949"/>
                    </a:cubicBezTo>
                    <a:cubicBezTo>
                      <a:pt x="13997" y="28949"/>
                      <a:pt x="15588" y="28504"/>
                      <a:pt x="17051" y="27676"/>
                    </a:cubicBezTo>
                    <a:cubicBezTo>
                      <a:pt x="18514" y="26849"/>
                      <a:pt x="19532" y="25640"/>
                      <a:pt x="20169" y="24177"/>
                    </a:cubicBezTo>
                    <a:cubicBezTo>
                      <a:pt x="20805" y="22714"/>
                      <a:pt x="21059" y="20551"/>
                      <a:pt x="21059" y="17751"/>
                    </a:cubicBezTo>
                    <a:lnTo>
                      <a:pt x="21059" y="64"/>
                    </a:lnTo>
                    <a:lnTo>
                      <a:pt x="26658" y="64"/>
                    </a:lnTo>
                    <a:lnTo>
                      <a:pt x="26658" y="33085"/>
                    </a:lnTo>
                    <a:lnTo>
                      <a:pt x="21696" y="33085"/>
                    </a:lnTo>
                    <a:close/>
                  </a:path>
                </a:pathLst>
              </a:custGeom>
              <a:solidFill>
                <a:srgbClr val="084F45"/>
              </a:solidFill>
              <a:ln w="6361" cap="flat">
                <a:noFill/>
                <a:prstDash val="solid"/>
                <a:miter/>
              </a:ln>
            </p:spPr>
            <p:txBody>
              <a:bodyPr rtlCol="0" anchor="ctr"/>
              <a:lstStyle/>
              <a:p>
                <a:endParaRPr lang="da-DK"/>
              </a:p>
            </p:txBody>
          </p:sp>
          <p:sp>
            <p:nvSpPr>
              <p:cNvPr id="30" name="Freeform: Shape 29">
                <a:extLst>
                  <a:ext uri="{FF2B5EF4-FFF2-40B4-BE49-F238E27FC236}">
                    <a16:creationId xmlns:a16="http://schemas.microsoft.com/office/drawing/2014/main" id="{18464ACF-6D75-487E-9713-F70E0AB427F1}"/>
                  </a:ext>
                </a:extLst>
              </p:cNvPr>
              <p:cNvSpPr/>
              <p:nvPr/>
            </p:nvSpPr>
            <p:spPr>
              <a:xfrm>
                <a:off x="1500700" y="3457567"/>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8"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solidFill>
                <a:srgbClr val="084F45"/>
              </a:solidFill>
              <a:ln w="6361" cap="flat">
                <a:noFill/>
                <a:prstDash val="solid"/>
                <a:miter/>
              </a:ln>
            </p:spPr>
            <p:txBody>
              <a:bodyPr rtlCol="0" anchor="ctr"/>
              <a:lstStyle/>
              <a:p>
                <a:endParaRPr lang="da-DK"/>
              </a:p>
            </p:txBody>
          </p:sp>
          <p:sp>
            <p:nvSpPr>
              <p:cNvPr id="31" name="Freeform: Shape 30">
                <a:extLst>
                  <a:ext uri="{FF2B5EF4-FFF2-40B4-BE49-F238E27FC236}">
                    <a16:creationId xmlns:a16="http://schemas.microsoft.com/office/drawing/2014/main" id="{5B3AFFFE-7749-4587-827D-ACABF83416A1}"/>
                  </a:ext>
                </a:extLst>
              </p:cNvPr>
              <p:cNvSpPr/>
              <p:nvPr/>
            </p:nvSpPr>
            <p:spPr>
              <a:xfrm>
                <a:off x="1538238"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2" name="Freeform: Shape 31">
                <a:extLst>
                  <a:ext uri="{FF2B5EF4-FFF2-40B4-BE49-F238E27FC236}">
                    <a16:creationId xmlns:a16="http://schemas.microsoft.com/office/drawing/2014/main" id="{F40778D0-8E13-4C07-8DF3-F8385934D2BD}"/>
                  </a:ext>
                </a:extLst>
              </p:cNvPr>
              <p:cNvSpPr/>
              <p:nvPr/>
            </p:nvSpPr>
            <p:spPr>
              <a:xfrm>
                <a:off x="1550517"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33" name="Freeform: Shape 32">
                <a:extLst>
                  <a:ext uri="{FF2B5EF4-FFF2-40B4-BE49-F238E27FC236}">
                    <a16:creationId xmlns:a16="http://schemas.microsoft.com/office/drawing/2014/main" id="{34E3C99E-7C64-4BD2-8F78-79272CEB799D}"/>
                  </a:ext>
                </a:extLst>
              </p:cNvPr>
              <p:cNvSpPr/>
              <p:nvPr/>
            </p:nvSpPr>
            <p:spPr>
              <a:xfrm>
                <a:off x="1587546" y="3457567"/>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4" name="Freeform: Shape 33">
                <a:extLst>
                  <a:ext uri="{FF2B5EF4-FFF2-40B4-BE49-F238E27FC236}">
                    <a16:creationId xmlns:a16="http://schemas.microsoft.com/office/drawing/2014/main" id="{4A4BBB5B-0B62-479A-BDA7-D80CC4460D8F}"/>
                  </a:ext>
                </a:extLst>
              </p:cNvPr>
              <p:cNvSpPr/>
              <p:nvPr/>
            </p:nvSpPr>
            <p:spPr>
              <a:xfrm>
                <a:off x="1601862"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5" name="Freeform: Shape 34">
                <a:extLst>
                  <a:ext uri="{FF2B5EF4-FFF2-40B4-BE49-F238E27FC236}">
                    <a16:creationId xmlns:a16="http://schemas.microsoft.com/office/drawing/2014/main" id="{A68C56E8-5FA4-48AA-89B1-48C70670877D}"/>
                  </a:ext>
                </a:extLst>
              </p:cNvPr>
              <p:cNvSpPr/>
              <p:nvPr/>
            </p:nvSpPr>
            <p:spPr>
              <a:xfrm>
                <a:off x="1612614" y="3470100"/>
                <a:ext cx="30221" cy="33020"/>
              </a:xfrm>
              <a:custGeom>
                <a:avLst/>
                <a:gdLst>
                  <a:gd name="connsiteX0" fmla="*/ 12534 w 30221"/>
                  <a:gd name="connsiteY0" fmla="*/ 33021 h 33020"/>
                  <a:gd name="connsiteX1" fmla="*/ 0 w 30221"/>
                  <a:gd name="connsiteY1" fmla="*/ 0 h 33020"/>
                  <a:gd name="connsiteX2" fmla="*/ 5917 w 30221"/>
                  <a:gd name="connsiteY2" fmla="*/ 0 h 33020"/>
                  <a:gd name="connsiteX3" fmla="*/ 12979 w 30221"/>
                  <a:gd name="connsiteY3" fmla="*/ 19787 h 33020"/>
                  <a:gd name="connsiteX4" fmla="*/ 15079 w 30221"/>
                  <a:gd name="connsiteY4" fmla="*/ 26404 h 33020"/>
                  <a:gd name="connsiteX5" fmla="*/ 17178 w 30221"/>
                  <a:gd name="connsiteY5" fmla="*/ 20105 h 33020"/>
                  <a:gd name="connsiteX6" fmla="*/ 24495 w 30221"/>
                  <a:gd name="connsiteY6" fmla="*/ 0 h 33020"/>
                  <a:gd name="connsiteX7" fmla="*/ 30221 w 30221"/>
                  <a:gd name="connsiteY7" fmla="*/ 0 h 33020"/>
                  <a:gd name="connsiteX8" fmla="*/ 17751 w 30221"/>
                  <a:gd name="connsiteY8" fmla="*/ 33021 h 33020"/>
                  <a:gd name="connsiteX9" fmla="*/ 12534 w 30221"/>
                  <a:gd name="connsiteY9" fmla="*/ 33021 h 3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21" h="33020">
                    <a:moveTo>
                      <a:pt x="12534" y="33021"/>
                    </a:moveTo>
                    <a:lnTo>
                      <a:pt x="0" y="0"/>
                    </a:lnTo>
                    <a:lnTo>
                      <a:pt x="5917" y="0"/>
                    </a:lnTo>
                    <a:lnTo>
                      <a:pt x="12979" y="19787"/>
                    </a:lnTo>
                    <a:cubicBezTo>
                      <a:pt x="13743" y="21887"/>
                      <a:pt x="14443" y="24114"/>
                      <a:pt x="15079" y="26404"/>
                    </a:cubicBezTo>
                    <a:cubicBezTo>
                      <a:pt x="15588" y="24686"/>
                      <a:pt x="16288" y="22587"/>
                      <a:pt x="17178" y="20105"/>
                    </a:cubicBezTo>
                    <a:lnTo>
                      <a:pt x="24495" y="0"/>
                    </a:lnTo>
                    <a:lnTo>
                      <a:pt x="30221" y="0"/>
                    </a:lnTo>
                    <a:lnTo>
                      <a:pt x="17751" y="33021"/>
                    </a:lnTo>
                    <a:lnTo>
                      <a:pt x="12534" y="33021"/>
                    </a:lnTo>
                    <a:close/>
                  </a:path>
                </a:pathLst>
              </a:custGeom>
              <a:solidFill>
                <a:srgbClr val="084F45"/>
              </a:solidFill>
              <a:ln w="6361" cap="flat">
                <a:noFill/>
                <a:prstDash val="solid"/>
                <a:miter/>
              </a:ln>
            </p:spPr>
            <p:txBody>
              <a:bodyPr rtlCol="0" anchor="ctr"/>
              <a:lstStyle/>
              <a:p>
                <a:endParaRPr lang="da-DK"/>
              </a:p>
            </p:txBody>
          </p:sp>
          <p:sp>
            <p:nvSpPr>
              <p:cNvPr id="36" name="Freeform: Shape 35">
                <a:extLst>
                  <a:ext uri="{FF2B5EF4-FFF2-40B4-BE49-F238E27FC236}">
                    <a16:creationId xmlns:a16="http://schemas.microsoft.com/office/drawing/2014/main" id="{F82E92B3-61BD-4069-93FB-B25A986D7864}"/>
                  </a:ext>
                </a:extLst>
              </p:cNvPr>
              <p:cNvSpPr/>
              <p:nvPr/>
            </p:nvSpPr>
            <p:spPr>
              <a:xfrm>
                <a:off x="1644617" y="3496759"/>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sp>
            <p:nvSpPr>
              <p:cNvPr id="37" name="Freeform: Shape 36">
                <a:extLst>
                  <a:ext uri="{FF2B5EF4-FFF2-40B4-BE49-F238E27FC236}">
                    <a16:creationId xmlns:a16="http://schemas.microsoft.com/office/drawing/2014/main" id="{69C69B18-8665-4D33-BD96-BA281E91CBE6}"/>
                  </a:ext>
                </a:extLst>
              </p:cNvPr>
              <p:cNvSpPr/>
              <p:nvPr/>
            </p:nvSpPr>
            <p:spPr>
              <a:xfrm>
                <a:off x="1203194" y="3540278"/>
                <a:ext cx="30730" cy="45554"/>
              </a:xfrm>
              <a:custGeom>
                <a:avLst/>
                <a:gdLst>
                  <a:gd name="connsiteX0" fmla="*/ 0 w 30730"/>
                  <a:gd name="connsiteY0" fmla="*/ 45555 h 45554"/>
                  <a:gd name="connsiteX1" fmla="*/ 0 w 30730"/>
                  <a:gd name="connsiteY1" fmla="*/ 0 h 45554"/>
                  <a:gd name="connsiteX2" fmla="*/ 30730 w 30730"/>
                  <a:gd name="connsiteY2" fmla="*/ 0 h 45554"/>
                  <a:gd name="connsiteX3" fmla="*/ 30730 w 30730"/>
                  <a:gd name="connsiteY3" fmla="*/ 5344 h 45554"/>
                  <a:gd name="connsiteX4" fmla="*/ 6044 w 30730"/>
                  <a:gd name="connsiteY4" fmla="*/ 5344 h 45554"/>
                  <a:gd name="connsiteX5" fmla="*/ 6044 w 30730"/>
                  <a:gd name="connsiteY5" fmla="*/ 19469 h 45554"/>
                  <a:gd name="connsiteX6" fmla="*/ 27422 w 30730"/>
                  <a:gd name="connsiteY6" fmla="*/ 19469 h 45554"/>
                  <a:gd name="connsiteX7" fmla="*/ 27422 w 30730"/>
                  <a:gd name="connsiteY7" fmla="*/ 24813 h 45554"/>
                  <a:gd name="connsiteX8" fmla="*/ 6044 w 30730"/>
                  <a:gd name="connsiteY8" fmla="*/ 24813 h 45554"/>
                  <a:gd name="connsiteX9" fmla="*/ 6044 w 30730"/>
                  <a:gd name="connsiteY9" fmla="*/ 45491 h 45554"/>
                  <a:gd name="connsiteX10" fmla="*/ 0 w 30730"/>
                  <a:gd name="connsiteY10"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30" h="45554">
                    <a:moveTo>
                      <a:pt x="0" y="45555"/>
                    </a:moveTo>
                    <a:lnTo>
                      <a:pt x="0" y="0"/>
                    </a:lnTo>
                    <a:lnTo>
                      <a:pt x="30730" y="0"/>
                    </a:lnTo>
                    <a:lnTo>
                      <a:pt x="30730" y="5344"/>
                    </a:lnTo>
                    <a:lnTo>
                      <a:pt x="6044" y="5344"/>
                    </a:lnTo>
                    <a:lnTo>
                      <a:pt x="6044" y="19469"/>
                    </a:lnTo>
                    <a:lnTo>
                      <a:pt x="27422" y="19469"/>
                    </a:lnTo>
                    <a:lnTo>
                      <a:pt x="27422" y="24813"/>
                    </a:lnTo>
                    <a:lnTo>
                      <a:pt x="6044" y="24813"/>
                    </a:lnTo>
                    <a:lnTo>
                      <a:pt x="6044" y="45491"/>
                    </a:lnTo>
                    <a:lnTo>
                      <a:pt x="0" y="45491"/>
                    </a:lnTo>
                    <a:close/>
                  </a:path>
                </a:pathLst>
              </a:custGeom>
              <a:solidFill>
                <a:srgbClr val="084F45"/>
              </a:solidFill>
              <a:ln w="6361" cap="flat">
                <a:noFill/>
                <a:prstDash val="solid"/>
                <a:miter/>
              </a:ln>
            </p:spPr>
            <p:txBody>
              <a:bodyPr rtlCol="0" anchor="ctr"/>
              <a:lstStyle/>
              <a:p>
                <a:endParaRPr lang="da-DK"/>
              </a:p>
            </p:txBody>
          </p:sp>
          <p:sp>
            <p:nvSpPr>
              <p:cNvPr id="38" name="Freeform: Shape 37">
                <a:extLst>
                  <a:ext uri="{FF2B5EF4-FFF2-40B4-BE49-F238E27FC236}">
                    <a16:creationId xmlns:a16="http://schemas.microsoft.com/office/drawing/2014/main" id="{2F837863-9B2C-4419-A128-5E75C204B9A1}"/>
                  </a:ext>
                </a:extLst>
              </p:cNvPr>
              <p:cNvSpPr/>
              <p:nvPr/>
            </p:nvSpPr>
            <p:spPr>
              <a:xfrm>
                <a:off x="1238824" y="3551921"/>
                <a:ext cx="51853" cy="34611"/>
              </a:xfrm>
              <a:custGeom>
                <a:avLst/>
                <a:gdLst>
                  <a:gd name="connsiteX0" fmla="*/ 51853 w 51853"/>
                  <a:gd name="connsiteY0" fmla="*/ 23795 h 34611"/>
                  <a:gd name="connsiteX1" fmla="*/ 46573 w 51853"/>
                  <a:gd name="connsiteY1" fmla="*/ 31812 h 34611"/>
                  <a:gd name="connsiteX2" fmla="*/ 37284 w 51853"/>
                  <a:gd name="connsiteY2" fmla="*/ 34611 h 34611"/>
                  <a:gd name="connsiteX3" fmla="*/ 30349 w 51853"/>
                  <a:gd name="connsiteY3" fmla="*/ 33148 h 34611"/>
                  <a:gd name="connsiteX4" fmla="*/ 25004 w 51853"/>
                  <a:gd name="connsiteY4" fmla="*/ 28503 h 34611"/>
                  <a:gd name="connsiteX5" fmla="*/ 18451 w 51853"/>
                  <a:gd name="connsiteY5" fmla="*/ 33148 h 34611"/>
                  <a:gd name="connsiteX6" fmla="*/ 11325 w 51853"/>
                  <a:gd name="connsiteY6" fmla="*/ 34611 h 34611"/>
                  <a:gd name="connsiteX7" fmla="*/ 2990 w 51853"/>
                  <a:gd name="connsiteY7" fmla="*/ 31875 h 34611"/>
                  <a:gd name="connsiteX8" fmla="*/ 0 w 51853"/>
                  <a:gd name="connsiteY8" fmla="*/ 25195 h 34611"/>
                  <a:gd name="connsiteX9" fmla="*/ 1527 w 51853"/>
                  <a:gd name="connsiteY9" fmla="*/ 20169 h 34611"/>
                  <a:gd name="connsiteX10" fmla="*/ 5790 w 51853"/>
                  <a:gd name="connsiteY10" fmla="*/ 16606 h 34611"/>
                  <a:gd name="connsiteX11" fmla="*/ 14570 w 51853"/>
                  <a:gd name="connsiteY11" fmla="*/ 14633 h 34611"/>
                  <a:gd name="connsiteX12" fmla="*/ 22396 w 51853"/>
                  <a:gd name="connsiteY12" fmla="*/ 13107 h 34611"/>
                  <a:gd name="connsiteX13" fmla="*/ 22459 w 51853"/>
                  <a:gd name="connsiteY13" fmla="*/ 11834 h 34611"/>
                  <a:gd name="connsiteX14" fmla="*/ 20805 w 51853"/>
                  <a:gd name="connsiteY14" fmla="*/ 6362 h 34611"/>
                  <a:gd name="connsiteX15" fmla="*/ 15079 w 51853"/>
                  <a:gd name="connsiteY15" fmla="*/ 4772 h 34611"/>
                  <a:gd name="connsiteX16" fmla="*/ 10498 w 51853"/>
                  <a:gd name="connsiteY16" fmla="*/ 5408 h 34611"/>
                  <a:gd name="connsiteX17" fmla="*/ 7762 w 51853"/>
                  <a:gd name="connsiteY17" fmla="*/ 7253 h 34611"/>
                  <a:gd name="connsiteX18" fmla="*/ 6299 w 51853"/>
                  <a:gd name="connsiteY18" fmla="*/ 11070 h 34611"/>
                  <a:gd name="connsiteX19" fmla="*/ 891 w 51853"/>
                  <a:gd name="connsiteY19" fmla="*/ 10434 h 34611"/>
                  <a:gd name="connsiteX20" fmla="*/ 3372 w 51853"/>
                  <a:gd name="connsiteY20" fmla="*/ 4644 h 34611"/>
                  <a:gd name="connsiteX21" fmla="*/ 8017 w 51853"/>
                  <a:gd name="connsiteY21" fmla="*/ 1272 h 34611"/>
                  <a:gd name="connsiteX22" fmla="*/ 15142 w 51853"/>
                  <a:gd name="connsiteY22" fmla="*/ 63 h 34611"/>
                  <a:gd name="connsiteX23" fmla="*/ 23477 w 51853"/>
                  <a:gd name="connsiteY23" fmla="*/ 1591 h 34611"/>
                  <a:gd name="connsiteX24" fmla="*/ 26531 w 51853"/>
                  <a:gd name="connsiteY24" fmla="*/ 4454 h 34611"/>
                  <a:gd name="connsiteX25" fmla="*/ 31048 w 51853"/>
                  <a:gd name="connsiteY25" fmla="*/ 1145 h 34611"/>
                  <a:gd name="connsiteX26" fmla="*/ 37156 w 51853"/>
                  <a:gd name="connsiteY26" fmla="*/ 0 h 34611"/>
                  <a:gd name="connsiteX27" fmla="*/ 45491 w 51853"/>
                  <a:gd name="connsiteY27" fmla="*/ 2418 h 34611"/>
                  <a:gd name="connsiteX28" fmla="*/ 50326 w 51853"/>
                  <a:gd name="connsiteY28" fmla="*/ 8844 h 34611"/>
                  <a:gd name="connsiteX29" fmla="*/ 51853 w 51853"/>
                  <a:gd name="connsiteY29" fmla="*/ 16733 h 34611"/>
                  <a:gd name="connsiteX30" fmla="*/ 51790 w 51853"/>
                  <a:gd name="connsiteY30" fmla="*/ 18642 h 34611"/>
                  <a:gd name="connsiteX31" fmla="*/ 28122 w 51853"/>
                  <a:gd name="connsiteY31" fmla="*/ 18642 h 34611"/>
                  <a:gd name="connsiteX32" fmla="*/ 29203 w 51853"/>
                  <a:gd name="connsiteY32" fmla="*/ 25131 h 34611"/>
                  <a:gd name="connsiteX33" fmla="*/ 32512 w 51853"/>
                  <a:gd name="connsiteY33" fmla="*/ 28503 h 34611"/>
                  <a:gd name="connsiteX34" fmla="*/ 37538 w 51853"/>
                  <a:gd name="connsiteY34" fmla="*/ 29840 h 34611"/>
                  <a:gd name="connsiteX35" fmla="*/ 42946 w 51853"/>
                  <a:gd name="connsiteY35" fmla="*/ 27994 h 34611"/>
                  <a:gd name="connsiteX36" fmla="*/ 46000 w 51853"/>
                  <a:gd name="connsiteY36" fmla="*/ 22841 h 34611"/>
                  <a:gd name="connsiteX37" fmla="*/ 51853 w 51853"/>
                  <a:gd name="connsiteY37" fmla="*/ 23795 h 34611"/>
                  <a:gd name="connsiteX38" fmla="*/ 22650 w 51853"/>
                  <a:gd name="connsiteY38" fmla="*/ 17306 h 34611"/>
                  <a:gd name="connsiteX39" fmla="*/ 12661 w 51853"/>
                  <a:gd name="connsiteY39" fmla="*/ 19596 h 34611"/>
                  <a:gd name="connsiteX40" fmla="*/ 7889 w 51853"/>
                  <a:gd name="connsiteY40" fmla="*/ 21187 h 34611"/>
                  <a:gd name="connsiteX41" fmla="*/ 6044 w 51853"/>
                  <a:gd name="connsiteY41" fmla="*/ 25004 h 34611"/>
                  <a:gd name="connsiteX42" fmla="*/ 7698 w 51853"/>
                  <a:gd name="connsiteY42" fmla="*/ 28694 h 34611"/>
                  <a:gd name="connsiteX43" fmla="*/ 12470 w 51853"/>
                  <a:gd name="connsiteY43" fmla="*/ 30221 h 34611"/>
                  <a:gd name="connsiteX44" fmla="*/ 18705 w 51853"/>
                  <a:gd name="connsiteY44" fmla="*/ 28440 h 34611"/>
                  <a:gd name="connsiteX45" fmla="*/ 22141 w 51853"/>
                  <a:gd name="connsiteY45" fmla="*/ 24050 h 34611"/>
                  <a:gd name="connsiteX46" fmla="*/ 22650 w 51853"/>
                  <a:gd name="connsiteY46" fmla="*/ 17306 h 34611"/>
                  <a:gd name="connsiteX47" fmla="*/ 28122 w 51853"/>
                  <a:gd name="connsiteY47" fmla="*/ 14188 h 34611"/>
                  <a:gd name="connsiteX48" fmla="*/ 46255 w 51853"/>
                  <a:gd name="connsiteY48" fmla="*/ 14188 h 34611"/>
                  <a:gd name="connsiteX49" fmla="*/ 43455 w 51853"/>
                  <a:gd name="connsiteY49" fmla="*/ 6999 h 34611"/>
                  <a:gd name="connsiteX50" fmla="*/ 37284 w 51853"/>
                  <a:gd name="connsiteY50" fmla="*/ 4708 h 34611"/>
                  <a:gd name="connsiteX51" fmla="*/ 30858 w 51853"/>
                  <a:gd name="connsiteY51" fmla="*/ 7190 h 34611"/>
                  <a:gd name="connsiteX52" fmla="*/ 28122 w 51853"/>
                  <a:gd name="connsiteY52" fmla="*/ 14188 h 3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853" h="34611">
                    <a:moveTo>
                      <a:pt x="51853" y="23795"/>
                    </a:moveTo>
                    <a:cubicBezTo>
                      <a:pt x="50835" y="27231"/>
                      <a:pt x="49054" y="29903"/>
                      <a:pt x="46573" y="31812"/>
                    </a:cubicBezTo>
                    <a:cubicBezTo>
                      <a:pt x="44091" y="33721"/>
                      <a:pt x="40974" y="34611"/>
                      <a:pt x="37284" y="34611"/>
                    </a:cubicBezTo>
                    <a:cubicBezTo>
                      <a:pt x="34675" y="34611"/>
                      <a:pt x="32321" y="34102"/>
                      <a:pt x="30349" y="33148"/>
                    </a:cubicBezTo>
                    <a:cubicBezTo>
                      <a:pt x="28376" y="32194"/>
                      <a:pt x="26595" y="30603"/>
                      <a:pt x="25004" y="28503"/>
                    </a:cubicBezTo>
                    <a:cubicBezTo>
                      <a:pt x="22841" y="30603"/>
                      <a:pt x="20678" y="32194"/>
                      <a:pt x="18451" y="33148"/>
                    </a:cubicBezTo>
                    <a:cubicBezTo>
                      <a:pt x="16224" y="34102"/>
                      <a:pt x="13870" y="34611"/>
                      <a:pt x="11325" y="34611"/>
                    </a:cubicBezTo>
                    <a:cubicBezTo>
                      <a:pt x="7762" y="34611"/>
                      <a:pt x="4963" y="33721"/>
                      <a:pt x="2990" y="31875"/>
                    </a:cubicBezTo>
                    <a:cubicBezTo>
                      <a:pt x="1018" y="30030"/>
                      <a:pt x="0" y="27804"/>
                      <a:pt x="0" y="25195"/>
                    </a:cubicBezTo>
                    <a:cubicBezTo>
                      <a:pt x="0" y="23414"/>
                      <a:pt x="509" y="21759"/>
                      <a:pt x="1527" y="20169"/>
                    </a:cubicBezTo>
                    <a:cubicBezTo>
                      <a:pt x="2545" y="18578"/>
                      <a:pt x="4008" y="17433"/>
                      <a:pt x="5790" y="16606"/>
                    </a:cubicBezTo>
                    <a:cubicBezTo>
                      <a:pt x="7571" y="15779"/>
                      <a:pt x="10562" y="15143"/>
                      <a:pt x="14570" y="14633"/>
                    </a:cubicBezTo>
                    <a:cubicBezTo>
                      <a:pt x="17687" y="14188"/>
                      <a:pt x="20296" y="13679"/>
                      <a:pt x="22396" y="13107"/>
                    </a:cubicBezTo>
                    <a:cubicBezTo>
                      <a:pt x="22396" y="12597"/>
                      <a:pt x="22459" y="12152"/>
                      <a:pt x="22459" y="11834"/>
                    </a:cubicBezTo>
                    <a:cubicBezTo>
                      <a:pt x="22459" y="9225"/>
                      <a:pt x="21887" y="7380"/>
                      <a:pt x="20805" y="6362"/>
                    </a:cubicBezTo>
                    <a:cubicBezTo>
                      <a:pt x="19723" y="5344"/>
                      <a:pt x="17815" y="4772"/>
                      <a:pt x="15079" y="4772"/>
                    </a:cubicBezTo>
                    <a:cubicBezTo>
                      <a:pt x="13297" y="4772"/>
                      <a:pt x="11770" y="4963"/>
                      <a:pt x="10498" y="5408"/>
                    </a:cubicBezTo>
                    <a:cubicBezTo>
                      <a:pt x="9225" y="5853"/>
                      <a:pt x="8335" y="6490"/>
                      <a:pt x="7762" y="7253"/>
                    </a:cubicBezTo>
                    <a:cubicBezTo>
                      <a:pt x="7189" y="8080"/>
                      <a:pt x="6680" y="9353"/>
                      <a:pt x="6299" y="11070"/>
                    </a:cubicBezTo>
                    <a:lnTo>
                      <a:pt x="891" y="10434"/>
                    </a:lnTo>
                    <a:cubicBezTo>
                      <a:pt x="1463" y="8016"/>
                      <a:pt x="2290" y="6108"/>
                      <a:pt x="3372" y="4644"/>
                    </a:cubicBezTo>
                    <a:cubicBezTo>
                      <a:pt x="4454" y="3245"/>
                      <a:pt x="6044" y="2100"/>
                      <a:pt x="8017" y="1272"/>
                    </a:cubicBezTo>
                    <a:cubicBezTo>
                      <a:pt x="10053" y="445"/>
                      <a:pt x="12407" y="63"/>
                      <a:pt x="15142" y="63"/>
                    </a:cubicBezTo>
                    <a:cubicBezTo>
                      <a:pt x="18578" y="63"/>
                      <a:pt x="21378" y="573"/>
                      <a:pt x="23477" y="1591"/>
                    </a:cubicBezTo>
                    <a:cubicBezTo>
                      <a:pt x="24686" y="2163"/>
                      <a:pt x="25704" y="3181"/>
                      <a:pt x="26531" y="4454"/>
                    </a:cubicBezTo>
                    <a:cubicBezTo>
                      <a:pt x="27867" y="2990"/>
                      <a:pt x="29331" y="1909"/>
                      <a:pt x="31048" y="1145"/>
                    </a:cubicBezTo>
                    <a:cubicBezTo>
                      <a:pt x="32703" y="382"/>
                      <a:pt x="34739" y="0"/>
                      <a:pt x="37156" y="0"/>
                    </a:cubicBezTo>
                    <a:cubicBezTo>
                      <a:pt x="40528" y="0"/>
                      <a:pt x="43264" y="827"/>
                      <a:pt x="45491" y="2418"/>
                    </a:cubicBezTo>
                    <a:cubicBezTo>
                      <a:pt x="47718" y="4008"/>
                      <a:pt x="49309" y="6172"/>
                      <a:pt x="50326" y="8844"/>
                    </a:cubicBezTo>
                    <a:cubicBezTo>
                      <a:pt x="51344" y="11516"/>
                      <a:pt x="51853" y="14125"/>
                      <a:pt x="51853" y="16733"/>
                    </a:cubicBezTo>
                    <a:cubicBezTo>
                      <a:pt x="51853" y="17115"/>
                      <a:pt x="51853" y="17751"/>
                      <a:pt x="51790" y="18642"/>
                    </a:cubicBezTo>
                    <a:lnTo>
                      <a:pt x="28122" y="18642"/>
                    </a:lnTo>
                    <a:cubicBezTo>
                      <a:pt x="28185" y="21632"/>
                      <a:pt x="28503" y="23795"/>
                      <a:pt x="29203" y="25131"/>
                    </a:cubicBezTo>
                    <a:cubicBezTo>
                      <a:pt x="29903" y="26468"/>
                      <a:pt x="30985" y="27613"/>
                      <a:pt x="32512" y="28503"/>
                    </a:cubicBezTo>
                    <a:cubicBezTo>
                      <a:pt x="34039" y="29394"/>
                      <a:pt x="35693" y="29840"/>
                      <a:pt x="37538" y="29840"/>
                    </a:cubicBezTo>
                    <a:cubicBezTo>
                      <a:pt x="39638" y="29840"/>
                      <a:pt x="41483" y="29203"/>
                      <a:pt x="42946" y="27994"/>
                    </a:cubicBezTo>
                    <a:cubicBezTo>
                      <a:pt x="44409" y="26786"/>
                      <a:pt x="45427" y="25068"/>
                      <a:pt x="46000" y="22841"/>
                    </a:cubicBezTo>
                    <a:lnTo>
                      <a:pt x="51853" y="23795"/>
                    </a:lnTo>
                    <a:close/>
                    <a:moveTo>
                      <a:pt x="22650" y="17306"/>
                    </a:moveTo>
                    <a:cubicBezTo>
                      <a:pt x="20996" y="18005"/>
                      <a:pt x="17687" y="18769"/>
                      <a:pt x="12661" y="19596"/>
                    </a:cubicBezTo>
                    <a:cubicBezTo>
                      <a:pt x="10371" y="19978"/>
                      <a:pt x="8844" y="20487"/>
                      <a:pt x="7889" y="21187"/>
                    </a:cubicBezTo>
                    <a:cubicBezTo>
                      <a:pt x="6680" y="22141"/>
                      <a:pt x="6044" y="23414"/>
                      <a:pt x="6044" y="25004"/>
                    </a:cubicBezTo>
                    <a:cubicBezTo>
                      <a:pt x="6044" y="26468"/>
                      <a:pt x="6617" y="27740"/>
                      <a:pt x="7698" y="28694"/>
                    </a:cubicBezTo>
                    <a:cubicBezTo>
                      <a:pt x="8780" y="29712"/>
                      <a:pt x="10371" y="30221"/>
                      <a:pt x="12470" y="30221"/>
                    </a:cubicBezTo>
                    <a:cubicBezTo>
                      <a:pt x="14888" y="30221"/>
                      <a:pt x="16924" y="29649"/>
                      <a:pt x="18705" y="28440"/>
                    </a:cubicBezTo>
                    <a:cubicBezTo>
                      <a:pt x="20487" y="27231"/>
                      <a:pt x="21632" y="25768"/>
                      <a:pt x="22141" y="24050"/>
                    </a:cubicBezTo>
                    <a:cubicBezTo>
                      <a:pt x="22459" y="22968"/>
                      <a:pt x="22650" y="20741"/>
                      <a:pt x="22650" y="17306"/>
                    </a:cubicBezTo>
                    <a:close/>
                    <a:moveTo>
                      <a:pt x="28122" y="14188"/>
                    </a:moveTo>
                    <a:lnTo>
                      <a:pt x="46255" y="14188"/>
                    </a:lnTo>
                    <a:cubicBezTo>
                      <a:pt x="45936" y="10943"/>
                      <a:pt x="45046" y="8526"/>
                      <a:pt x="43455" y="6999"/>
                    </a:cubicBezTo>
                    <a:cubicBezTo>
                      <a:pt x="41865" y="5472"/>
                      <a:pt x="39829" y="4708"/>
                      <a:pt x="37284" y="4708"/>
                    </a:cubicBezTo>
                    <a:cubicBezTo>
                      <a:pt x="34675" y="4708"/>
                      <a:pt x="32512" y="5535"/>
                      <a:pt x="30858" y="7190"/>
                    </a:cubicBezTo>
                    <a:cubicBezTo>
                      <a:pt x="29203" y="8844"/>
                      <a:pt x="28313" y="11261"/>
                      <a:pt x="28122" y="14188"/>
                    </a:cubicBezTo>
                    <a:close/>
                  </a:path>
                </a:pathLst>
              </a:custGeom>
              <a:solidFill>
                <a:srgbClr val="084F45"/>
              </a:solidFill>
              <a:ln w="6361" cap="flat">
                <a:noFill/>
                <a:prstDash val="solid"/>
                <a:miter/>
              </a:ln>
            </p:spPr>
            <p:txBody>
              <a:bodyPr rtlCol="0" anchor="ctr"/>
              <a:lstStyle/>
              <a:p>
                <a:endParaRPr lang="da-DK"/>
              </a:p>
            </p:txBody>
          </p:sp>
          <p:sp>
            <p:nvSpPr>
              <p:cNvPr id="39" name="Freeform: Shape 38">
                <a:extLst>
                  <a:ext uri="{FF2B5EF4-FFF2-40B4-BE49-F238E27FC236}">
                    <a16:creationId xmlns:a16="http://schemas.microsoft.com/office/drawing/2014/main" id="{52DA121E-9491-477C-BE48-7A16BE388A6A}"/>
                  </a:ext>
                </a:extLst>
              </p:cNvPr>
              <p:cNvSpPr/>
              <p:nvPr/>
            </p:nvSpPr>
            <p:spPr>
              <a:xfrm>
                <a:off x="1297485"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40" name="Freeform: Shape 39">
                <a:extLst>
                  <a:ext uri="{FF2B5EF4-FFF2-40B4-BE49-F238E27FC236}">
                    <a16:creationId xmlns:a16="http://schemas.microsoft.com/office/drawing/2014/main" id="{1D309886-3AAD-4530-AB6D-28FA06FADAA9}"/>
                  </a:ext>
                </a:extLst>
              </p:cNvPr>
              <p:cNvSpPr/>
              <p:nvPr/>
            </p:nvSpPr>
            <p:spPr>
              <a:xfrm>
                <a:off x="1311609"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41" name="Freeform: Shape 40">
                <a:extLst>
                  <a:ext uri="{FF2B5EF4-FFF2-40B4-BE49-F238E27FC236}">
                    <a16:creationId xmlns:a16="http://schemas.microsoft.com/office/drawing/2014/main" id="{DF05CA6F-D75D-490D-A474-017C38A7B86D}"/>
                  </a:ext>
                </a:extLst>
              </p:cNvPr>
              <p:cNvSpPr/>
              <p:nvPr/>
            </p:nvSpPr>
            <p:spPr>
              <a:xfrm>
                <a:off x="1324016" y="3552112"/>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459" y="27167"/>
                      <a:pt x="23604"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42" name="Freeform: Shape 41">
                <a:extLst>
                  <a:ext uri="{FF2B5EF4-FFF2-40B4-BE49-F238E27FC236}">
                    <a16:creationId xmlns:a16="http://schemas.microsoft.com/office/drawing/2014/main" id="{5432CE93-9C52-4DEA-A874-27E4C696FE3C}"/>
                  </a:ext>
                </a:extLst>
              </p:cNvPr>
              <p:cNvSpPr/>
              <p:nvPr/>
            </p:nvSpPr>
            <p:spPr>
              <a:xfrm>
                <a:off x="1359009"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0" y="26976"/>
                      <a:pt x="8144" y="28122"/>
                    </a:cubicBezTo>
                    <a:cubicBezTo>
                      <a:pt x="9607" y="29267"/>
                      <a:pt x="11516" y="29903"/>
                      <a:pt x="14061" y="29903"/>
                    </a:cubicBezTo>
                    <a:cubicBezTo>
                      <a:pt x="16606" y="29903"/>
                      <a:pt x="18515" y="29394"/>
                      <a:pt x="19787" y="28313"/>
                    </a:cubicBezTo>
                    <a:cubicBezTo>
                      <a:pt x="21059" y="27295"/>
                      <a:pt x="21632" y="26022"/>
                      <a:pt x="21632" y="24622"/>
                    </a:cubicBezTo>
                    <a:cubicBezTo>
                      <a:pt x="21632" y="23350"/>
                      <a:pt x="21059"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2" y="12598"/>
                      <a:pt x="891" y="11134"/>
                      <a:pt x="891" y="9480"/>
                    </a:cubicBezTo>
                    <a:cubicBezTo>
                      <a:pt x="891" y="8017"/>
                      <a:pt x="1209" y="6617"/>
                      <a:pt x="1909" y="5408"/>
                    </a:cubicBezTo>
                    <a:cubicBezTo>
                      <a:pt x="2609" y="4136"/>
                      <a:pt x="3499" y="3118"/>
                      <a:pt x="4645" y="2291"/>
                    </a:cubicBezTo>
                    <a:cubicBezTo>
                      <a:pt x="5535" y="1654"/>
                      <a:pt x="6680"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43" name="Freeform: Shape 42">
                <a:extLst>
                  <a:ext uri="{FF2B5EF4-FFF2-40B4-BE49-F238E27FC236}">
                    <a16:creationId xmlns:a16="http://schemas.microsoft.com/office/drawing/2014/main" id="{7837FF92-87C7-4C05-9958-9FDEB0DFDAD6}"/>
                  </a:ext>
                </a:extLst>
              </p:cNvPr>
              <p:cNvSpPr/>
              <p:nvPr/>
            </p:nvSpPr>
            <p:spPr>
              <a:xfrm>
                <a:off x="1410735" y="3552048"/>
                <a:ext cx="28630" cy="46381"/>
              </a:xfrm>
              <a:custGeom>
                <a:avLst/>
                <a:gdLst>
                  <a:gd name="connsiteX0" fmla="*/ 0 w 28630"/>
                  <a:gd name="connsiteY0" fmla="*/ 46382 h 46381"/>
                  <a:gd name="connsiteX1" fmla="*/ 0 w 28630"/>
                  <a:gd name="connsiteY1" fmla="*/ 763 h 46381"/>
                  <a:gd name="connsiteX2" fmla="*/ 5090 w 28630"/>
                  <a:gd name="connsiteY2" fmla="*/ 763 h 46381"/>
                  <a:gd name="connsiteX3" fmla="*/ 5090 w 28630"/>
                  <a:gd name="connsiteY3" fmla="*/ 5026 h 46381"/>
                  <a:gd name="connsiteX4" fmla="*/ 9162 w 28630"/>
                  <a:gd name="connsiteY4" fmla="*/ 1273 h 46381"/>
                  <a:gd name="connsiteX5" fmla="*/ 14634 w 28630"/>
                  <a:gd name="connsiteY5" fmla="*/ 0 h 46381"/>
                  <a:gd name="connsiteX6" fmla="*/ 22078 w 28630"/>
                  <a:gd name="connsiteY6" fmla="*/ 2163 h 46381"/>
                  <a:gd name="connsiteX7" fmla="*/ 26977 w 28630"/>
                  <a:gd name="connsiteY7" fmla="*/ 8271 h 46381"/>
                  <a:gd name="connsiteX8" fmla="*/ 28631 w 28630"/>
                  <a:gd name="connsiteY8" fmla="*/ 16988 h 46381"/>
                  <a:gd name="connsiteX9" fmla="*/ 26786 w 28630"/>
                  <a:gd name="connsiteY9" fmla="*/ 26086 h 46381"/>
                  <a:gd name="connsiteX10" fmla="*/ 21505 w 28630"/>
                  <a:gd name="connsiteY10" fmla="*/ 32321 h 46381"/>
                  <a:gd name="connsiteX11" fmla="*/ 14252 w 28630"/>
                  <a:gd name="connsiteY11" fmla="*/ 34484 h 46381"/>
                  <a:gd name="connsiteX12" fmla="*/ 9225 w 28630"/>
                  <a:gd name="connsiteY12" fmla="*/ 33275 h 46381"/>
                  <a:gd name="connsiteX13" fmla="*/ 5599 w 28630"/>
                  <a:gd name="connsiteY13" fmla="*/ 30285 h 46381"/>
                  <a:gd name="connsiteX14" fmla="*/ 5599 w 28630"/>
                  <a:gd name="connsiteY14" fmla="*/ 46318 h 46381"/>
                  <a:gd name="connsiteX15" fmla="*/ 0 w 28630"/>
                  <a:gd name="connsiteY15" fmla="*/ 46318 h 46381"/>
                  <a:gd name="connsiteX16" fmla="*/ 5090 w 28630"/>
                  <a:gd name="connsiteY16" fmla="*/ 17433 h 46381"/>
                  <a:gd name="connsiteX17" fmla="*/ 7635 w 28630"/>
                  <a:gd name="connsiteY17" fmla="*/ 26849 h 46381"/>
                  <a:gd name="connsiteX18" fmla="*/ 13870 w 28630"/>
                  <a:gd name="connsiteY18" fmla="*/ 29903 h 46381"/>
                  <a:gd name="connsiteX19" fmla="*/ 20232 w 28630"/>
                  <a:gd name="connsiteY19" fmla="*/ 26722 h 46381"/>
                  <a:gd name="connsiteX20" fmla="*/ 22905 w 28630"/>
                  <a:gd name="connsiteY20" fmla="*/ 16924 h 46381"/>
                  <a:gd name="connsiteX21" fmla="*/ 20296 w 28630"/>
                  <a:gd name="connsiteY21" fmla="*/ 7508 h 46381"/>
                  <a:gd name="connsiteX22" fmla="*/ 14125 w 28630"/>
                  <a:gd name="connsiteY22" fmla="*/ 4390 h 46381"/>
                  <a:gd name="connsiteX23" fmla="*/ 7826 w 28630"/>
                  <a:gd name="connsiteY23" fmla="*/ 7762 h 46381"/>
                  <a:gd name="connsiteX24" fmla="*/ 5090 w 28630"/>
                  <a:gd name="connsiteY24" fmla="*/ 17433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630" h="46381">
                    <a:moveTo>
                      <a:pt x="0" y="46382"/>
                    </a:moveTo>
                    <a:lnTo>
                      <a:pt x="0" y="763"/>
                    </a:lnTo>
                    <a:lnTo>
                      <a:pt x="5090" y="763"/>
                    </a:lnTo>
                    <a:lnTo>
                      <a:pt x="5090" y="5026"/>
                    </a:lnTo>
                    <a:cubicBezTo>
                      <a:pt x="6299" y="3372"/>
                      <a:pt x="7635" y="2100"/>
                      <a:pt x="9162" y="1273"/>
                    </a:cubicBezTo>
                    <a:cubicBezTo>
                      <a:pt x="10689" y="445"/>
                      <a:pt x="12534" y="0"/>
                      <a:pt x="14634" y="0"/>
                    </a:cubicBezTo>
                    <a:cubicBezTo>
                      <a:pt x="17433" y="0"/>
                      <a:pt x="19914" y="700"/>
                      <a:pt x="22078" y="2163"/>
                    </a:cubicBezTo>
                    <a:cubicBezTo>
                      <a:pt x="24241" y="3627"/>
                      <a:pt x="25831" y="5663"/>
                      <a:pt x="26977" y="8271"/>
                    </a:cubicBezTo>
                    <a:cubicBezTo>
                      <a:pt x="28058" y="10943"/>
                      <a:pt x="28631" y="13806"/>
                      <a:pt x="28631" y="16988"/>
                    </a:cubicBezTo>
                    <a:cubicBezTo>
                      <a:pt x="28631" y="20360"/>
                      <a:pt x="28058" y="23414"/>
                      <a:pt x="26786" y="26086"/>
                    </a:cubicBezTo>
                    <a:cubicBezTo>
                      <a:pt x="25577" y="28758"/>
                      <a:pt x="23795" y="30858"/>
                      <a:pt x="21505" y="32321"/>
                    </a:cubicBezTo>
                    <a:cubicBezTo>
                      <a:pt x="19214" y="33784"/>
                      <a:pt x="16797" y="34484"/>
                      <a:pt x="14252" y="34484"/>
                    </a:cubicBezTo>
                    <a:cubicBezTo>
                      <a:pt x="12407" y="34484"/>
                      <a:pt x="10689" y="34103"/>
                      <a:pt x="9225" y="33275"/>
                    </a:cubicBezTo>
                    <a:cubicBezTo>
                      <a:pt x="7762" y="32448"/>
                      <a:pt x="6553" y="31494"/>
                      <a:pt x="5599" y="30285"/>
                    </a:cubicBezTo>
                    <a:lnTo>
                      <a:pt x="5599" y="46318"/>
                    </a:lnTo>
                    <a:lnTo>
                      <a:pt x="0" y="46318"/>
                    </a:lnTo>
                    <a:close/>
                    <a:moveTo>
                      <a:pt x="5090" y="17433"/>
                    </a:moveTo>
                    <a:cubicBezTo>
                      <a:pt x="5090" y="21696"/>
                      <a:pt x="5917" y="24813"/>
                      <a:pt x="7635" y="26849"/>
                    </a:cubicBezTo>
                    <a:cubicBezTo>
                      <a:pt x="9353" y="28885"/>
                      <a:pt x="11452" y="29903"/>
                      <a:pt x="13870" y="29903"/>
                    </a:cubicBezTo>
                    <a:cubicBezTo>
                      <a:pt x="16351" y="29903"/>
                      <a:pt x="18451" y="28822"/>
                      <a:pt x="20232" y="26722"/>
                    </a:cubicBezTo>
                    <a:cubicBezTo>
                      <a:pt x="22014" y="24622"/>
                      <a:pt x="22905" y="21378"/>
                      <a:pt x="22905" y="16924"/>
                    </a:cubicBezTo>
                    <a:cubicBezTo>
                      <a:pt x="22905" y="12725"/>
                      <a:pt x="22078" y="9544"/>
                      <a:pt x="20296" y="7508"/>
                    </a:cubicBezTo>
                    <a:cubicBezTo>
                      <a:pt x="18578" y="5408"/>
                      <a:pt x="16479" y="4390"/>
                      <a:pt x="14125" y="4390"/>
                    </a:cubicBezTo>
                    <a:cubicBezTo>
                      <a:pt x="11707" y="4390"/>
                      <a:pt x="9607" y="5472"/>
                      <a:pt x="7826" y="7762"/>
                    </a:cubicBezTo>
                    <a:cubicBezTo>
                      <a:pt x="5981" y="9989"/>
                      <a:pt x="5090" y="13170"/>
                      <a:pt x="5090" y="17433"/>
                    </a:cubicBezTo>
                    <a:close/>
                  </a:path>
                </a:pathLst>
              </a:custGeom>
              <a:solidFill>
                <a:srgbClr val="084F45"/>
              </a:solidFill>
              <a:ln w="6361" cap="flat">
                <a:noFill/>
                <a:prstDash val="solid"/>
                <a:miter/>
              </a:ln>
            </p:spPr>
            <p:txBody>
              <a:bodyPr rtlCol="0" anchor="ctr"/>
              <a:lstStyle/>
              <a:p>
                <a:endParaRPr lang="da-DK"/>
              </a:p>
            </p:txBody>
          </p:sp>
          <p:sp>
            <p:nvSpPr>
              <p:cNvPr id="45" name="Freeform: Shape 44">
                <a:extLst>
                  <a:ext uri="{FF2B5EF4-FFF2-40B4-BE49-F238E27FC236}">
                    <a16:creationId xmlns:a16="http://schemas.microsoft.com/office/drawing/2014/main" id="{89E16DA0-FE3A-424A-BE01-A2197609784D}"/>
                  </a:ext>
                </a:extLst>
              </p:cNvPr>
              <p:cNvSpPr/>
              <p:nvPr/>
            </p:nvSpPr>
            <p:spPr>
              <a:xfrm>
                <a:off x="144604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46" name="Freeform: Shape 45">
                <a:extLst>
                  <a:ext uri="{FF2B5EF4-FFF2-40B4-BE49-F238E27FC236}">
                    <a16:creationId xmlns:a16="http://schemas.microsoft.com/office/drawing/2014/main" id="{1BF81419-E75A-46FA-B622-DF83D8246343}"/>
                  </a:ext>
                </a:extLst>
              </p:cNvPr>
              <p:cNvSpPr/>
              <p:nvPr/>
            </p:nvSpPr>
            <p:spPr>
              <a:xfrm>
                <a:off x="1465197" y="3552048"/>
                <a:ext cx="30921" cy="34547"/>
              </a:xfrm>
              <a:custGeom>
                <a:avLst/>
                <a:gdLst>
                  <a:gd name="connsiteX0" fmla="*/ 0 w 30921"/>
                  <a:gd name="connsiteY0" fmla="*/ 17242 h 34547"/>
                  <a:gd name="connsiteX1" fmla="*/ 5090 w 30921"/>
                  <a:gd name="connsiteY1" fmla="*/ 3690 h 34547"/>
                  <a:gd name="connsiteX2" fmla="*/ 15461 w 30921"/>
                  <a:gd name="connsiteY2" fmla="*/ 0 h 34547"/>
                  <a:gd name="connsiteX3" fmla="*/ 26595 w 30921"/>
                  <a:gd name="connsiteY3" fmla="*/ 4454 h 34547"/>
                  <a:gd name="connsiteX4" fmla="*/ 30921 w 30921"/>
                  <a:gd name="connsiteY4" fmla="*/ 16797 h 34547"/>
                  <a:gd name="connsiteX5" fmla="*/ 29012 w 30921"/>
                  <a:gd name="connsiteY5" fmla="*/ 26849 h 34547"/>
                  <a:gd name="connsiteX6" fmla="*/ 23477 w 30921"/>
                  <a:gd name="connsiteY6" fmla="*/ 32512 h 34547"/>
                  <a:gd name="connsiteX7" fmla="*/ 15524 w 30921"/>
                  <a:gd name="connsiteY7" fmla="*/ 34548 h 34547"/>
                  <a:gd name="connsiteX8" fmla="*/ 4326 w 30921"/>
                  <a:gd name="connsiteY8" fmla="*/ 30094 h 34547"/>
                  <a:gd name="connsiteX9" fmla="*/ 0 w 30921"/>
                  <a:gd name="connsiteY9" fmla="*/ 17242 h 34547"/>
                  <a:gd name="connsiteX10" fmla="*/ 5790 w 30921"/>
                  <a:gd name="connsiteY10" fmla="*/ 17242 h 34547"/>
                  <a:gd name="connsiteX11" fmla="*/ 8526 w 30921"/>
                  <a:gd name="connsiteY11" fmla="*/ 26722 h 34547"/>
                  <a:gd name="connsiteX12" fmla="*/ 15461 w 30921"/>
                  <a:gd name="connsiteY12" fmla="*/ 29903 h 34547"/>
                  <a:gd name="connsiteX13" fmla="*/ 22396 w 30921"/>
                  <a:gd name="connsiteY13" fmla="*/ 26722 h 34547"/>
                  <a:gd name="connsiteX14" fmla="*/ 25131 w 30921"/>
                  <a:gd name="connsiteY14" fmla="*/ 17051 h 34547"/>
                  <a:gd name="connsiteX15" fmla="*/ 22332 w 30921"/>
                  <a:gd name="connsiteY15" fmla="*/ 7762 h 34547"/>
                  <a:gd name="connsiteX16" fmla="*/ 15397 w 30921"/>
                  <a:gd name="connsiteY16" fmla="*/ 4581 h 34547"/>
                  <a:gd name="connsiteX17" fmla="*/ 8462 w 30921"/>
                  <a:gd name="connsiteY17" fmla="*/ 7698 h 34547"/>
                  <a:gd name="connsiteX18" fmla="*/ 5790 w 30921"/>
                  <a:gd name="connsiteY18" fmla="*/ 17242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921" h="34547">
                    <a:moveTo>
                      <a:pt x="0" y="17242"/>
                    </a:moveTo>
                    <a:cubicBezTo>
                      <a:pt x="0" y="11134"/>
                      <a:pt x="1718" y="6617"/>
                      <a:pt x="5090" y="3690"/>
                    </a:cubicBezTo>
                    <a:cubicBezTo>
                      <a:pt x="7953" y="1273"/>
                      <a:pt x="11389" y="0"/>
                      <a:pt x="15461" y="0"/>
                    </a:cubicBezTo>
                    <a:cubicBezTo>
                      <a:pt x="19978" y="0"/>
                      <a:pt x="23732" y="1463"/>
                      <a:pt x="26595" y="4454"/>
                    </a:cubicBezTo>
                    <a:cubicBezTo>
                      <a:pt x="29458" y="7444"/>
                      <a:pt x="30921" y="11516"/>
                      <a:pt x="30921" y="16797"/>
                    </a:cubicBezTo>
                    <a:cubicBezTo>
                      <a:pt x="30921" y="21059"/>
                      <a:pt x="30285" y="24368"/>
                      <a:pt x="29012" y="26849"/>
                    </a:cubicBezTo>
                    <a:cubicBezTo>
                      <a:pt x="27740" y="29267"/>
                      <a:pt x="25895" y="31176"/>
                      <a:pt x="23477" y="32512"/>
                    </a:cubicBezTo>
                    <a:cubicBezTo>
                      <a:pt x="21059" y="33848"/>
                      <a:pt x="18387" y="34548"/>
                      <a:pt x="15524" y="34548"/>
                    </a:cubicBezTo>
                    <a:cubicBezTo>
                      <a:pt x="10880" y="34548"/>
                      <a:pt x="7189" y="33085"/>
                      <a:pt x="4326" y="30094"/>
                    </a:cubicBezTo>
                    <a:cubicBezTo>
                      <a:pt x="1463" y="27104"/>
                      <a:pt x="0" y="22841"/>
                      <a:pt x="0" y="17242"/>
                    </a:cubicBezTo>
                    <a:close/>
                    <a:moveTo>
                      <a:pt x="5790" y="17242"/>
                    </a:moveTo>
                    <a:cubicBezTo>
                      <a:pt x="5790" y="21441"/>
                      <a:pt x="6681" y="24622"/>
                      <a:pt x="8526" y="26722"/>
                    </a:cubicBezTo>
                    <a:cubicBezTo>
                      <a:pt x="10371" y="28822"/>
                      <a:pt x="12661" y="29903"/>
                      <a:pt x="15461" y="29903"/>
                    </a:cubicBezTo>
                    <a:cubicBezTo>
                      <a:pt x="18260" y="29903"/>
                      <a:pt x="20550" y="28822"/>
                      <a:pt x="22396" y="26722"/>
                    </a:cubicBezTo>
                    <a:cubicBezTo>
                      <a:pt x="24241" y="24622"/>
                      <a:pt x="25131" y="21378"/>
                      <a:pt x="25131" y="17051"/>
                    </a:cubicBezTo>
                    <a:cubicBezTo>
                      <a:pt x="25131" y="12979"/>
                      <a:pt x="24241" y="9862"/>
                      <a:pt x="22332" y="7762"/>
                    </a:cubicBezTo>
                    <a:cubicBezTo>
                      <a:pt x="20487" y="5663"/>
                      <a:pt x="18196" y="4581"/>
                      <a:pt x="15397" y="4581"/>
                    </a:cubicBezTo>
                    <a:cubicBezTo>
                      <a:pt x="12598" y="4581"/>
                      <a:pt x="10307" y="5599"/>
                      <a:pt x="8462" y="7698"/>
                    </a:cubicBezTo>
                    <a:cubicBezTo>
                      <a:pt x="6681" y="9862"/>
                      <a:pt x="5790" y="13043"/>
                      <a:pt x="5790" y="17242"/>
                    </a:cubicBezTo>
                    <a:close/>
                  </a:path>
                </a:pathLst>
              </a:custGeom>
              <a:solidFill>
                <a:srgbClr val="084F45"/>
              </a:solidFill>
              <a:ln w="6361" cap="flat">
                <a:noFill/>
                <a:prstDash val="solid"/>
                <a:miter/>
              </a:ln>
            </p:spPr>
            <p:txBody>
              <a:bodyPr rtlCol="0" anchor="ctr"/>
              <a:lstStyle/>
              <a:p>
                <a:endParaRPr lang="da-DK"/>
              </a:p>
            </p:txBody>
          </p:sp>
          <p:sp>
            <p:nvSpPr>
              <p:cNvPr id="47" name="Freeform: Shape 46">
                <a:extLst>
                  <a:ext uri="{FF2B5EF4-FFF2-40B4-BE49-F238E27FC236}">
                    <a16:creationId xmlns:a16="http://schemas.microsoft.com/office/drawing/2014/main" id="{E39235D4-8417-4879-8E35-5AAD65AC4733}"/>
                  </a:ext>
                </a:extLst>
              </p:cNvPr>
              <p:cNvSpPr/>
              <p:nvPr/>
            </p:nvSpPr>
            <p:spPr>
              <a:xfrm>
                <a:off x="1501018" y="3552048"/>
                <a:ext cx="28694" cy="34484"/>
              </a:xfrm>
              <a:custGeom>
                <a:avLst/>
                <a:gdLst>
                  <a:gd name="connsiteX0" fmla="*/ 23223 w 28694"/>
                  <a:gd name="connsiteY0" fmla="*/ 21696 h 34484"/>
                  <a:gd name="connsiteX1" fmla="*/ 28694 w 28694"/>
                  <a:gd name="connsiteY1" fmla="*/ 22396 h 34484"/>
                  <a:gd name="connsiteX2" fmla="*/ 24114 w 28694"/>
                  <a:gd name="connsiteY2" fmla="*/ 31303 h 34484"/>
                  <a:gd name="connsiteX3" fmla="*/ 15015 w 28694"/>
                  <a:gd name="connsiteY3" fmla="*/ 34484 h 34484"/>
                  <a:gd name="connsiteX4" fmla="*/ 4136 w 28694"/>
                  <a:gd name="connsiteY4" fmla="*/ 30030 h 34484"/>
                  <a:gd name="connsiteX5" fmla="*/ 0 w 28694"/>
                  <a:gd name="connsiteY5" fmla="*/ 17369 h 34484"/>
                  <a:gd name="connsiteX6" fmla="*/ 1782 w 28694"/>
                  <a:gd name="connsiteY6" fmla="*/ 8017 h 34484"/>
                  <a:gd name="connsiteX7" fmla="*/ 7190 w 28694"/>
                  <a:gd name="connsiteY7" fmla="*/ 2036 h 34484"/>
                  <a:gd name="connsiteX8" fmla="*/ 15079 w 28694"/>
                  <a:gd name="connsiteY8" fmla="*/ 0 h 34484"/>
                  <a:gd name="connsiteX9" fmla="*/ 23859 w 28694"/>
                  <a:gd name="connsiteY9" fmla="*/ 2736 h 34484"/>
                  <a:gd name="connsiteX10" fmla="*/ 28249 w 28694"/>
                  <a:gd name="connsiteY10" fmla="*/ 10434 h 34484"/>
                  <a:gd name="connsiteX11" fmla="*/ 22777 w 28694"/>
                  <a:gd name="connsiteY11" fmla="*/ 11261 h 34484"/>
                  <a:gd name="connsiteX12" fmla="*/ 20042 w 28694"/>
                  <a:gd name="connsiteY12" fmla="*/ 6235 h 34484"/>
                  <a:gd name="connsiteX13" fmla="*/ 15270 w 28694"/>
                  <a:gd name="connsiteY13" fmla="*/ 4581 h 34484"/>
                  <a:gd name="connsiteX14" fmla="*/ 8398 w 28694"/>
                  <a:gd name="connsiteY14" fmla="*/ 7635 h 34484"/>
                  <a:gd name="connsiteX15" fmla="*/ 5726 w 28694"/>
                  <a:gd name="connsiteY15" fmla="*/ 17242 h 34484"/>
                  <a:gd name="connsiteX16" fmla="*/ 8271 w 28694"/>
                  <a:gd name="connsiteY16" fmla="*/ 26913 h 34484"/>
                  <a:gd name="connsiteX17" fmla="*/ 14888 w 28694"/>
                  <a:gd name="connsiteY17" fmla="*/ 29903 h 34484"/>
                  <a:gd name="connsiteX18" fmla="*/ 20423 w 28694"/>
                  <a:gd name="connsiteY18" fmla="*/ 27867 h 34484"/>
                  <a:gd name="connsiteX19" fmla="*/ 23223 w 28694"/>
                  <a:gd name="connsiteY19" fmla="*/ 21696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694" h="34484">
                    <a:moveTo>
                      <a:pt x="23223" y="21696"/>
                    </a:moveTo>
                    <a:lnTo>
                      <a:pt x="28694" y="22396"/>
                    </a:lnTo>
                    <a:cubicBezTo>
                      <a:pt x="28122" y="26213"/>
                      <a:pt x="26531" y="29140"/>
                      <a:pt x="24114" y="31303"/>
                    </a:cubicBezTo>
                    <a:cubicBezTo>
                      <a:pt x="21632" y="33466"/>
                      <a:pt x="18578" y="34484"/>
                      <a:pt x="15015" y="34484"/>
                    </a:cubicBezTo>
                    <a:cubicBezTo>
                      <a:pt x="10498" y="34484"/>
                      <a:pt x="6871" y="33021"/>
                      <a:pt x="4136" y="30030"/>
                    </a:cubicBezTo>
                    <a:cubicBezTo>
                      <a:pt x="1400" y="27104"/>
                      <a:pt x="0" y="22841"/>
                      <a:pt x="0" y="17369"/>
                    </a:cubicBezTo>
                    <a:cubicBezTo>
                      <a:pt x="0" y="13806"/>
                      <a:pt x="573" y="10689"/>
                      <a:pt x="1782" y="8017"/>
                    </a:cubicBezTo>
                    <a:cubicBezTo>
                      <a:pt x="2990" y="5344"/>
                      <a:pt x="4772" y="3308"/>
                      <a:pt x="7190" y="2036"/>
                    </a:cubicBezTo>
                    <a:cubicBezTo>
                      <a:pt x="9607" y="700"/>
                      <a:pt x="12216" y="0"/>
                      <a:pt x="15079" y="0"/>
                    </a:cubicBezTo>
                    <a:cubicBezTo>
                      <a:pt x="18642" y="0"/>
                      <a:pt x="21569" y="891"/>
                      <a:pt x="23859" y="2736"/>
                    </a:cubicBezTo>
                    <a:cubicBezTo>
                      <a:pt x="26149" y="4581"/>
                      <a:pt x="27613" y="7126"/>
                      <a:pt x="28249" y="10434"/>
                    </a:cubicBezTo>
                    <a:lnTo>
                      <a:pt x="22777" y="11261"/>
                    </a:lnTo>
                    <a:cubicBezTo>
                      <a:pt x="22268" y="9035"/>
                      <a:pt x="21378" y="7380"/>
                      <a:pt x="20042" y="6235"/>
                    </a:cubicBezTo>
                    <a:cubicBezTo>
                      <a:pt x="18705" y="5090"/>
                      <a:pt x="17115" y="4581"/>
                      <a:pt x="15270" y="4581"/>
                    </a:cubicBezTo>
                    <a:cubicBezTo>
                      <a:pt x="12470" y="4581"/>
                      <a:pt x="10180" y="5599"/>
                      <a:pt x="8398" y="7635"/>
                    </a:cubicBezTo>
                    <a:cubicBezTo>
                      <a:pt x="6617" y="9671"/>
                      <a:pt x="5726" y="12852"/>
                      <a:pt x="5726" y="17242"/>
                    </a:cubicBezTo>
                    <a:cubicBezTo>
                      <a:pt x="5726" y="21696"/>
                      <a:pt x="6553" y="24877"/>
                      <a:pt x="8271" y="26913"/>
                    </a:cubicBezTo>
                    <a:cubicBezTo>
                      <a:pt x="9989" y="28949"/>
                      <a:pt x="12216" y="29903"/>
                      <a:pt x="14888" y="29903"/>
                    </a:cubicBezTo>
                    <a:cubicBezTo>
                      <a:pt x="17115" y="29903"/>
                      <a:pt x="18896" y="29203"/>
                      <a:pt x="20423" y="27867"/>
                    </a:cubicBezTo>
                    <a:cubicBezTo>
                      <a:pt x="21887" y="26531"/>
                      <a:pt x="22841" y="24495"/>
                      <a:pt x="23223" y="21696"/>
                    </a:cubicBezTo>
                    <a:close/>
                  </a:path>
                </a:pathLst>
              </a:custGeom>
              <a:solidFill>
                <a:srgbClr val="084F45"/>
              </a:solidFill>
              <a:ln w="6361" cap="flat">
                <a:noFill/>
                <a:prstDash val="solid"/>
                <a:miter/>
              </a:ln>
            </p:spPr>
            <p:txBody>
              <a:bodyPr rtlCol="0" anchor="ctr"/>
              <a:lstStyle/>
              <a:p>
                <a:endParaRPr lang="da-DK"/>
              </a:p>
            </p:txBody>
          </p:sp>
          <p:sp>
            <p:nvSpPr>
              <p:cNvPr id="48" name="Freeform: Shape 47">
                <a:extLst>
                  <a:ext uri="{FF2B5EF4-FFF2-40B4-BE49-F238E27FC236}">
                    <a16:creationId xmlns:a16="http://schemas.microsoft.com/office/drawing/2014/main" id="{FDE5C9A9-6ABB-4079-B47B-3E7DCE645605}"/>
                  </a:ext>
                </a:extLst>
              </p:cNvPr>
              <p:cNvSpPr/>
              <p:nvPr/>
            </p:nvSpPr>
            <p:spPr>
              <a:xfrm>
                <a:off x="1532639" y="3552112"/>
                <a:ext cx="30412" cy="34484"/>
              </a:xfrm>
              <a:custGeom>
                <a:avLst/>
                <a:gdLst>
                  <a:gd name="connsiteX0" fmla="*/ 24432 w 30412"/>
                  <a:gd name="connsiteY0" fmla="*/ 23096 h 34484"/>
                  <a:gd name="connsiteX1" fmla="*/ 30221 w 30412"/>
                  <a:gd name="connsiteY1" fmla="*/ 23795 h 34484"/>
                  <a:gd name="connsiteX2" fmla="*/ 25132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108 w 30412"/>
                  <a:gd name="connsiteY16" fmla="*/ 13997 h 34484"/>
                  <a:gd name="connsiteX17" fmla="*/ 24559 w 30412"/>
                  <a:gd name="connsiteY17" fmla="*/ 13997 h 34484"/>
                  <a:gd name="connsiteX18" fmla="*/ 22459 w 30412"/>
                  <a:gd name="connsiteY18" fmla="*/ 7762 h 34484"/>
                  <a:gd name="connsiteX19" fmla="*/ 15524 w 30412"/>
                  <a:gd name="connsiteY19" fmla="*/ 4517 h 34484"/>
                  <a:gd name="connsiteX20" fmla="*/ 9035 w 30412"/>
                  <a:gd name="connsiteY20" fmla="*/ 7126 h 34484"/>
                  <a:gd name="connsiteX21" fmla="*/ 6108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2"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108" y="13997"/>
                    </a:moveTo>
                    <a:lnTo>
                      <a:pt x="24559" y="13997"/>
                    </a:lnTo>
                    <a:cubicBezTo>
                      <a:pt x="24304" y="11198"/>
                      <a:pt x="23605" y="9162"/>
                      <a:pt x="22459" y="7762"/>
                    </a:cubicBezTo>
                    <a:cubicBezTo>
                      <a:pt x="20678" y="5599"/>
                      <a:pt x="18387" y="4517"/>
                      <a:pt x="15524" y="4517"/>
                    </a:cubicBezTo>
                    <a:cubicBezTo>
                      <a:pt x="12979" y="4517"/>
                      <a:pt x="10816" y="5408"/>
                      <a:pt x="9035" y="7126"/>
                    </a:cubicBezTo>
                    <a:cubicBezTo>
                      <a:pt x="7253" y="8844"/>
                      <a:pt x="6299" y="11134"/>
                      <a:pt x="6108" y="13997"/>
                    </a:cubicBezTo>
                    <a:close/>
                  </a:path>
                </a:pathLst>
              </a:custGeom>
              <a:solidFill>
                <a:srgbClr val="084F45"/>
              </a:solidFill>
              <a:ln w="6361" cap="flat">
                <a:noFill/>
                <a:prstDash val="solid"/>
                <a:miter/>
              </a:ln>
            </p:spPr>
            <p:txBody>
              <a:bodyPr rtlCol="0" anchor="ctr"/>
              <a:lstStyle/>
              <a:p>
                <a:endParaRPr lang="da-DK"/>
              </a:p>
            </p:txBody>
          </p:sp>
          <p:sp>
            <p:nvSpPr>
              <p:cNvPr id="49" name="Freeform: Shape 48">
                <a:extLst>
                  <a:ext uri="{FF2B5EF4-FFF2-40B4-BE49-F238E27FC236}">
                    <a16:creationId xmlns:a16="http://schemas.microsoft.com/office/drawing/2014/main" id="{2D20234F-477D-42B4-9888-93D395A78A11}"/>
                  </a:ext>
                </a:extLst>
              </p:cNvPr>
              <p:cNvSpPr/>
              <p:nvPr/>
            </p:nvSpPr>
            <p:spPr>
              <a:xfrm>
                <a:off x="1567632"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50" name="Freeform: Shape 49">
                <a:extLst>
                  <a:ext uri="{FF2B5EF4-FFF2-40B4-BE49-F238E27FC236}">
                    <a16:creationId xmlns:a16="http://schemas.microsoft.com/office/drawing/2014/main" id="{21047D56-8A8C-467B-B787-ABA66F86B940}"/>
                  </a:ext>
                </a:extLst>
              </p:cNvPr>
              <p:cNvSpPr/>
              <p:nvPr/>
            </p:nvSpPr>
            <p:spPr>
              <a:xfrm>
                <a:off x="1599444"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51" name="Freeform: Shape 50">
                <a:extLst>
                  <a:ext uri="{FF2B5EF4-FFF2-40B4-BE49-F238E27FC236}">
                    <a16:creationId xmlns:a16="http://schemas.microsoft.com/office/drawing/2014/main" id="{01D03925-65ED-415C-AD8D-161566E60C26}"/>
                  </a:ext>
                </a:extLst>
              </p:cNvPr>
              <p:cNvSpPr/>
              <p:nvPr/>
            </p:nvSpPr>
            <p:spPr>
              <a:xfrm>
                <a:off x="1631701" y="3552112"/>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52" name="Freeform: Shape 51">
                <a:extLst>
                  <a:ext uri="{FF2B5EF4-FFF2-40B4-BE49-F238E27FC236}">
                    <a16:creationId xmlns:a16="http://schemas.microsoft.com/office/drawing/2014/main" id="{D3F05160-4E0A-469B-AAAA-59E5ECEBE6E8}"/>
                  </a:ext>
                </a:extLst>
              </p:cNvPr>
              <p:cNvSpPr/>
              <p:nvPr/>
            </p:nvSpPr>
            <p:spPr>
              <a:xfrm>
                <a:off x="166885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544"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53" name="Freeform: Shape 52">
                <a:extLst>
                  <a:ext uri="{FF2B5EF4-FFF2-40B4-BE49-F238E27FC236}">
                    <a16:creationId xmlns:a16="http://schemas.microsoft.com/office/drawing/2014/main" id="{E0AFDA0A-A46C-40D1-8DDD-1E20115EAC7B}"/>
                  </a:ext>
                </a:extLst>
              </p:cNvPr>
              <p:cNvSpPr/>
              <p:nvPr/>
            </p:nvSpPr>
            <p:spPr>
              <a:xfrm>
                <a:off x="1688136" y="3579470"/>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sp>
            <p:nvSpPr>
              <p:cNvPr id="54" name="Freeform: Shape 53">
                <a:extLst>
                  <a:ext uri="{FF2B5EF4-FFF2-40B4-BE49-F238E27FC236}">
                    <a16:creationId xmlns:a16="http://schemas.microsoft.com/office/drawing/2014/main" id="{C5513A0D-0130-4B6D-B144-9606D16633D3}"/>
                  </a:ext>
                </a:extLst>
              </p:cNvPr>
              <p:cNvSpPr/>
              <p:nvPr/>
            </p:nvSpPr>
            <p:spPr>
              <a:xfrm>
                <a:off x="1202812" y="3622989"/>
                <a:ext cx="35883" cy="45554"/>
              </a:xfrm>
              <a:custGeom>
                <a:avLst/>
                <a:gdLst>
                  <a:gd name="connsiteX0" fmla="*/ 0 w 35883"/>
                  <a:gd name="connsiteY0" fmla="*/ 45555 h 45554"/>
                  <a:gd name="connsiteX1" fmla="*/ 0 w 35883"/>
                  <a:gd name="connsiteY1" fmla="*/ 0 h 45554"/>
                  <a:gd name="connsiteX2" fmla="*/ 6172 w 35883"/>
                  <a:gd name="connsiteY2" fmla="*/ 0 h 45554"/>
                  <a:gd name="connsiteX3" fmla="*/ 30094 w 35883"/>
                  <a:gd name="connsiteY3" fmla="*/ 35757 h 45554"/>
                  <a:gd name="connsiteX4" fmla="*/ 30094 w 35883"/>
                  <a:gd name="connsiteY4" fmla="*/ 0 h 45554"/>
                  <a:gd name="connsiteX5" fmla="*/ 35884 w 35883"/>
                  <a:gd name="connsiteY5" fmla="*/ 0 h 45554"/>
                  <a:gd name="connsiteX6" fmla="*/ 35884 w 35883"/>
                  <a:gd name="connsiteY6" fmla="*/ 45555 h 45554"/>
                  <a:gd name="connsiteX7" fmla="*/ 29712 w 35883"/>
                  <a:gd name="connsiteY7" fmla="*/ 45555 h 45554"/>
                  <a:gd name="connsiteX8" fmla="*/ 5790 w 35883"/>
                  <a:gd name="connsiteY8" fmla="*/ 9798 h 45554"/>
                  <a:gd name="connsiteX9" fmla="*/ 5790 w 35883"/>
                  <a:gd name="connsiteY9" fmla="*/ 45555 h 45554"/>
                  <a:gd name="connsiteX10" fmla="*/ 0 w 35883"/>
                  <a:gd name="connsiteY10"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83" h="45554">
                    <a:moveTo>
                      <a:pt x="0" y="45555"/>
                    </a:moveTo>
                    <a:lnTo>
                      <a:pt x="0" y="0"/>
                    </a:lnTo>
                    <a:lnTo>
                      <a:pt x="6172" y="0"/>
                    </a:lnTo>
                    <a:lnTo>
                      <a:pt x="30094" y="35757"/>
                    </a:lnTo>
                    <a:lnTo>
                      <a:pt x="30094" y="0"/>
                    </a:lnTo>
                    <a:lnTo>
                      <a:pt x="35884" y="0"/>
                    </a:lnTo>
                    <a:lnTo>
                      <a:pt x="35884" y="45555"/>
                    </a:lnTo>
                    <a:lnTo>
                      <a:pt x="29712" y="45555"/>
                    </a:lnTo>
                    <a:lnTo>
                      <a:pt x="5790" y="9798"/>
                    </a:lnTo>
                    <a:lnTo>
                      <a:pt x="5790" y="45555"/>
                    </a:lnTo>
                    <a:lnTo>
                      <a:pt x="0" y="45555"/>
                    </a:lnTo>
                    <a:close/>
                  </a:path>
                </a:pathLst>
              </a:custGeom>
              <a:solidFill>
                <a:srgbClr val="084F45"/>
              </a:solidFill>
              <a:ln w="6361" cap="flat">
                <a:noFill/>
                <a:prstDash val="solid"/>
                <a:miter/>
              </a:ln>
            </p:spPr>
            <p:txBody>
              <a:bodyPr rtlCol="0" anchor="ctr"/>
              <a:lstStyle/>
              <a:p>
                <a:endParaRPr lang="da-DK"/>
              </a:p>
            </p:txBody>
          </p:sp>
          <p:sp>
            <p:nvSpPr>
              <p:cNvPr id="55" name="Freeform: Shape 54">
                <a:extLst>
                  <a:ext uri="{FF2B5EF4-FFF2-40B4-BE49-F238E27FC236}">
                    <a16:creationId xmlns:a16="http://schemas.microsoft.com/office/drawing/2014/main" id="{2A9D6820-070B-4651-A6AE-C2B18E17C40B}"/>
                  </a:ext>
                </a:extLst>
              </p:cNvPr>
              <p:cNvSpPr/>
              <p:nvPr/>
            </p:nvSpPr>
            <p:spPr>
              <a:xfrm>
                <a:off x="1244931" y="3635523"/>
                <a:ext cx="30284" cy="46381"/>
              </a:xfrm>
              <a:custGeom>
                <a:avLst/>
                <a:gdLst>
                  <a:gd name="connsiteX0" fmla="*/ 2927 w 30284"/>
                  <a:gd name="connsiteY0" fmla="*/ 45682 h 46381"/>
                  <a:gd name="connsiteX1" fmla="*/ 2290 w 30284"/>
                  <a:gd name="connsiteY1" fmla="*/ 40401 h 46381"/>
                  <a:gd name="connsiteX2" fmla="*/ 5472 w 30284"/>
                  <a:gd name="connsiteY2" fmla="*/ 40910 h 46381"/>
                  <a:gd name="connsiteX3" fmla="*/ 8462 w 30284"/>
                  <a:gd name="connsiteY3" fmla="*/ 40274 h 46381"/>
                  <a:gd name="connsiteX4" fmla="*/ 10307 w 30284"/>
                  <a:gd name="connsiteY4" fmla="*/ 38556 h 46381"/>
                  <a:gd name="connsiteX5" fmla="*/ 12025 w 30284"/>
                  <a:gd name="connsiteY5" fmla="*/ 34421 h 46381"/>
                  <a:gd name="connsiteX6" fmla="*/ 12534 w 30284"/>
                  <a:gd name="connsiteY6" fmla="*/ 33085 h 46381"/>
                  <a:gd name="connsiteX7" fmla="*/ 0 w 30284"/>
                  <a:gd name="connsiteY7" fmla="*/ 0 h 46381"/>
                  <a:gd name="connsiteX8" fmla="*/ 6044 w 30284"/>
                  <a:gd name="connsiteY8" fmla="*/ 0 h 46381"/>
                  <a:gd name="connsiteX9" fmla="*/ 12916 w 30284"/>
                  <a:gd name="connsiteY9" fmla="*/ 19087 h 46381"/>
                  <a:gd name="connsiteX10" fmla="*/ 15333 w 30284"/>
                  <a:gd name="connsiteY10" fmla="*/ 26722 h 46381"/>
                  <a:gd name="connsiteX11" fmla="*/ 17624 w 30284"/>
                  <a:gd name="connsiteY11" fmla="*/ 19215 h 46381"/>
                  <a:gd name="connsiteX12" fmla="*/ 24686 w 30284"/>
                  <a:gd name="connsiteY12" fmla="*/ 0 h 46381"/>
                  <a:gd name="connsiteX13" fmla="*/ 30285 w 30284"/>
                  <a:gd name="connsiteY13" fmla="*/ 0 h 46381"/>
                  <a:gd name="connsiteX14" fmla="*/ 17751 w 30284"/>
                  <a:gd name="connsiteY14" fmla="*/ 33530 h 46381"/>
                  <a:gd name="connsiteX15" fmla="*/ 14633 w 30284"/>
                  <a:gd name="connsiteY15" fmla="*/ 41037 h 46381"/>
                  <a:gd name="connsiteX16" fmla="*/ 11198 w 30284"/>
                  <a:gd name="connsiteY16" fmla="*/ 45109 h 46381"/>
                  <a:gd name="connsiteX17" fmla="*/ 6617 w 30284"/>
                  <a:gd name="connsiteY17" fmla="*/ 46382 h 46381"/>
                  <a:gd name="connsiteX18" fmla="*/ 2927 w 30284"/>
                  <a:gd name="connsiteY18" fmla="*/ 45682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284" h="46381">
                    <a:moveTo>
                      <a:pt x="2927" y="45682"/>
                    </a:moveTo>
                    <a:lnTo>
                      <a:pt x="2290" y="40401"/>
                    </a:lnTo>
                    <a:cubicBezTo>
                      <a:pt x="3499" y="40719"/>
                      <a:pt x="4581" y="40910"/>
                      <a:pt x="5472" y="40910"/>
                    </a:cubicBezTo>
                    <a:cubicBezTo>
                      <a:pt x="6744" y="40910"/>
                      <a:pt x="7698" y="40719"/>
                      <a:pt x="8462" y="40274"/>
                    </a:cubicBezTo>
                    <a:cubicBezTo>
                      <a:pt x="9225" y="39829"/>
                      <a:pt x="9798" y="39256"/>
                      <a:pt x="10307" y="38556"/>
                    </a:cubicBezTo>
                    <a:cubicBezTo>
                      <a:pt x="10625" y="37983"/>
                      <a:pt x="11198" y="36584"/>
                      <a:pt x="12025" y="34421"/>
                    </a:cubicBezTo>
                    <a:cubicBezTo>
                      <a:pt x="12152" y="34103"/>
                      <a:pt x="12279" y="33657"/>
                      <a:pt x="12534" y="33085"/>
                    </a:cubicBezTo>
                    <a:lnTo>
                      <a:pt x="0" y="0"/>
                    </a:lnTo>
                    <a:lnTo>
                      <a:pt x="6044" y="0"/>
                    </a:lnTo>
                    <a:lnTo>
                      <a:pt x="12916" y="19087"/>
                    </a:lnTo>
                    <a:cubicBezTo>
                      <a:pt x="13806" y="21505"/>
                      <a:pt x="14633" y="24050"/>
                      <a:pt x="15333" y="26722"/>
                    </a:cubicBezTo>
                    <a:cubicBezTo>
                      <a:pt x="15970" y="24177"/>
                      <a:pt x="16733" y="21632"/>
                      <a:pt x="17624" y="19215"/>
                    </a:cubicBezTo>
                    <a:lnTo>
                      <a:pt x="24686" y="0"/>
                    </a:lnTo>
                    <a:lnTo>
                      <a:pt x="30285" y="0"/>
                    </a:lnTo>
                    <a:lnTo>
                      <a:pt x="17751" y="33530"/>
                    </a:lnTo>
                    <a:cubicBezTo>
                      <a:pt x="16415" y="37156"/>
                      <a:pt x="15333" y="39638"/>
                      <a:pt x="14633" y="41037"/>
                    </a:cubicBezTo>
                    <a:cubicBezTo>
                      <a:pt x="13616" y="42883"/>
                      <a:pt x="12470" y="44219"/>
                      <a:pt x="11198" y="45109"/>
                    </a:cubicBezTo>
                    <a:cubicBezTo>
                      <a:pt x="9925" y="46000"/>
                      <a:pt x="8398" y="46382"/>
                      <a:pt x="6617" y="46382"/>
                    </a:cubicBezTo>
                    <a:cubicBezTo>
                      <a:pt x="5472" y="46382"/>
                      <a:pt x="4263" y="46127"/>
                      <a:pt x="2927" y="45682"/>
                    </a:cubicBezTo>
                    <a:close/>
                  </a:path>
                </a:pathLst>
              </a:custGeom>
              <a:solidFill>
                <a:srgbClr val="084F45"/>
              </a:solidFill>
              <a:ln w="6361" cap="flat">
                <a:noFill/>
                <a:prstDash val="solid"/>
                <a:miter/>
              </a:ln>
            </p:spPr>
            <p:txBody>
              <a:bodyPr rtlCol="0" anchor="ctr"/>
              <a:lstStyle/>
              <a:p>
                <a:endParaRPr lang="da-DK"/>
              </a:p>
            </p:txBody>
          </p:sp>
          <p:sp>
            <p:nvSpPr>
              <p:cNvPr id="56" name="Freeform: Shape 55">
                <a:extLst>
                  <a:ext uri="{FF2B5EF4-FFF2-40B4-BE49-F238E27FC236}">
                    <a16:creationId xmlns:a16="http://schemas.microsoft.com/office/drawing/2014/main" id="{85FAA57B-7CCE-4432-957E-B64AF61A6E9B}"/>
                  </a:ext>
                </a:extLst>
              </p:cNvPr>
              <p:cNvSpPr/>
              <p:nvPr/>
            </p:nvSpPr>
            <p:spPr>
              <a:xfrm>
                <a:off x="1278143" y="3634823"/>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96"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57" name="Freeform: Shape 56">
                <a:extLst>
                  <a:ext uri="{FF2B5EF4-FFF2-40B4-BE49-F238E27FC236}">
                    <a16:creationId xmlns:a16="http://schemas.microsoft.com/office/drawing/2014/main" id="{6D33F593-9BE8-4A2B-ABC0-8535597D24E3}"/>
                  </a:ext>
                </a:extLst>
              </p:cNvPr>
              <p:cNvSpPr/>
              <p:nvPr/>
            </p:nvSpPr>
            <p:spPr>
              <a:xfrm>
                <a:off x="1332987" y="3634823"/>
                <a:ext cx="44727" cy="33784"/>
              </a:xfrm>
              <a:custGeom>
                <a:avLst/>
                <a:gdLst>
                  <a:gd name="connsiteX0" fmla="*/ 0 w 44727"/>
                  <a:gd name="connsiteY0" fmla="*/ 33721 h 33784"/>
                  <a:gd name="connsiteX1" fmla="*/ 0 w 44727"/>
                  <a:gd name="connsiteY1" fmla="*/ 700 h 33784"/>
                  <a:gd name="connsiteX2" fmla="*/ 5026 w 44727"/>
                  <a:gd name="connsiteY2" fmla="*/ 700 h 33784"/>
                  <a:gd name="connsiteX3" fmla="*/ 5026 w 44727"/>
                  <a:gd name="connsiteY3" fmla="*/ 5344 h 33784"/>
                  <a:gd name="connsiteX4" fmla="*/ 9162 w 44727"/>
                  <a:gd name="connsiteY4" fmla="*/ 1463 h 33784"/>
                  <a:gd name="connsiteX5" fmla="*/ 15015 w 44727"/>
                  <a:gd name="connsiteY5" fmla="*/ 0 h 33784"/>
                  <a:gd name="connsiteX6" fmla="*/ 21060 w 44727"/>
                  <a:gd name="connsiteY6" fmla="*/ 1527 h 33784"/>
                  <a:gd name="connsiteX7" fmla="*/ 24368 w 44727"/>
                  <a:gd name="connsiteY7" fmla="*/ 5790 h 33784"/>
                  <a:gd name="connsiteX8" fmla="*/ 34548 w 44727"/>
                  <a:gd name="connsiteY8" fmla="*/ 0 h 33784"/>
                  <a:gd name="connsiteX9" fmla="*/ 42119 w 44727"/>
                  <a:gd name="connsiteY9" fmla="*/ 2736 h 33784"/>
                  <a:gd name="connsiteX10" fmla="*/ 44728 w 44727"/>
                  <a:gd name="connsiteY10" fmla="*/ 11134 h 33784"/>
                  <a:gd name="connsiteX11" fmla="*/ 44728 w 44727"/>
                  <a:gd name="connsiteY11" fmla="*/ 33784 h 33784"/>
                  <a:gd name="connsiteX12" fmla="*/ 39192 w 44727"/>
                  <a:gd name="connsiteY12" fmla="*/ 33784 h 33784"/>
                  <a:gd name="connsiteX13" fmla="*/ 39192 w 44727"/>
                  <a:gd name="connsiteY13" fmla="*/ 12979 h 33784"/>
                  <a:gd name="connsiteX14" fmla="*/ 38620 w 44727"/>
                  <a:gd name="connsiteY14" fmla="*/ 8144 h 33784"/>
                  <a:gd name="connsiteX15" fmla="*/ 36647 w 44727"/>
                  <a:gd name="connsiteY15" fmla="*/ 5790 h 33784"/>
                  <a:gd name="connsiteX16" fmla="*/ 33275 w 44727"/>
                  <a:gd name="connsiteY16" fmla="*/ 4899 h 33784"/>
                  <a:gd name="connsiteX17" fmla="*/ 27486 w 44727"/>
                  <a:gd name="connsiteY17" fmla="*/ 7190 h 33784"/>
                  <a:gd name="connsiteX18" fmla="*/ 25195 w 44727"/>
                  <a:gd name="connsiteY18" fmla="*/ 14570 h 33784"/>
                  <a:gd name="connsiteX19" fmla="*/ 25195 w 44727"/>
                  <a:gd name="connsiteY19" fmla="*/ 33721 h 33784"/>
                  <a:gd name="connsiteX20" fmla="*/ 19596 w 44727"/>
                  <a:gd name="connsiteY20" fmla="*/ 33721 h 33784"/>
                  <a:gd name="connsiteX21" fmla="*/ 19596 w 44727"/>
                  <a:gd name="connsiteY21" fmla="*/ 12279 h 33784"/>
                  <a:gd name="connsiteX22" fmla="*/ 18260 w 44727"/>
                  <a:gd name="connsiteY22" fmla="*/ 6680 h 33784"/>
                  <a:gd name="connsiteX23" fmla="*/ 13806 w 44727"/>
                  <a:gd name="connsiteY23" fmla="*/ 4835 h 33784"/>
                  <a:gd name="connsiteX24" fmla="*/ 9416 w 44727"/>
                  <a:gd name="connsiteY24" fmla="*/ 6108 h 33784"/>
                  <a:gd name="connsiteX25" fmla="*/ 6490 w 44727"/>
                  <a:gd name="connsiteY25" fmla="*/ 9734 h 33784"/>
                  <a:gd name="connsiteX26" fmla="*/ 5599 w 44727"/>
                  <a:gd name="connsiteY26" fmla="*/ 16606 h 33784"/>
                  <a:gd name="connsiteX27" fmla="*/ 5599 w 44727"/>
                  <a:gd name="connsiteY27" fmla="*/ 33721 h 33784"/>
                  <a:gd name="connsiteX28" fmla="*/ 0 w 44727"/>
                  <a:gd name="connsiteY28"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727" h="33784">
                    <a:moveTo>
                      <a:pt x="0" y="33721"/>
                    </a:moveTo>
                    <a:lnTo>
                      <a:pt x="0" y="700"/>
                    </a:lnTo>
                    <a:lnTo>
                      <a:pt x="5026" y="700"/>
                    </a:lnTo>
                    <a:lnTo>
                      <a:pt x="5026" y="5344"/>
                    </a:lnTo>
                    <a:cubicBezTo>
                      <a:pt x="6044" y="3754"/>
                      <a:pt x="7444" y="2418"/>
                      <a:pt x="9162" y="1463"/>
                    </a:cubicBezTo>
                    <a:cubicBezTo>
                      <a:pt x="10880" y="509"/>
                      <a:pt x="12852" y="0"/>
                      <a:pt x="15015" y="0"/>
                    </a:cubicBezTo>
                    <a:cubicBezTo>
                      <a:pt x="17433" y="0"/>
                      <a:pt x="19469" y="509"/>
                      <a:pt x="21060" y="1527"/>
                    </a:cubicBezTo>
                    <a:cubicBezTo>
                      <a:pt x="22650" y="2545"/>
                      <a:pt x="23732" y="3945"/>
                      <a:pt x="24368" y="5790"/>
                    </a:cubicBezTo>
                    <a:cubicBezTo>
                      <a:pt x="26977" y="1909"/>
                      <a:pt x="30349" y="0"/>
                      <a:pt x="34548" y="0"/>
                    </a:cubicBezTo>
                    <a:cubicBezTo>
                      <a:pt x="37793" y="0"/>
                      <a:pt x="40338" y="891"/>
                      <a:pt x="42119" y="2736"/>
                    </a:cubicBezTo>
                    <a:cubicBezTo>
                      <a:pt x="43901" y="4581"/>
                      <a:pt x="44728" y="7317"/>
                      <a:pt x="44728" y="11134"/>
                    </a:cubicBezTo>
                    <a:lnTo>
                      <a:pt x="44728" y="33784"/>
                    </a:lnTo>
                    <a:lnTo>
                      <a:pt x="39192" y="33784"/>
                    </a:lnTo>
                    <a:lnTo>
                      <a:pt x="39192" y="12979"/>
                    </a:lnTo>
                    <a:cubicBezTo>
                      <a:pt x="39192" y="10752"/>
                      <a:pt x="39001" y="9162"/>
                      <a:pt x="38620" y="8144"/>
                    </a:cubicBezTo>
                    <a:cubicBezTo>
                      <a:pt x="38238" y="7190"/>
                      <a:pt x="37602" y="6362"/>
                      <a:pt x="36647" y="5790"/>
                    </a:cubicBezTo>
                    <a:cubicBezTo>
                      <a:pt x="35693" y="5217"/>
                      <a:pt x="34548" y="4899"/>
                      <a:pt x="33275" y="4899"/>
                    </a:cubicBezTo>
                    <a:cubicBezTo>
                      <a:pt x="30985" y="4899"/>
                      <a:pt x="29013" y="5662"/>
                      <a:pt x="27486" y="7190"/>
                    </a:cubicBezTo>
                    <a:cubicBezTo>
                      <a:pt x="25959" y="8716"/>
                      <a:pt x="25195" y="11198"/>
                      <a:pt x="25195" y="14570"/>
                    </a:cubicBezTo>
                    <a:lnTo>
                      <a:pt x="25195" y="33721"/>
                    </a:lnTo>
                    <a:lnTo>
                      <a:pt x="19596" y="33721"/>
                    </a:lnTo>
                    <a:lnTo>
                      <a:pt x="19596" y="12279"/>
                    </a:lnTo>
                    <a:cubicBezTo>
                      <a:pt x="19596" y="9798"/>
                      <a:pt x="19151" y="7953"/>
                      <a:pt x="18260" y="6680"/>
                    </a:cubicBezTo>
                    <a:cubicBezTo>
                      <a:pt x="17369" y="5408"/>
                      <a:pt x="15842" y="4835"/>
                      <a:pt x="13806" y="4835"/>
                    </a:cubicBezTo>
                    <a:cubicBezTo>
                      <a:pt x="12216" y="4835"/>
                      <a:pt x="10752" y="5281"/>
                      <a:pt x="9416" y="6108"/>
                    </a:cubicBezTo>
                    <a:cubicBezTo>
                      <a:pt x="8080" y="6935"/>
                      <a:pt x="7126" y="8144"/>
                      <a:pt x="6490" y="9734"/>
                    </a:cubicBezTo>
                    <a:cubicBezTo>
                      <a:pt x="5917" y="11325"/>
                      <a:pt x="5599" y="13615"/>
                      <a:pt x="5599" y="16606"/>
                    </a:cubicBezTo>
                    <a:lnTo>
                      <a:pt x="5599" y="33721"/>
                    </a:lnTo>
                    <a:lnTo>
                      <a:pt x="0" y="33721"/>
                    </a:lnTo>
                    <a:close/>
                  </a:path>
                </a:pathLst>
              </a:custGeom>
              <a:solidFill>
                <a:srgbClr val="084F45"/>
              </a:solidFill>
              <a:ln w="6361" cap="flat">
                <a:noFill/>
                <a:prstDash val="solid"/>
                <a:miter/>
              </a:ln>
            </p:spPr>
            <p:txBody>
              <a:bodyPr rtlCol="0" anchor="ctr"/>
              <a:lstStyle/>
              <a:p>
                <a:endParaRPr lang="da-DK"/>
              </a:p>
            </p:txBody>
          </p:sp>
          <p:sp>
            <p:nvSpPr>
              <p:cNvPr id="58" name="Freeform: Shape 57">
                <a:extLst>
                  <a:ext uri="{FF2B5EF4-FFF2-40B4-BE49-F238E27FC236}">
                    <a16:creationId xmlns:a16="http://schemas.microsoft.com/office/drawing/2014/main" id="{802A53C9-5EC9-4B64-98E9-3ADB224B6428}"/>
                  </a:ext>
                </a:extLst>
              </p:cNvPr>
              <p:cNvSpPr/>
              <p:nvPr/>
            </p:nvSpPr>
            <p:spPr>
              <a:xfrm>
                <a:off x="1385858" y="3635586"/>
                <a:ext cx="26658" cy="33720"/>
              </a:xfrm>
              <a:custGeom>
                <a:avLst/>
                <a:gdLst>
                  <a:gd name="connsiteX0" fmla="*/ 21759 w 26658"/>
                  <a:gd name="connsiteY0" fmla="*/ 32957 h 33720"/>
                  <a:gd name="connsiteX1" fmla="*/ 21759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759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759" y="32957"/>
                    </a:moveTo>
                    <a:lnTo>
                      <a:pt x="21759" y="28122"/>
                    </a:lnTo>
                    <a:cubicBezTo>
                      <a:pt x="19214" y="31876"/>
                      <a:pt x="15715"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99" y="25704"/>
                      <a:pt x="6999" y="26849"/>
                      <a:pt x="8144" y="27676"/>
                    </a:cubicBezTo>
                    <a:cubicBezTo>
                      <a:pt x="9289" y="28504"/>
                      <a:pt x="10689" y="28949"/>
                      <a:pt x="12343" y="28949"/>
                    </a:cubicBezTo>
                    <a:cubicBezTo>
                      <a:pt x="13997" y="28949"/>
                      <a:pt x="15588" y="28504"/>
                      <a:pt x="17051" y="27676"/>
                    </a:cubicBezTo>
                    <a:cubicBezTo>
                      <a:pt x="18515" y="26849"/>
                      <a:pt x="19533" y="25640"/>
                      <a:pt x="20169" y="24177"/>
                    </a:cubicBezTo>
                    <a:cubicBezTo>
                      <a:pt x="20805" y="22714"/>
                      <a:pt x="21059" y="20551"/>
                      <a:pt x="21059" y="17751"/>
                    </a:cubicBezTo>
                    <a:lnTo>
                      <a:pt x="21059" y="64"/>
                    </a:lnTo>
                    <a:lnTo>
                      <a:pt x="26658" y="64"/>
                    </a:lnTo>
                    <a:lnTo>
                      <a:pt x="26658" y="33085"/>
                    </a:lnTo>
                    <a:lnTo>
                      <a:pt x="21759" y="33085"/>
                    </a:lnTo>
                    <a:close/>
                  </a:path>
                </a:pathLst>
              </a:custGeom>
              <a:solidFill>
                <a:srgbClr val="084F45"/>
              </a:solidFill>
              <a:ln w="6361" cap="flat">
                <a:noFill/>
                <a:prstDash val="solid"/>
                <a:miter/>
              </a:ln>
            </p:spPr>
            <p:txBody>
              <a:bodyPr rtlCol="0" anchor="ctr"/>
              <a:lstStyle/>
              <a:p>
                <a:endParaRPr lang="da-DK"/>
              </a:p>
            </p:txBody>
          </p:sp>
          <p:sp>
            <p:nvSpPr>
              <p:cNvPr id="59" name="Freeform: Shape 58">
                <a:extLst>
                  <a:ext uri="{FF2B5EF4-FFF2-40B4-BE49-F238E27FC236}">
                    <a16:creationId xmlns:a16="http://schemas.microsoft.com/office/drawing/2014/main" id="{095563D4-FF97-4E7E-A5EC-04C44C4B3277}"/>
                  </a:ext>
                </a:extLst>
              </p:cNvPr>
              <p:cNvSpPr/>
              <p:nvPr/>
            </p:nvSpPr>
            <p:spPr>
              <a:xfrm>
                <a:off x="1421233" y="3622989"/>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60" name="Freeform: Shape 59">
                <a:extLst>
                  <a:ext uri="{FF2B5EF4-FFF2-40B4-BE49-F238E27FC236}">
                    <a16:creationId xmlns:a16="http://schemas.microsoft.com/office/drawing/2014/main" id="{6480FAD5-D4CE-4ECB-B119-C6D3CDD773BA}"/>
                  </a:ext>
                </a:extLst>
              </p:cNvPr>
              <p:cNvSpPr/>
              <p:nvPr/>
            </p:nvSpPr>
            <p:spPr>
              <a:xfrm>
                <a:off x="1435549" y="3622989"/>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61" name="Freeform: Shape 60">
                <a:extLst>
                  <a:ext uri="{FF2B5EF4-FFF2-40B4-BE49-F238E27FC236}">
                    <a16:creationId xmlns:a16="http://schemas.microsoft.com/office/drawing/2014/main" id="{8B068AF5-D570-4E87-80BB-D7B2AB50233C}"/>
                  </a:ext>
                </a:extLst>
              </p:cNvPr>
              <p:cNvSpPr/>
              <p:nvPr/>
            </p:nvSpPr>
            <p:spPr>
              <a:xfrm>
                <a:off x="1447383" y="3634823"/>
                <a:ext cx="29076" cy="47145"/>
              </a:xfrm>
              <a:custGeom>
                <a:avLst/>
                <a:gdLst>
                  <a:gd name="connsiteX0" fmla="*/ 1209 w 29076"/>
                  <a:gd name="connsiteY0" fmla="*/ 36393 h 47145"/>
                  <a:gd name="connsiteX1" fmla="*/ 6617 w 29076"/>
                  <a:gd name="connsiteY1" fmla="*/ 37220 h 47145"/>
                  <a:gd name="connsiteX2" fmla="*/ 8526 w 29076"/>
                  <a:gd name="connsiteY2" fmla="*/ 40910 h 47145"/>
                  <a:gd name="connsiteX3" fmla="*/ 14188 w 29076"/>
                  <a:gd name="connsiteY3" fmla="*/ 42437 h 47145"/>
                  <a:gd name="connsiteX4" fmla="*/ 20169 w 29076"/>
                  <a:gd name="connsiteY4" fmla="*/ 40910 h 47145"/>
                  <a:gd name="connsiteX5" fmla="*/ 23032 w 29076"/>
                  <a:gd name="connsiteY5" fmla="*/ 36584 h 47145"/>
                  <a:gd name="connsiteX6" fmla="*/ 23414 w 29076"/>
                  <a:gd name="connsiteY6" fmla="*/ 29394 h 47145"/>
                  <a:gd name="connsiteX7" fmla="*/ 14252 w 29076"/>
                  <a:gd name="connsiteY7" fmla="*/ 33721 h 47145"/>
                  <a:gd name="connsiteX8" fmla="*/ 3754 w 29076"/>
                  <a:gd name="connsiteY8" fmla="*/ 28822 h 47145"/>
                  <a:gd name="connsiteX9" fmla="*/ 0 w 29076"/>
                  <a:gd name="connsiteY9" fmla="*/ 17051 h 47145"/>
                  <a:gd name="connsiteX10" fmla="*/ 1718 w 29076"/>
                  <a:gd name="connsiteY10" fmla="*/ 8335 h 47145"/>
                  <a:gd name="connsiteX11" fmla="*/ 6681 w 29076"/>
                  <a:gd name="connsiteY11" fmla="*/ 2163 h 47145"/>
                  <a:gd name="connsiteX12" fmla="*/ 14315 w 29076"/>
                  <a:gd name="connsiteY12" fmla="*/ 0 h 47145"/>
                  <a:gd name="connsiteX13" fmla="*/ 23923 w 29076"/>
                  <a:gd name="connsiteY13" fmla="*/ 4708 h 47145"/>
                  <a:gd name="connsiteX14" fmla="*/ 23923 w 29076"/>
                  <a:gd name="connsiteY14" fmla="*/ 763 h 47145"/>
                  <a:gd name="connsiteX15" fmla="*/ 29076 w 29076"/>
                  <a:gd name="connsiteY15" fmla="*/ 763 h 47145"/>
                  <a:gd name="connsiteX16" fmla="*/ 29076 w 29076"/>
                  <a:gd name="connsiteY16" fmla="*/ 29267 h 47145"/>
                  <a:gd name="connsiteX17" fmla="*/ 27485 w 29076"/>
                  <a:gd name="connsiteY17" fmla="*/ 40210 h 47145"/>
                  <a:gd name="connsiteX18" fmla="*/ 22523 w 29076"/>
                  <a:gd name="connsiteY18" fmla="*/ 45300 h 47145"/>
                  <a:gd name="connsiteX19" fmla="*/ 14125 w 29076"/>
                  <a:gd name="connsiteY19" fmla="*/ 47145 h 47145"/>
                  <a:gd name="connsiteX20" fmla="*/ 4581 w 29076"/>
                  <a:gd name="connsiteY20" fmla="*/ 44473 h 47145"/>
                  <a:gd name="connsiteX21" fmla="*/ 1209 w 29076"/>
                  <a:gd name="connsiteY21" fmla="*/ 36393 h 47145"/>
                  <a:gd name="connsiteX22" fmla="*/ 5853 w 29076"/>
                  <a:gd name="connsiteY22" fmla="*/ 16606 h 47145"/>
                  <a:gd name="connsiteX23" fmla="*/ 8462 w 29076"/>
                  <a:gd name="connsiteY23" fmla="*/ 26086 h 47145"/>
                  <a:gd name="connsiteX24" fmla="*/ 14952 w 29076"/>
                  <a:gd name="connsiteY24" fmla="*/ 29076 h 47145"/>
                  <a:gd name="connsiteX25" fmla="*/ 21441 w 29076"/>
                  <a:gd name="connsiteY25" fmla="*/ 26086 h 47145"/>
                  <a:gd name="connsiteX26" fmla="*/ 24050 w 29076"/>
                  <a:gd name="connsiteY26" fmla="*/ 16797 h 47145"/>
                  <a:gd name="connsiteX27" fmla="*/ 21378 w 29076"/>
                  <a:gd name="connsiteY27" fmla="*/ 7635 h 47145"/>
                  <a:gd name="connsiteX28" fmla="*/ 14888 w 29076"/>
                  <a:gd name="connsiteY28" fmla="*/ 4581 h 47145"/>
                  <a:gd name="connsiteX29" fmla="*/ 8526 w 29076"/>
                  <a:gd name="connsiteY29" fmla="*/ 7635 h 47145"/>
                  <a:gd name="connsiteX30" fmla="*/ 5853 w 29076"/>
                  <a:gd name="connsiteY30" fmla="*/ 16606 h 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076" h="47145">
                    <a:moveTo>
                      <a:pt x="1209" y="36393"/>
                    </a:moveTo>
                    <a:lnTo>
                      <a:pt x="6617" y="37220"/>
                    </a:lnTo>
                    <a:cubicBezTo>
                      <a:pt x="6871" y="38874"/>
                      <a:pt x="7508" y="40147"/>
                      <a:pt x="8526" y="40910"/>
                    </a:cubicBezTo>
                    <a:cubicBezTo>
                      <a:pt x="9925" y="41928"/>
                      <a:pt x="11834" y="42437"/>
                      <a:pt x="14188" y="42437"/>
                    </a:cubicBezTo>
                    <a:cubicBezTo>
                      <a:pt x="16797" y="42437"/>
                      <a:pt x="18769" y="41928"/>
                      <a:pt x="20169" y="40910"/>
                    </a:cubicBezTo>
                    <a:cubicBezTo>
                      <a:pt x="21569" y="39892"/>
                      <a:pt x="22523" y="38429"/>
                      <a:pt x="23032" y="36584"/>
                    </a:cubicBezTo>
                    <a:cubicBezTo>
                      <a:pt x="23286" y="35439"/>
                      <a:pt x="23477" y="33021"/>
                      <a:pt x="23414" y="29394"/>
                    </a:cubicBezTo>
                    <a:cubicBezTo>
                      <a:pt x="20996" y="32257"/>
                      <a:pt x="17942" y="33721"/>
                      <a:pt x="14252" y="33721"/>
                    </a:cubicBezTo>
                    <a:cubicBezTo>
                      <a:pt x="9734" y="33721"/>
                      <a:pt x="6235" y="32066"/>
                      <a:pt x="3754" y="28822"/>
                    </a:cubicBezTo>
                    <a:cubicBezTo>
                      <a:pt x="1272" y="25577"/>
                      <a:pt x="0" y="21632"/>
                      <a:pt x="0" y="17051"/>
                    </a:cubicBezTo>
                    <a:cubicBezTo>
                      <a:pt x="0" y="13934"/>
                      <a:pt x="573" y="11007"/>
                      <a:pt x="1718" y="8335"/>
                    </a:cubicBezTo>
                    <a:cubicBezTo>
                      <a:pt x="2863" y="5662"/>
                      <a:pt x="4517" y="3627"/>
                      <a:pt x="6681" y="2163"/>
                    </a:cubicBezTo>
                    <a:cubicBezTo>
                      <a:pt x="8844" y="700"/>
                      <a:pt x="11389" y="0"/>
                      <a:pt x="14315" y="0"/>
                    </a:cubicBezTo>
                    <a:cubicBezTo>
                      <a:pt x="18196" y="0"/>
                      <a:pt x="21441" y="1591"/>
                      <a:pt x="23923" y="4708"/>
                    </a:cubicBezTo>
                    <a:lnTo>
                      <a:pt x="23923" y="763"/>
                    </a:lnTo>
                    <a:lnTo>
                      <a:pt x="29076" y="763"/>
                    </a:lnTo>
                    <a:lnTo>
                      <a:pt x="29076" y="29267"/>
                    </a:lnTo>
                    <a:cubicBezTo>
                      <a:pt x="29076" y="34421"/>
                      <a:pt x="28567" y="38047"/>
                      <a:pt x="27485" y="40210"/>
                    </a:cubicBezTo>
                    <a:cubicBezTo>
                      <a:pt x="26404" y="42374"/>
                      <a:pt x="24813" y="44028"/>
                      <a:pt x="22523" y="45300"/>
                    </a:cubicBezTo>
                    <a:cubicBezTo>
                      <a:pt x="20232" y="46573"/>
                      <a:pt x="17497" y="47145"/>
                      <a:pt x="14125" y="47145"/>
                    </a:cubicBezTo>
                    <a:cubicBezTo>
                      <a:pt x="10180" y="47145"/>
                      <a:pt x="6999" y="46255"/>
                      <a:pt x="4581" y="44473"/>
                    </a:cubicBezTo>
                    <a:cubicBezTo>
                      <a:pt x="2290" y="42628"/>
                      <a:pt x="1145" y="39956"/>
                      <a:pt x="1209" y="36393"/>
                    </a:cubicBezTo>
                    <a:close/>
                    <a:moveTo>
                      <a:pt x="5853" y="16606"/>
                    </a:moveTo>
                    <a:cubicBezTo>
                      <a:pt x="5853" y="20932"/>
                      <a:pt x="6744" y="24114"/>
                      <a:pt x="8462" y="26086"/>
                    </a:cubicBezTo>
                    <a:cubicBezTo>
                      <a:pt x="10180" y="28058"/>
                      <a:pt x="12343" y="29076"/>
                      <a:pt x="14952" y="29076"/>
                    </a:cubicBezTo>
                    <a:cubicBezTo>
                      <a:pt x="17497" y="29076"/>
                      <a:pt x="19660" y="28058"/>
                      <a:pt x="21441" y="26086"/>
                    </a:cubicBezTo>
                    <a:cubicBezTo>
                      <a:pt x="23159" y="24114"/>
                      <a:pt x="24050" y="20996"/>
                      <a:pt x="24050" y="16797"/>
                    </a:cubicBezTo>
                    <a:cubicBezTo>
                      <a:pt x="24050" y="12788"/>
                      <a:pt x="23159" y="9734"/>
                      <a:pt x="21378" y="7635"/>
                    </a:cubicBezTo>
                    <a:cubicBezTo>
                      <a:pt x="19596" y="5535"/>
                      <a:pt x="17433" y="4581"/>
                      <a:pt x="14888" y="4581"/>
                    </a:cubicBezTo>
                    <a:cubicBezTo>
                      <a:pt x="12407" y="4581"/>
                      <a:pt x="10307" y="5599"/>
                      <a:pt x="8526" y="7635"/>
                    </a:cubicBezTo>
                    <a:cubicBezTo>
                      <a:pt x="6744" y="9607"/>
                      <a:pt x="5853" y="12597"/>
                      <a:pt x="5853" y="16606"/>
                    </a:cubicBezTo>
                    <a:close/>
                  </a:path>
                </a:pathLst>
              </a:custGeom>
              <a:solidFill>
                <a:srgbClr val="084F45"/>
              </a:solidFill>
              <a:ln w="6361" cap="flat">
                <a:noFill/>
                <a:prstDash val="solid"/>
                <a:miter/>
              </a:ln>
            </p:spPr>
            <p:txBody>
              <a:bodyPr rtlCol="0" anchor="ctr"/>
              <a:lstStyle/>
              <a:p>
                <a:endParaRPr lang="da-DK"/>
              </a:p>
            </p:txBody>
          </p:sp>
          <p:sp>
            <p:nvSpPr>
              <p:cNvPr id="62" name="Freeform: Shape 61">
                <a:extLst>
                  <a:ext uri="{FF2B5EF4-FFF2-40B4-BE49-F238E27FC236}">
                    <a16:creationId xmlns:a16="http://schemas.microsoft.com/office/drawing/2014/main" id="{3B43C07C-9280-457D-9334-7878B19EAF44}"/>
                  </a:ext>
                </a:extLst>
              </p:cNvPr>
              <p:cNvSpPr/>
              <p:nvPr/>
            </p:nvSpPr>
            <p:spPr>
              <a:xfrm>
                <a:off x="1485048" y="3622989"/>
                <a:ext cx="26849" cy="45618"/>
              </a:xfrm>
              <a:custGeom>
                <a:avLst/>
                <a:gdLst>
                  <a:gd name="connsiteX0" fmla="*/ 0 w 26849"/>
                  <a:gd name="connsiteY0" fmla="*/ 45555 h 45618"/>
                  <a:gd name="connsiteX1" fmla="*/ 0 w 26849"/>
                  <a:gd name="connsiteY1" fmla="*/ 0 h 45618"/>
                  <a:gd name="connsiteX2" fmla="*/ 5599 w 26849"/>
                  <a:gd name="connsiteY2" fmla="*/ 0 h 45618"/>
                  <a:gd name="connsiteX3" fmla="*/ 5599 w 26849"/>
                  <a:gd name="connsiteY3" fmla="*/ 16351 h 45618"/>
                  <a:gd name="connsiteX4" fmla="*/ 15461 w 26849"/>
                  <a:gd name="connsiteY4" fmla="*/ 11834 h 45618"/>
                  <a:gd name="connsiteX5" fmla="*/ 21823 w 26849"/>
                  <a:gd name="connsiteY5" fmla="*/ 13297 h 45618"/>
                  <a:gd name="connsiteX6" fmla="*/ 25704 w 26849"/>
                  <a:gd name="connsiteY6" fmla="*/ 17306 h 45618"/>
                  <a:gd name="connsiteX7" fmla="*/ 26849 w 26849"/>
                  <a:gd name="connsiteY7" fmla="*/ 24686 h 45618"/>
                  <a:gd name="connsiteX8" fmla="*/ 26849 w 26849"/>
                  <a:gd name="connsiteY8" fmla="*/ 45618 h 45618"/>
                  <a:gd name="connsiteX9" fmla="*/ 21250 w 26849"/>
                  <a:gd name="connsiteY9" fmla="*/ 45618 h 45618"/>
                  <a:gd name="connsiteX10" fmla="*/ 21250 w 26849"/>
                  <a:gd name="connsiteY10" fmla="*/ 24686 h 45618"/>
                  <a:gd name="connsiteX11" fmla="*/ 19405 w 26849"/>
                  <a:gd name="connsiteY11" fmla="*/ 18578 h 45618"/>
                  <a:gd name="connsiteX12" fmla="*/ 14252 w 26849"/>
                  <a:gd name="connsiteY12" fmla="*/ 16669 h 45618"/>
                  <a:gd name="connsiteX13" fmla="*/ 9607 w 26849"/>
                  <a:gd name="connsiteY13" fmla="*/ 17942 h 45618"/>
                  <a:gd name="connsiteX14" fmla="*/ 6490 w 26849"/>
                  <a:gd name="connsiteY14" fmla="*/ 21441 h 45618"/>
                  <a:gd name="connsiteX15" fmla="*/ 5535 w 26849"/>
                  <a:gd name="connsiteY15" fmla="*/ 27549 h 45618"/>
                  <a:gd name="connsiteX16" fmla="*/ 5535 w 26849"/>
                  <a:gd name="connsiteY16" fmla="*/ 45618 h 45618"/>
                  <a:gd name="connsiteX17" fmla="*/ 0 w 26849"/>
                  <a:gd name="connsiteY17" fmla="*/ 45618 h 4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49" h="45618">
                    <a:moveTo>
                      <a:pt x="0" y="45555"/>
                    </a:moveTo>
                    <a:lnTo>
                      <a:pt x="0" y="0"/>
                    </a:lnTo>
                    <a:lnTo>
                      <a:pt x="5599" y="0"/>
                    </a:lnTo>
                    <a:lnTo>
                      <a:pt x="5599" y="16351"/>
                    </a:lnTo>
                    <a:cubicBezTo>
                      <a:pt x="8208" y="13297"/>
                      <a:pt x="11516" y="11834"/>
                      <a:pt x="15461" y="11834"/>
                    </a:cubicBezTo>
                    <a:cubicBezTo>
                      <a:pt x="17878" y="11834"/>
                      <a:pt x="20041" y="12343"/>
                      <a:pt x="21823" y="13297"/>
                    </a:cubicBezTo>
                    <a:cubicBezTo>
                      <a:pt x="23605" y="14252"/>
                      <a:pt x="24941" y="15588"/>
                      <a:pt x="25704" y="17306"/>
                    </a:cubicBezTo>
                    <a:cubicBezTo>
                      <a:pt x="26468" y="19024"/>
                      <a:pt x="26849" y="21441"/>
                      <a:pt x="26849" y="24686"/>
                    </a:cubicBezTo>
                    <a:lnTo>
                      <a:pt x="26849" y="45618"/>
                    </a:lnTo>
                    <a:lnTo>
                      <a:pt x="21250" y="45618"/>
                    </a:lnTo>
                    <a:lnTo>
                      <a:pt x="21250" y="24686"/>
                    </a:lnTo>
                    <a:cubicBezTo>
                      <a:pt x="21250" y="21887"/>
                      <a:pt x="20678" y="19851"/>
                      <a:pt x="19405" y="18578"/>
                    </a:cubicBezTo>
                    <a:cubicBezTo>
                      <a:pt x="18196" y="17306"/>
                      <a:pt x="16479" y="16669"/>
                      <a:pt x="14252" y="16669"/>
                    </a:cubicBezTo>
                    <a:cubicBezTo>
                      <a:pt x="12598" y="16669"/>
                      <a:pt x="11071" y="17115"/>
                      <a:pt x="9607" y="17942"/>
                    </a:cubicBezTo>
                    <a:cubicBezTo>
                      <a:pt x="8144" y="18769"/>
                      <a:pt x="7126" y="19978"/>
                      <a:pt x="6490" y="21441"/>
                    </a:cubicBezTo>
                    <a:cubicBezTo>
                      <a:pt x="5853" y="22905"/>
                      <a:pt x="5535" y="24941"/>
                      <a:pt x="5535" y="27549"/>
                    </a:cubicBezTo>
                    <a:lnTo>
                      <a:pt x="5535" y="45618"/>
                    </a:lnTo>
                    <a:lnTo>
                      <a:pt x="0" y="45618"/>
                    </a:lnTo>
                    <a:close/>
                  </a:path>
                </a:pathLst>
              </a:custGeom>
              <a:solidFill>
                <a:srgbClr val="084F45"/>
              </a:solidFill>
              <a:ln w="6361" cap="flat">
                <a:noFill/>
                <a:prstDash val="solid"/>
                <a:miter/>
              </a:ln>
            </p:spPr>
            <p:txBody>
              <a:bodyPr rtlCol="0" anchor="ctr"/>
              <a:lstStyle/>
              <a:p>
                <a:endParaRPr lang="da-DK"/>
              </a:p>
            </p:txBody>
          </p:sp>
          <p:sp>
            <p:nvSpPr>
              <p:cNvPr id="63" name="Freeform: Shape 62">
                <a:extLst>
                  <a:ext uri="{FF2B5EF4-FFF2-40B4-BE49-F238E27FC236}">
                    <a16:creationId xmlns:a16="http://schemas.microsoft.com/office/drawing/2014/main" id="{A84D6C52-10B9-4821-809F-7F4FE92B7E2D}"/>
                  </a:ext>
                </a:extLst>
              </p:cNvPr>
              <p:cNvSpPr/>
              <p:nvPr/>
            </p:nvSpPr>
            <p:spPr>
              <a:xfrm>
                <a:off x="151857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64" name="Freeform: Shape 63">
                <a:extLst>
                  <a:ext uri="{FF2B5EF4-FFF2-40B4-BE49-F238E27FC236}">
                    <a16:creationId xmlns:a16="http://schemas.microsoft.com/office/drawing/2014/main" id="{0B63BC28-02FB-4C54-A31D-0C2488C29E50}"/>
                  </a:ext>
                </a:extLst>
              </p:cNvPr>
              <p:cNvSpPr/>
              <p:nvPr/>
            </p:nvSpPr>
            <p:spPr>
              <a:xfrm>
                <a:off x="1553698" y="3622989"/>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7"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solidFill>
                <a:srgbClr val="084F45"/>
              </a:solidFill>
              <a:ln w="6361" cap="flat">
                <a:noFill/>
                <a:prstDash val="solid"/>
                <a:miter/>
              </a:ln>
            </p:spPr>
            <p:txBody>
              <a:bodyPr rtlCol="0" anchor="ctr"/>
              <a:lstStyle/>
              <a:p>
                <a:endParaRPr lang="da-DK"/>
              </a:p>
            </p:txBody>
          </p:sp>
          <p:sp>
            <p:nvSpPr>
              <p:cNvPr id="65" name="Freeform: Shape 64">
                <a:extLst>
                  <a:ext uri="{FF2B5EF4-FFF2-40B4-BE49-F238E27FC236}">
                    <a16:creationId xmlns:a16="http://schemas.microsoft.com/office/drawing/2014/main" id="{0439BC68-3F99-4B8F-B0E9-F89455D7ACCA}"/>
                  </a:ext>
                </a:extLst>
              </p:cNvPr>
              <p:cNvSpPr/>
              <p:nvPr/>
            </p:nvSpPr>
            <p:spPr>
              <a:xfrm>
                <a:off x="158932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90"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66" name="Freeform: Shape 65">
                <a:extLst>
                  <a:ext uri="{FF2B5EF4-FFF2-40B4-BE49-F238E27FC236}">
                    <a16:creationId xmlns:a16="http://schemas.microsoft.com/office/drawing/2014/main" id="{E1825460-CB7A-49EA-9123-4776C6B79774}"/>
                  </a:ext>
                </a:extLst>
              </p:cNvPr>
              <p:cNvSpPr/>
              <p:nvPr/>
            </p:nvSpPr>
            <p:spPr>
              <a:xfrm>
                <a:off x="1626484" y="3634759"/>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67" name="Freeform: Shape 66">
                <a:extLst>
                  <a:ext uri="{FF2B5EF4-FFF2-40B4-BE49-F238E27FC236}">
                    <a16:creationId xmlns:a16="http://schemas.microsoft.com/office/drawing/2014/main" id="{77C24723-966F-492E-93CB-DD95F69208AF}"/>
                  </a:ext>
                </a:extLst>
              </p:cNvPr>
              <p:cNvSpPr/>
              <p:nvPr/>
            </p:nvSpPr>
            <p:spPr>
              <a:xfrm>
                <a:off x="1645826" y="3662181"/>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grpSp>
        <p:grpSp>
          <p:nvGrpSpPr>
            <p:cNvPr id="11" name="Graphic 5">
              <a:extLst>
                <a:ext uri="{FF2B5EF4-FFF2-40B4-BE49-F238E27FC236}">
                  <a16:creationId xmlns:a16="http://schemas.microsoft.com/office/drawing/2014/main" id="{260E0AFB-C6C2-4E0F-A9E4-091434B5D4E2}"/>
                </a:ext>
              </a:extLst>
            </p:cNvPr>
            <p:cNvGrpSpPr/>
            <p:nvPr/>
          </p:nvGrpSpPr>
          <p:grpSpPr>
            <a:xfrm>
              <a:off x="632997" y="3239655"/>
              <a:ext cx="440022" cy="431242"/>
              <a:chOff x="632997" y="3239655"/>
              <a:chExt cx="440022" cy="431242"/>
            </a:xfrm>
            <a:solidFill>
              <a:srgbClr val="084F45"/>
            </a:solidFill>
          </p:grpSpPr>
          <p:sp>
            <p:nvSpPr>
              <p:cNvPr id="12" name="Freeform: Shape 11">
                <a:extLst>
                  <a:ext uri="{FF2B5EF4-FFF2-40B4-BE49-F238E27FC236}">
                    <a16:creationId xmlns:a16="http://schemas.microsoft.com/office/drawing/2014/main" id="{B242B2E6-E46E-4222-BD92-DDDAA8D73F52}"/>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C2427276-EFA3-403E-8F2C-EC9973E085AC}"/>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4" name="Freeform: Shape 13">
                <a:extLst>
                  <a:ext uri="{FF2B5EF4-FFF2-40B4-BE49-F238E27FC236}">
                    <a16:creationId xmlns:a16="http://schemas.microsoft.com/office/drawing/2014/main" id="{3369F7BC-CB8C-44ED-861C-A3FE3846B5D8}"/>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5" name="Freeform: Shape 14">
                <a:extLst>
                  <a:ext uri="{FF2B5EF4-FFF2-40B4-BE49-F238E27FC236}">
                    <a16:creationId xmlns:a16="http://schemas.microsoft.com/office/drawing/2014/main" id="{B4EF9BB6-E5D2-4B37-9984-202357168F33}"/>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6" name="Freeform: Shape 15">
                <a:extLst>
                  <a:ext uri="{FF2B5EF4-FFF2-40B4-BE49-F238E27FC236}">
                    <a16:creationId xmlns:a16="http://schemas.microsoft.com/office/drawing/2014/main" id="{E43A2249-DFBE-4CBC-97D8-FE89476E5017}"/>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7" name="Freeform: Shape 16">
                <a:extLst>
                  <a:ext uri="{FF2B5EF4-FFF2-40B4-BE49-F238E27FC236}">
                    <a16:creationId xmlns:a16="http://schemas.microsoft.com/office/drawing/2014/main" id="{26657FA2-97BC-4E8F-B3AE-87BBB932F288}"/>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8" name="Freeform: Shape 17">
                <a:extLst>
                  <a:ext uri="{FF2B5EF4-FFF2-40B4-BE49-F238E27FC236}">
                    <a16:creationId xmlns:a16="http://schemas.microsoft.com/office/drawing/2014/main" id="{53AB87FF-D40C-409C-99FA-7A915132F4C3}"/>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grpSp>
      </p:grpSp>
    </p:spTree>
    <p:extLst>
      <p:ext uri="{BB962C8B-B14F-4D97-AF65-F5344CB8AC3E}">
        <p14:creationId xmlns:p14="http://schemas.microsoft.com/office/powerpoint/2010/main" val="1200059003"/>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20" r:id="rId19"/>
    <p:sldLayoutId id="2147483721" r:id="rId20"/>
    <p:sldLayoutId id="2147483849" r:id="rId21"/>
  </p:sldLayoutIdLst>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400" y="1028247"/>
            <a:ext cx="11379347" cy="1602672"/>
          </a:xfrm>
          <a:prstGeom prst="rect">
            <a:avLst/>
          </a:prstGeom>
        </p:spPr>
        <p:txBody>
          <a:bodyPr vert="horz" lIns="0" tIns="0" rIns="0" bIns="0" rtlCol="0" anchor="t" anchorCtr="0">
            <a:noAutofit/>
          </a:bodyPr>
          <a:lstStyle/>
          <a:p>
            <a:r>
              <a:rPr lang="da-DK"/>
              <a:t>Klik for at redigere i master</a:t>
            </a:r>
          </a:p>
        </p:txBody>
      </p:sp>
      <p:sp>
        <p:nvSpPr>
          <p:cNvPr id="3" name="Text Placeholder 2"/>
          <p:cNvSpPr>
            <a:spLocks noGrp="1"/>
          </p:cNvSpPr>
          <p:nvPr>
            <p:ph type="body" idx="1"/>
          </p:nvPr>
        </p:nvSpPr>
        <p:spPr>
          <a:xfrm>
            <a:off x="410400" y="3369040"/>
            <a:ext cx="11371905" cy="2472960"/>
          </a:xfrm>
          <a:prstGeom prst="rect">
            <a:avLst/>
          </a:prstGeom>
        </p:spPr>
        <p:txBody>
          <a:bodyPr vert="horz" lIns="0" tIns="0" rIns="0" bIns="0" rtlCol="0">
            <a:noAutofit/>
          </a:bodyPr>
          <a:lstStyle/>
          <a:p>
            <a:pPr lvl="0"/>
            <a:r>
              <a:rPr lang="da-DK"/>
              <a:t>Første niveau, bullet 16 </a:t>
            </a:r>
            <a:r>
              <a:rPr lang="da-DK" err="1"/>
              <a:t>pkt</a:t>
            </a:r>
            <a:endParaRPr lang="da-DK"/>
          </a:p>
          <a:p>
            <a:pPr lvl="1"/>
            <a:r>
              <a:rPr lang="da-DK"/>
              <a:t>Andet niveau, bullet 14 </a:t>
            </a:r>
            <a:r>
              <a:rPr lang="da-DK" err="1"/>
              <a:t>pkt</a:t>
            </a:r>
            <a:endParaRPr lang="da-DK"/>
          </a:p>
          <a:p>
            <a:pPr lvl="2"/>
            <a:r>
              <a:rPr lang="da-DK"/>
              <a:t>Tredje niveau, bullet 12 </a:t>
            </a:r>
            <a:r>
              <a:rPr lang="da-DK" err="1"/>
              <a:t>pkt</a:t>
            </a:r>
            <a:endParaRPr lang="da-DK"/>
          </a:p>
          <a:p>
            <a:pPr lvl="3"/>
            <a:r>
              <a:rPr lang="da-DK"/>
              <a:t>Fjerde niveau, Header bold 16 </a:t>
            </a:r>
            <a:r>
              <a:rPr lang="da-DK" err="1"/>
              <a:t>pkt</a:t>
            </a:r>
            <a:endParaRPr lang="da-DK"/>
          </a:p>
          <a:p>
            <a:pPr lvl="4"/>
            <a:r>
              <a:rPr lang="da-DK"/>
              <a:t>Femte niveau, Body </a:t>
            </a:r>
            <a:r>
              <a:rPr lang="da-DK" err="1"/>
              <a:t>regular</a:t>
            </a:r>
            <a:r>
              <a:rPr lang="da-DK"/>
              <a:t> 16 </a:t>
            </a:r>
            <a:r>
              <a:rPr lang="da-DK" err="1"/>
              <a:t>pkt</a:t>
            </a:r>
            <a:endParaRPr lang="da-DK"/>
          </a:p>
          <a:p>
            <a:pPr lvl="5"/>
            <a:r>
              <a:rPr lang="da-DK"/>
              <a:t>Sjette niveau, bullet 12 </a:t>
            </a:r>
            <a:r>
              <a:rPr lang="da-DK" err="1"/>
              <a:t>pkt</a:t>
            </a:r>
            <a:endParaRPr lang="da-DK"/>
          </a:p>
          <a:p>
            <a:pPr lvl="6"/>
            <a:r>
              <a:rPr lang="da-DK"/>
              <a:t>Syvende niveau, bullet 12 </a:t>
            </a:r>
            <a:r>
              <a:rPr lang="da-DK" err="1"/>
              <a:t>pkt</a:t>
            </a:r>
            <a:r>
              <a:rPr lang="da-DK"/>
              <a:t> (indryk 1 gang)</a:t>
            </a:r>
          </a:p>
          <a:p>
            <a:pPr lvl="7"/>
            <a:r>
              <a:rPr lang="da-DK"/>
              <a:t>Ottende niveau, Header bold, 12 </a:t>
            </a:r>
            <a:r>
              <a:rPr lang="da-DK" err="1"/>
              <a:t>pkt</a:t>
            </a:r>
            <a:endParaRPr lang="da-DK"/>
          </a:p>
          <a:p>
            <a:pPr lvl="8"/>
            <a:r>
              <a:rPr lang="da-DK"/>
              <a:t>Niende niveau, Body </a:t>
            </a:r>
            <a:r>
              <a:rPr lang="da-DK" err="1"/>
              <a:t>regular</a:t>
            </a:r>
            <a:r>
              <a:rPr lang="da-DK"/>
              <a:t>, 12 </a:t>
            </a:r>
            <a:r>
              <a:rPr lang="da-DK" err="1"/>
              <a:t>pkt</a:t>
            </a:r>
            <a:endParaRPr lang="da-DK"/>
          </a:p>
        </p:txBody>
      </p:sp>
      <p:sp>
        <p:nvSpPr>
          <p:cNvPr id="5" name="OFF_institute"/>
          <p:cNvSpPr>
            <a:spLocks noGrp="1"/>
          </p:cNvSpPr>
          <p:nvPr>
            <p:ph type="ftr" sz="quarter" idx="3"/>
          </p:nvPr>
        </p:nvSpPr>
        <p:spPr>
          <a:xfrm>
            <a:off x="6915600" y="6376129"/>
            <a:ext cx="2240432" cy="180000"/>
          </a:xfrm>
          <a:prstGeom prst="rect">
            <a:avLst/>
          </a:prstGeom>
        </p:spPr>
        <p:txBody>
          <a:bodyPr vert="horz" lIns="0" tIns="0" rIns="0" bIns="0" rtlCol="0" anchor="t" anchorCtr="0">
            <a:noAutofit/>
          </a:bodyPr>
          <a:lstStyle>
            <a:lvl1pPr algn="r">
              <a:defRPr sz="1000" b="0" cap="none" baseline="0">
                <a:solidFill>
                  <a:schemeClr val="tx1"/>
                </a:solidFill>
              </a:defRPr>
            </a:lvl1pPr>
          </a:lstStyle>
          <a:p>
            <a:endParaRPr lang="da-DK"/>
          </a:p>
        </p:txBody>
      </p:sp>
      <p:sp>
        <p:nvSpPr>
          <p:cNvPr id="16" name="Rectangle 15">
            <a:extLst>
              <a:ext uri="{FF2B5EF4-FFF2-40B4-BE49-F238E27FC236}">
                <a16:creationId xmlns:a16="http://schemas.microsoft.com/office/drawing/2014/main" id="{D9C3F3D4-B958-489D-8401-2859D15536D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Rectangle 16">
            <a:extLst>
              <a:ext uri="{FF2B5EF4-FFF2-40B4-BE49-F238E27FC236}">
                <a16:creationId xmlns:a16="http://schemas.microsoft.com/office/drawing/2014/main" id="{EDAD2A31-35D3-4D5D-AA2D-C72C49CA7FB0}"/>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5" name="Date Placeholder 14">
            <a:extLst>
              <a:ext uri="{FF2B5EF4-FFF2-40B4-BE49-F238E27FC236}">
                <a16:creationId xmlns:a16="http://schemas.microsoft.com/office/drawing/2014/main" id="{A56ADEC3-98E1-4CEA-9AF5-46F4CDD2FA7D}"/>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cxnSp>
        <p:nvCxnSpPr>
          <p:cNvPr id="27" name="Straight Connector 26">
            <a:extLst>
              <a:ext uri="{FF2B5EF4-FFF2-40B4-BE49-F238E27FC236}">
                <a16:creationId xmlns:a16="http://schemas.microsoft.com/office/drawing/2014/main" id="{C6C4C210-3CAD-4E96-8F10-9CD4863FC9B7}"/>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e" descr="{&quot;templafy&quot;:{&quot;id&quot;:&quot;55c1fae4-2d3e-4442-ba05-9546e893e284&quot;}}" title="Form.Date">
            <a:extLst>
              <a:ext uri="{FF2B5EF4-FFF2-40B4-BE49-F238E27FC236}">
                <a16:creationId xmlns:a16="http://schemas.microsoft.com/office/drawing/2014/main" id="{8A346F21-C2D9-45A4-B26D-7DDC2CEB9FB7}"/>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5</a:t>
            </a:r>
          </a:p>
        </p:txBody>
      </p:sp>
      <p:sp>
        <p:nvSpPr>
          <p:cNvPr id="6" name="Slide Number Placeholder 5"/>
          <p:cNvSpPr>
            <a:spLocks noGrp="1"/>
          </p:cNvSpPr>
          <p:nvPr>
            <p:ph type="sldNum" sz="quarter" idx="4"/>
          </p:nvPr>
        </p:nvSpPr>
        <p:spPr>
          <a:xfrm>
            <a:off x="0" y="6912000"/>
            <a:ext cx="0" cy="0"/>
          </a:xfrm>
          <a:prstGeom prst="rect">
            <a:avLst/>
          </a:prstGeom>
        </p:spPr>
        <p:txBody>
          <a:bodyPr vert="horz" lIns="0" tIns="0" rIns="0" bIns="0" rtlCol="0" anchor="t" anchorCtr="0">
            <a:noAutofit/>
          </a:bodyPr>
          <a:lstStyle>
            <a:lvl1pPr algn="ctr">
              <a:defRPr sz="100">
                <a:noFill/>
              </a:defRPr>
            </a:lvl1pPr>
          </a:lstStyle>
          <a:p>
            <a:fld id="{45D37B1E-C366-494F-A587-962AD9AABC83}" type="slidenum">
              <a:rPr lang="da-DK" smtClean="0"/>
              <a:pPr/>
              <a:t>‹#›</a:t>
            </a:fld>
            <a:endParaRPr lang="da-DK"/>
          </a:p>
        </p:txBody>
      </p:sp>
      <p:sp>
        <p:nvSpPr>
          <p:cNvPr id="18" name="Date Placeholder 14">
            <a:extLst>
              <a:ext uri="{FF2B5EF4-FFF2-40B4-BE49-F238E27FC236}">
                <a16:creationId xmlns:a16="http://schemas.microsoft.com/office/drawing/2014/main" id="{7DF98717-AAEA-4E2B-96B8-AAAFF896C0E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13" name="text" descr="{&quot;templafy&quot;:{&quot;id&quot;:&quot;d0069329-db3e-43d6-a721-6a4cf7c20ad9&quot;}}" title="UserProfile.Institut.InstituteDCU_{{DocumentLanguage}}">
            <a:extLst>
              <a:ext uri="{FF2B5EF4-FFF2-40B4-BE49-F238E27FC236}">
                <a16:creationId xmlns:a16="http://schemas.microsoft.com/office/drawing/2014/main" id="{125E96D5-3BB9-422E-861E-C7C7A150AD68}"/>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dirty="0"/>
              <a:t>SDU SIS</a:t>
            </a:r>
          </a:p>
        </p:txBody>
      </p:sp>
    </p:spTree>
    <p:extLst>
      <p:ext uri="{BB962C8B-B14F-4D97-AF65-F5344CB8AC3E}">
        <p14:creationId xmlns:p14="http://schemas.microsoft.com/office/powerpoint/2010/main" val="3098370997"/>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 id="2147483761" r:id="rId18"/>
    <p:sldLayoutId id="2147483762" r:id="rId19"/>
  </p:sldLayoutIdLst>
  <p:hf hdr="0"/>
  <p:txStyles>
    <p:titleStyle>
      <a:lvl1pPr algn="l" defTabSz="914400" rtl="0" eaLnBrk="1" latinLnBrk="0" hangingPunct="1">
        <a:lnSpc>
          <a:spcPct val="97000"/>
        </a:lnSpc>
        <a:spcBef>
          <a:spcPct val="0"/>
        </a:spcBef>
        <a:buNone/>
        <a:tabLst>
          <a:tab pos="1438275" algn="l"/>
        </a:tabLst>
        <a:defRPr sz="3600" b="1"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5">
          <p15:clr>
            <a:srgbClr val="F26B43"/>
          </p15:clr>
        </p15:guide>
        <p15:guide id="4" orient="horz" pos="1071">
          <p15:clr>
            <a:srgbClr val="F26B43"/>
          </p15:clr>
        </p15:guide>
        <p15:guide id="5" pos="259">
          <p15:clr>
            <a:srgbClr val="F26B43"/>
          </p15:clr>
        </p15:guide>
        <p15:guide id="6" pos="7421">
          <p15:clr>
            <a:srgbClr val="F26B43"/>
          </p15:clr>
        </p15:guide>
        <p15:guide id="7" orient="horz" pos="1253">
          <p15:clr>
            <a:srgbClr val="F26B43"/>
          </p15:clr>
        </p15:guide>
        <p15:guide id="8" orient="horz" pos="3680">
          <p15:clr>
            <a:srgbClr val="F26B43"/>
          </p15:clr>
        </p15:guide>
        <p15:guide id="9" orient="horz" pos="3916">
          <p15:clr>
            <a:srgbClr val="F26B43"/>
          </p15:clr>
        </p15:guide>
        <p15:guide id="10" orient="horz" pos="4094">
          <p15:clr>
            <a:srgbClr val="F26B43"/>
          </p15:clr>
        </p15:guide>
        <p15:guide id="11" pos="545">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400" y="1028247"/>
            <a:ext cx="11379347" cy="1602672"/>
          </a:xfrm>
          <a:prstGeom prst="rect">
            <a:avLst/>
          </a:prstGeom>
        </p:spPr>
        <p:txBody>
          <a:bodyPr vert="horz" lIns="0" tIns="0" rIns="0" bIns="0" rtlCol="0" anchor="t" anchorCtr="0">
            <a:noAutofit/>
          </a:bodyPr>
          <a:lstStyle/>
          <a:p>
            <a:r>
              <a:rPr lang="da-DK"/>
              <a:t>Klik for at redigere i master</a:t>
            </a:r>
          </a:p>
        </p:txBody>
      </p:sp>
      <p:sp>
        <p:nvSpPr>
          <p:cNvPr id="3" name="Text Placeholder 2"/>
          <p:cNvSpPr>
            <a:spLocks noGrp="1"/>
          </p:cNvSpPr>
          <p:nvPr>
            <p:ph type="body" idx="1"/>
          </p:nvPr>
        </p:nvSpPr>
        <p:spPr>
          <a:xfrm>
            <a:off x="410400" y="3369040"/>
            <a:ext cx="11371905" cy="2472960"/>
          </a:xfrm>
          <a:prstGeom prst="rect">
            <a:avLst/>
          </a:prstGeom>
        </p:spPr>
        <p:txBody>
          <a:bodyPr vert="horz" lIns="0" tIns="0" rIns="0" bIns="0" rtlCol="0">
            <a:noAutofit/>
          </a:bodyPr>
          <a:lstStyle/>
          <a:p>
            <a:pPr lvl="0"/>
            <a:r>
              <a:rPr lang="da-DK"/>
              <a:t>Første niveau, bullet 16 </a:t>
            </a:r>
            <a:r>
              <a:rPr lang="da-DK" err="1"/>
              <a:t>pkt</a:t>
            </a:r>
            <a:endParaRPr lang="da-DK"/>
          </a:p>
          <a:p>
            <a:pPr lvl="1"/>
            <a:r>
              <a:rPr lang="da-DK"/>
              <a:t>Andet niveau, bullet 14 </a:t>
            </a:r>
            <a:r>
              <a:rPr lang="da-DK" err="1"/>
              <a:t>pkt</a:t>
            </a:r>
            <a:endParaRPr lang="da-DK"/>
          </a:p>
          <a:p>
            <a:pPr lvl="2"/>
            <a:r>
              <a:rPr lang="da-DK"/>
              <a:t>Tredje niveau, bullet 12 </a:t>
            </a:r>
            <a:r>
              <a:rPr lang="da-DK" err="1"/>
              <a:t>pkt</a:t>
            </a:r>
            <a:endParaRPr lang="da-DK"/>
          </a:p>
          <a:p>
            <a:pPr lvl="3"/>
            <a:r>
              <a:rPr lang="da-DK"/>
              <a:t>Fjerde niveau, Header bold 16 </a:t>
            </a:r>
            <a:r>
              <a:rPr lang="da-DK" err="1"/>
              <a:t>pkt</a:t>
            </a:r>
            <a:endParaRPr lang="da-DK"/>
          </a:p>
          <a:p>
            <a:pPr lvl="4"/>
            <a:r>
              <a:rPr lang="da-DK"/>
              <a:t>Femte niveau, Body </a:t>
            </a:r>
            <a:r>
              <a:rPr lang="da-DK" err="1"/>
              <a:t>regular</a:t>
            </a:r>
            <a:r>
              <a:rPr lang="da-DK"/>
              <a:t> 16 </a:t>
            </a:r>
            <a:r>
              <a:rPr lang="da-DK" err="1"/>
              <a:t>pkt</a:t>
            </a:r>
            <a:endParaRPr lang="da-DK"/>
          </a:p>
          <a:p>
            <a:pPr lvl="5"/>
            <a:r>
              <a:rPr lang="da-DK"/>
              <a:t>Sjette niveau, bullet 12 </a:t>
            </a:r>
            <a:r>
              <a:rPr lang="da-DK" err="1"/>
              <a:t>pkt</a:t>
            </a:r>
            <a:endParaRPr lang="da-DK"/>
          </a:p>
          <a:p>
            <a:pPr lvl="6"/>
            <a:r>
              <a:rPr lang="da-DK"/>
              <a:t>Syvende niveau, bullet 12 </a:t>
            </a:r>
            <a:r>
              <a:rPr lang="da-DK" err="1"/>
              <a:t>pkt</a:t>
            </a:r>
            <a:r>
              <a:rPr lang="da-DK"/>
              <a:t> (indryk 1 gang)</a:t>
            </a:r>
          </a:p>
          <a:p>
            <a:pPr lvl="7"/>
            <a:r>
              <a:rPr lang="da-DK"/>
              <a:t>Ottende niveau, Header bold, 12 </a:t>
            </a:r>
            <a:r>
              <a:rPr lang="da-DK" err="1"/>
              <a:t>pkt</a:t>
            </a:r>
            <a:endParaRPr lang="da-DK"/>
          </a:p>
          <a:p>
            <a:pPr lvl="8"/>
            <a:r>
              <a:rPr lang="da-DK"/>
              <a:t>Niende niveau, Body </a:t>
            </a:r>
            <a:r>
              <a:rPr lang="da-DK" err="1"/>
              <a:t>regular</a:t>
            </a:r>
            <a:r>
              <a:rPr lang="da-DK"/>
              <a:t>, 12 </a:t>
            </a:r>
            <a:r>
              <a:rPr lang="da-DK" err="1"/>
              <a:t>pkt</a:t>
            </a:r>
            <a:endParaRPr lang="da-DK"/>
          </a:p>
        </p:txBody>
      </p:sp>
      <p:sp>
        <p:nvSpPr>
          <p:cNvPr id="5" name="OFF_institute"/>
          <p:cNvSpPr>
            <a:spLocks noGrp="1"/>
          </p:cNvSpPr>
          <p:nvPr>
            <p:ph type="ftr" sz="quarter" idx="3"/>
          </p:nvPr>
        </p:nvSpPr>
        <p:spPr>
          <a:xfrm>
            <a:off x="6915600" y="6376129"/>
            <a:ext cx="2240432" cy="180000"/>
          </a:xfrm>
          <a:prstGeom prst="rect">
            <a:avLst/>
          </a:prstGeom>
        </p:spPr>
        <p:txBody>
          <a:bodyPr vert="horz" lIns="0" tIns="0" rIns="0" bIns="0" rtlCol="0" anchor="t" anchorCtr="0">
            <a:noAutofit/>
          </a:bodyPr>
          <a:lstStyle>
            <a:lvl1pPr algn="r">
              <a:defRPr sz="1000" b="0" cap="none" baseline="0">
                <a:solidFill>
                  <a:schemeClr val="tx1"/>
                </a:solidFill>
              </a:defRPr>
            </a:lvl1pPr>
          </a:lstStyle>
          <a:p>
            <a:endParaRPr lang="da-DK"/>
          </a:p>
        </p:txBody>
      </p:sp>
      <p:sp>
        <p:nvSpPr>
          <p:cNvPr id="16" name="Rectangle 15">
            <a:extLst>
              <a:ext uri="{FF2B5EF4-FFF2-40B4-BE49-F238E27FC236}">
                <a16:creationId xmlns:a16="http://schemas.microsoft.com/office/drawing/2014/main" id="{D9C3F3D4-B958-489D-8401-2859D15536D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Rectangle 16">
            <a:extLst>
              <a:ext uri="{FF2B5EF4-FFF2-40B4-BE49-F238E27FC236}">
                <a16:creationId xmlns:a16="http://schemas.microsoft.com/office/drawing/2014/main" id="{EDAD2A31-35D3-4D5D-AA2D-C72C49CA7FB0}"/>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5" name="Date Placeholder 14">
            <a:extLst>
              <a:ext uri="{FF2B5EF4-FFF2-40B4-BE49-F238E27FC236}">
                <a16:creationId xmlns:a16="http://schemas.microsoft.com/office/drawing/2014/main" id="{A56ADEC3-98E1-4CEA-9AF5-46F4CDD2FA7D}"/>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pic>
        <p:nvPicPr>
          <p:cNvPr id="25" name="Logo black">
            <a:extLst>
              <a:ext uri="{FF2B5EF4-FFF2-40B4-BE49-F238E27FC236}">
                <a16:creationId xmlns:a16="http://schemas.microsoft.com/office/drawing/2014/main" id="{860AC4C2-E6D6-4DCE-950A-C298C0AE9B87}"/>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cxnSp>
        <p:nvCxnSpPr>
          <p:cNvPr id="27" name="Straight Connector 26">
            <a:extLst>
              <a:ext uri="{FF2B5EF4-FFF2-40B4-BE49-F238E27FC236}">
                <a16:creationId xmlns:a16="http://schemas.microsoft.com/office/drawing/2014/main" id="{C6C4C210-3CAD-4E96-8F10-9CD4863FC9B7}"/>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e" descr="{&quot;templafy&quot;:{&quot;id&quot;:&quot;55c1fae4-2d3e-4442-ba05-9546e893e284&quot;}}" title="Form.Date">
            <a:extLst>
              <a:ext uri="{FF2B5EF4-FFF2-40B4-BE49-F238E27FC236}">
                <a16:creationId xmlns:a16="http://schemas.microsoft.com/office/drawing/2014/main" id="{8A346F21-C2D9-45A4-B26D-7DDC2CEB9FB7}"/>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5</a:t>
            </a:r>
          </a:p>
        </p:txBody>
      </p:sp>
      <p:sp>
        <p:nvSpPr>
          <p:cNvPr id="6" name="Slide Number Placeholder 5"/>
          <p:cNvSpPr>
            <a:spLocks noGrp="1"/>
          </p:cNvSpPr>
          <p:nvPr>
            <p:ph type="sldNum" sz="quarter" idx="4"/>
          </p:nvPr>
        </p:nvSpPr>
        <p:spPr>
          <a:xfrm>
            <a:off x="0" y="6912000"/>
            <a:ext cx="0" cy="0"/>
          </a:xfrm>
          <a:prstGeom prst="rect">
            <a:avLst/>
          </a:prstGeom>
        </p:spPr>
        <p:txBody>
          <a:bodyPr vert="horz" lIns="0" tIns="0" rIns="0" bIns="0" rtlCol="0" anchor="t" anchorCtr="0">
            <a:noAutofit/>
          </a:bodyPr>
          <a:lstStyle>
            <a:lvl1pPr algn="ctr">
              <a:defRPr sz="100">
                <a:noFill/>
              </a:defRPr>
            </a:lvl1pPr>
          </a:lstStyle>
          <a:p>
            <a:fld id="{45D37B1E-C366-494F-A587-962AD9AABC83}" type="slidenum">
              <a:rPr lang="da-DK" smtClean="0"/>
              <a:pPr/>
              <a:t>‹#›</a:t>
            </a:fld>
            <a:endParaRPr lang="da-DK"/>
          </a:p>
        </p:txBody>
      </p:sp>
      <p:sp>
        <p:nvSpPr>
          <p:cNvPr id="18" name="Date Placeholder 14">
            <a:extLst>
              <a:ext uri="{FF2B5EF4-FFF2-40B4-BE49-F238E27FC236}">
                <a16:creationId xmlns:a16="http://schemas.microsoft.com/office/drawing/2014/main" id="{7DF98717-AAEA-4E2B-96B8-AAAFF896C0E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13" name="text" descr="{&quot;templafy&quot;:{&quot;id&quot;:&quot;d0069329-db3e-43d6-a721-6a4cf7c20ad9&quot;}}" title="UserProfile.Institut.InstituteDCU_{{DocumentLanguage}}">
            <a:extLst>
              <a:ext uri="{FF2B5EF4-FFF2-40B4-BE49-F238E27FC236}">
                <a16:creationId xmlns:a16="http://schemas.microsoft.com/office/drawing/2014/main" id="{125E96D5-3BB9-422E-861E-C7C7A150AD68}"/>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dirty="0"/>
              <a:t>SDU SIS</a:t>
            </a:r>
          </a:p>
        </p:txBody>
      </p:sp>
    </p:spTree>
    <p:extLst>
      <p:ext uri="{BB962C8B-B14F-4D97-AF65-F5344CB8AC3E}">
        <p14:creationId xmlns:p14="http://schemas.microsoft.com/office/powerpoint/2010/main" val="294303181"/>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81" r:id="rId15"/>
    <p:sldLayoutId id="2147483782" r:id="rId16"/>
    <p:sldLayoutId id="2147483783" r:id="rId17"/>
  </p:sldLayoutIdLst>
  <p:hf hdr="0"/>
  <p:txStyles>
    <p:titleStyle>
      <a:lvl1pPr algn="l" defTabSz="914400" rtl="0" eaLnBrk="1" latinLnBrk="0" hangingPunct="1">
        <a:lnSpc>
          <a:spcPct val="97000"/>
        </a:lnSpc>
        <a:spcBef>
          <a:spcPct val="0"/>
        </a:spcBef>
        <a:buNone/>
        <a:tabLst>
          <a:tab pos="1438275" algn="l"/>
        </a:tabLst>
        <a:defRPr sz="3600" b="1"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5">
          <p15:clr>
            <a:srgbClr val="F26B43"/>
          </p15:clr>
        </p15:guide>
        <p15:guide id="4" orient="horz" pos="1071">
          <p15:clr>
            <a:srgbClr val="F26B43"/>
          </p15:clr>
        </p15:guide>
        <p15:guide id="5" pos="259">
          <p15:clr>
            <a:srgbClr val="F26B43"/>
          </p15:clr>
        </p15:guide>
        <p15:guide id="6" pos="7421">
          <p15:clr>
            <a:srgbClr val="F26B43"/>
          </p15:clr>
        </p15:guide>
        <p15:guide id="7" orient="horz" pos="1253">
          <p15:clr>
            <a:srgbClr val="F26B43"/>
          </p15:clr>
        </p15:guide>
        <p15:guide id="8" orient="horz" pos="3680">
          <p15:clr>
            <a:srgbClr val="F26B43"/>
          </p15:clr>
        </p15:guide>
        <p15:guide id="9" orient="horz" pos="3916">
          <p15:clr>
            <a:srgbClr val="F26B43"/>
          </p15:clr>
        </p15:guide>
        <p15:guide id="10" orient="horz" pos="4094">
          <p15:clr>
            <a:srgbClr val="F26B43"/>
          </p15:clr>
        </p15:guide>
        <p15:guide id="11" pos="54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400" y="1028247"/>
            <a:ext cx="11379347" cy="1602672"/>
          </a:xfrm>
          <a:prstGeom prst="rect">
            <a:avLst/>
          </a:prstGeom>
        </p:spPr>
        <p:txBody>
          <a:bodyPr vert="horz" lIns="0" tIns="0" rIns="0" bIns="0" rtlCol="0" anchor="t" anchorCtr="0">
            <a:noAutofit/>
          </a:bodyPr>
          <a:lstStyle/>
          <a:p>
            <a:r>
              <a:rPr lang="da-DK"/>
              <a:t>Klik for at redigere i master</a:t>
            </a:r>
          </a:p>
        </p:txBody>
      </p:sp>
      <p:sp>
        <p:nvSpPr>
          <p:cNvPr id="3" name="Text Placeholder 2"/>
          <p:cNvSpPr>
            <a:spLocks noGrp="1"/>
          </p:cNvSpPr>
          <p:nvPr>
            <p:ph type="body" idx="1"/>
          </p:nvPr>
        </p:nvSpPr>
        <p:spPr>
          <a:xfrm>
            <a:off x="410400" y="3369040"/>
            <a:ext cx="11371905" cy="2472960"/>
          </a:xfrm>
          <a:prstGeom prst="rect">
            <a:avLst/>
          </a:prstGeom>
        </p:spPr>
        <p:txBody>
          <a:bodyPr vert="horz" lIns="0" tIns="0" rIns="0" bIns="0" rtlCol="0">
            <a:noAutofit/>
          </a:bodyPr>
          <a:lstStyle/>
          <a:p>
            <a:pPr lvl="0"/>
            <a:r>
              <a:rPr lang="da-DK"/>
              <a:t>Første niveau, bullet 16 </a:t>
            </a:r>
            <a:r>
              <a:rPr lang="da-DK" err="1"/>
              <a:t>pkt</a:t>
            </a:r>
            <a:endParaRPr lang="da-DK"/>
          </a:p>
          <a:p>
            <a:pPr lvl="1"/>
            <a:r>
              <a:rPr lang="da-DK"/>
              <a:t>Andet niveau, bullet 14 </a:t>
            </a:r>
            <a:r>
              <a:rPr lang="da-DK" err="1"/>
              <a:t>pkt</a:t>
            </a:r>
            <a:endParaRPr lang="da-DK"/>
          </a:p>
          <a:p>
            <a:pPr lvl="2"/>
            <a:r>
              <a:rPr lang="da-DK"/>
              <a:t>Tredje niveau, bullet 12 </a:t>
            </a:r>
            <a:r>
              <a:rPr lang="da-DK" err="1"/>
              <a:t>pkt</a:t>
            </a:r>
            <a:endParaRPr lang="da-DK"/>
          </a:p>
          <a:p>
            <a:pPr lvl="3"/>
            <a:r>
              <a:rPr lang="da-DK"/>
              <a:t>Fjerde niveau, Header bold 16 </a:t>
            </a:r>
            <a:r>
              <a:rPr lang="da-DK" err="1"/>
              <a:t>pkt</a:t>
            </a:r>
            <a:endParaRPr lang="da-DK"/>
          </a:p>
          <a:p>
            <a:pPr lvl="4"/>
            <a:r>
              <a:rPr lang="da-DK"/>
              <a:t>Femte niveau, Body </a:t>
            </a:r>
            <a:r>
              <a:rPr lang="da-DK" err="1"/>
              <a:t>regular</a:t>
            </a:r>
            <a:r>
              <a:rPr lang="da-DK"/>
              <a:t> 16 </a:t>
            </a:r>
            <a:r>
              <a:rPr lang="da-DK" err="1"/>
              <a:t>pkt</a:t>
            </a:r>
            <a:endParaRPr lang="da-DK"/>
          </a:p>
          <a:p>
            <a:pPr lvl="5"/>
            <a:r>
              <a:rPr lang="da-DK"/>
              <a:t>Sjette niveau, bullet 12 </a:t>
            </a:r>
            <a:r>
              <a:rPr lang="da-DK" err="1"/>
              <a:t>pkt</a:t>
            </a:r>
            <a:endParaRPr lang="da-DK"/>
          </a:p>
          <a:p>
            <a:pPr lvl="6"/>
            <a:r>
              <a:rPr lang="da-DK"/>
              <a:t>Syvende niveau, bullet 12 </a:t>
            </a:r>
            <a:r>
              <a:rPr lang="da-DK" err="1"/>
              <a:t>pkt</a:t>
            </a:r>
            <a:r>
              <a:rPr lang="da-DK"/>
              <a:t> (indryk 1 gang)</a:t>
            </a:r>
          </a:p>
          <a:p>
            <a:pPr lvl="7"/>
            <a:r>
              <a:rPr lang="da-DK"/>
              <a:t>Ottende niveau, Header bold, 12 </a:t>
            </a:r>
            <a:r>
              <a:rPr lang="da-DK" err="1"/>
              <a:t>pkt</a:t>
            </a:r>
            <a:endParaRPr lang="da-DK"/>
          </a:p>
          <a:p>
            <a:pPr lvl="8"/>
            <a:r>
              <a:rPr lang="da-DK"/>
              <a:t>Niende niveau, Body </a:t>
            </a:r>
            <a:r>
              <a:rPr lang="da-DK" err="1"/>
              <a:t>regular</a:t>
            </a:r>
            <a:r>
              <a:rPr lang="da-DK"/>
              <a:t>, 12 </a:t>
            </a:r>
            <a:r>
              <a:rPr lang="da-DK" err="1"/>
              <a:t>pkt</a:t>
            </a:r>
            <a:endParaRPr lang="da-DK"/>
          </a:p>
        </p:txBody>
      </p:sp>
      <p:sp>
        <p:nvSpPr>
          <p:cNvPr id="5" name="OFF_institute"/>
          <p:cNvSpPr>
            <a:spLocks noGrp="1"/>
          </p:cNvSpPr>
          <p:nvPr>
            <p:ph type="ftr" sz="quarter" idx="3"/>
          </p:nvPr>
        </p:nvSpPr>
        <p:spPr>
          <a:xfrm>
            <a:off x="6915600" y="6376129"/>
            <a:ext cx="2240432" cy="180000"/>
          </a:xfrm>
          <a:prstGeom prst="rect">
            <a:avLst/>
          </a:prstGeom>
        </p:spPr>
        <p:txBody>
          <a:bodyPr vert="horz" lIns="0" tIns="0" rIns="0" bIns="0" rtlCol="0" anchor="t" anchorCtr="0">
            <a:noAutofit/>
          </a:bodyPr>
          <a:lstStyle>
            <a:lvl1pPr algn="r">
              <a:defRPr sz="1000" b="0" cap="none" baseline="0">
                <a:solidFill>
                  <a:schemeClr val="tx1"/>
                </a:solidFill>
              </a:defRPr>
            </a:lvl1pPr>
          </a:lstStyle>
          <a:p>
            <a:endParaRPr lang="da-DK"/>
          </a:p>
        </p:txBody>
      </p:sp>
      <p:sp>
        <p:nvSpPr>
          <p:cNvPr id="16" name="Rectangle 15">
            <a:extLst>
              <a:ext uri="{FF2B5EF4-FFF2-40B4-BE49-F238E27FC236}">
                <a16:creationId xmlns:a16="http://schemas.microsoft.com/office/drawing/2014/main" id="{D9C3F3D4-B958-489D-8401-2859D15536D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Rectangle 16">
            <a:extLst>
              <a:ext uri="{FF2B5EF4-FFF2-40B4-BE49-F238E27FC236}">
                <a16:creationId xmlns:a16="http://schemas.microsoft.com/office/drawing/2014/main" id="{EDAD2A31-35D3-4D5D-AA2D-C72C49CA7FB0}"/>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5" name="Date Placeholder 14">
            <a:extLst>
              <a:ext uri="{FF2B5EF4-FFF2-40B4-BE49-F238E27FC236}">
                <a16:creationId xmlns:a16="http://schemas.microsoft.com/office/drawing/2014/main" id="{A56ADEC3-98E1-4CEA-9AF5-46F4CDD2FA7D}"/>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pic>
        <p:nvPicPr>
          <p:cNvPr id="25" name="Logo black">
            <a:extLst>
              <a:ext uri="{FF2B5EF4-FFF2-40B4-BE49-F238E27FC236}">
                <a16:creationId xmlns:a16="http://schemas.microsoft.com/office/drawing/2014/main" id="{860AC4C2-E6D6-4DCE-950A-C298C0AE9B87}"/>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cxnSp>
        <p:nvCxnSpPr>
          <p:cNvPr id="27" name="Straight Connector 26">
            <a:extLst>
              <a:ext uri="{FF2B5EF4-FFF2-40B4-BE49-F238E27FC236}">
                <a16:creationId xmlns:a16="http://schemas.microsoft.com/office/drawing/2014/main" id="{C6C4C210-3CAD-4E96-8F10-9CD4863FC9B7}"/>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e" descr="{&quot;templafy&quot;:{&quot;id&quot;:&quot;55c1fae4-2d3e-4442-ba05-9546e893e284&quot;}}" title="Form.Date">
            <a:extLst>
              <a:ext uri="{FF2B5EF4-FFF2-40B4-BE49-F238E27FC236}">
                <a16:creationId xmlns:a16="http://schemas.microsoft.com/office/drawing/2014/main" id="{8A346F21-C2D9-45A4-B26D-7DDC2CEB9FB7}"/>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5</a:t>
            </a:r>
          </a:p>
        </p:txBody>
      </p:sp>
      <p:sp>
        <p:nvSpPr>
          <p:cNvPr id="6" name="Slide Number Placeholder 5"/>
          <p:cNvSpPr>
            <a:spLocks noGrp="1"/>
          </p:cNvSpPr>
          <p:nvPr>
            <p:ph type="sldNum" sz="quarter" idx="4"/>
          </p:nvPr>
        </p:nvSpPr>
        <p:spPr>
          <a:xfrm>
            <a:off x="0" y="6912000"/>
            <a:ext cx="0" cy="0"/>
          </a:xfrm>
          <a:prstGeom prst="rect">
            <a:avLst/>
          </a:prstGeom>
        </p:spPr>
        <p:txBody>
          <a:bodyPr vert="horz" lIns="0" tIns="0" rIns="0" bIns="0" rtlCol="0" anchor="t" anchorCtr="0">
            <a:noAutofit/>
          </a:bodyPr>
          <a:lstStyle>
            <a:lvl1pPr algn="ctr">
              <a:defRPr sz="100">
                <a:noFill/>
              </a:defRPr>
            </a:lvl1pPr>
          </a:lstStyle>
          <a:p>
            <a:fld id="{45D37B1E-C366-494F-A587-962AD9AABC83}" type="slidenum">
              <a:rPr lang="da-DK" smtClean="0"/>
              <a:pPr/>
              <a:t>‹#›</a:t>
            </a:fld>
            <a:endParaRPr lang="da-DK"/>
          </a:p>
        </p:txBody>
      </p:sp>
      <p:sp>
        <p:nvSpPr>
          <p:cNvPr id="18" name="Date Placeholder 14">
            <a:extLst>
              <a:ext uri="{FF2B5EF4-FFF2-40B4-BE49-F238E27FC236}">
                <a16:creationId xmlns:a16="http://schemas.microsoft.com/office/drawing/2014/main" id="{7DF98717-AAEA-4E2B-96B8-AAAFF896C0E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13" name="text" descr="{&quot;templafy&quot;:{&quot;id&quot;:&quot;d0069329-db3e-43d6-a721-6a4cf7c20ad9&quot;}}" title="UserProfile.Institut.InstituteDCU_{{DocumentLanguage}}">
            <a:extLst>
              <a:ext uri="{FF2B5EF4-FFF2-40B4-BE49-F238E27FC236}">
                <a16:creationId xmlns:a16="http://schemas.microsoft.com/office/drawing/2014/main" id="{125E96D5-3BB9-422E-861E-C7C7A150AD68}"/>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dirty="0"/>
              <a:t>SDU SIS</a:t>
            </a:r>
          </a:p>
        </p:txBody>
      </p:sp>
    </p:spTree>
    <p:extLst>
      <p:ext uri="{BB962C8B-B14F-4D97-AF65-F5344CB8AC3E}">
        <p14:creationId xmlns:p14="http://schemas.microsoft.com/office/powerpoint/2010/main" val="228497311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1" r:id="rId16"/>
    <p:sldLayoutId id="2147483802" r:id="rId17"/>
    <p:sldLayoutId id="2147483803" r:id="rId18"/>
  </p:sldLayoutIdLst>
  <p:hf hdr="0"/>
  <p:txStyles>
    <p:titleStyle>
      <a:lvl1pPr algn="l" defTabSz="914400" rtl="0" eaLnBrk="1" latinLnBrk="0" hangingPunct="1">
        <a:lnSpc>
          <a:spcPct val="97000"/>
        </a:lnSpc>
        <a:spcBef>
          <a:spcPct val="0"/>
        </a:spcBef>
        <a:buNone/>
        <a:tabLst>
          <a:tab pos="1438275" algn="l"/>
        </a:tabLst>
        <a:defRPr sz="3600" b="1"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5">
          <p15:clr>
            <a:srgbClr val="F26B43"/>
          </p15:clr>
        </p15:guide>
        <p15:guide id="4" orient="horz" pos="1071">
          <p15:clr>
            <a:srgbClr val="F26B43"/>
          </p15:clr>
        </p15:guide>
        <p15:guide id="5" pos="259">
          <p15:clr>
            <a:srgbClr val="F26B43"/>
          </p15:clr>
        </p15:guide>
        <p15:guide id="6" pos="7421">
          <p15:clr>
            <a:srgbClr val="F26B43"/>
          </p15:clr>
        </p15:guide>
        <p15:guide id="7" orient="horz" pos="1253">
          <p15:clr>
            <a:srgbClr val="F26B43"/>
          </p15:clr>
        </p15:guide>
        <p15:guide id="8" orient="horz" pos="3680">
          <p15:clr>
            <a:srgbClr val="F26B43"/>
          </p15:clr>
        </p15:guide>
        <p15:guide id="9" orient="horz" pos="3916">
          <p15:clr>
            <a:srgbClr val="F26B43"/>
          </p15:clr>
        </p15:guide>
        <p15:guide id="10" orient="horz" pos="4094">
          <p15:clr>
            <a:srgbClr val="F26B43"/>
          </p15:clr>
        </p15:guide>
        <p15:guide id="11" pos="545">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10400" y="1028247"/>
            <a:ext cx="11379347" cy="1602672"/>
          </a:xfrm>
          <a:prstGeom prst="rect">
            <a:avLst/>
          </a:prstGeom>
        </p:spPr>
        <p:txBody>
          <a:bodyPr vert="horz" lIns="0" tIns="0" rIns="0" bIns="0" rtlCol="0" anchor="t" anchorCtr="0">
            <a:noAutofit/>
          </a:bodyPr>
          <a:lstStyle/>
          <a:p>
            <a:r>
              <a:rPr lang="da-DK"/>
              <a:t>Klik for at redigere i master</a:t>
            </a:r>
          </a:p>
        </p:txBody>
      </p:sp>
      <p:sp>
        <p:nvSpPr>
          <p:cNvPr id="3" name="Text Placeholder 2"/>
          <p:cNvSpPr>
            <a:spLocks noGrp="1"/>
          </p:cNvSpPr>
          <p:nvPr>
            <p:ph type="body" idx="1"/>
          </p:nvPr>
        </p:nvSpPr>
        <p:spPr>
          <a:xfrm>
            <a:off x="410400" y="3369040"/>
            <a:ext cx="11371905" cy="2472960"/>
          </a:xfrm>
          <a:prstGeom prst="rect">
            <a:avLst/>
          </a:prstGeom>
        </p:spPr>
        <p:txBody>
          <a:bodyPr vert="horz" lIns="0" tIns="0" rIns="0" bIns="0" rtlCol="0">
            <a:noAutofit/>
          </a:bodyPr>
          <a:lstStyle/>
          <a:p>
            <a:pPr lvl="0"/>
            <a:r>
              <a:rPr lang="da-DK"/>
              <a:t>Første niveau, bullet 16 </a:t>
            </a:r>
            <a:r>
              <a:rPr lang="da-DK" err="1"/>
              <a:t>pkt</a:t>
            </a:r>
            <a:endParaRPr lang="da-DK"/>
          </a:p>
          <a:p>
            <a:pPr lvl="1"/>
            <a:r>
              <a:rPr lang="da-DK"/>
              <a:t>Andet niveau, bullet 14 </a:t>
            </a:r>
            <a:r>
              <a:rPr lang="da-DK" err="1"/>
              <a:t>pkt</a:t>
            </a:r>
            <a:endParaRPr lang="da-DK"/>
          </a:p>
          <a:p>
            <a:pPr lvl="2"/>
            <a:r>
              <a:rPr lang="da-DK"/>
              <a:t>Tredje niveau, bullet 12 </a:t>
            </a:r>
            <a:r>
              <a:rPr lang="da-DK" err="1"/>
              <a:t>pkt</a:t>
            </a:r>
            <a:endParaRPr lang="da-DK"/>
          </a:p>
          <a:p>
            <a:pPr lvl="3"/>
            <a:r>
              <a:rPr lang="da-DK"/>
              <a:t>Fjerde niveau, Header bold 16 </a:t>
            </a:r>
            <a:r>
              <a:rPr lang="da-DK" err="1"/>
              <a:t>pkt</a:t>
            </a:r>
            <a:endParaRPr lang="da-DK"/>
          </a:p>
          <a:p>
            <a:pPr lvl="4"/>
            <a:r>
              <a:rPr lang="da-DK"/>
              <a:t>Femte niveau, Body </a:t>
            </a:r>
            <a:r>
              <a:rPr lang="da-DK" err="1"/>
              <a:t>regular</a:t>
            </a:r>
            <a:r>
              <a:rPr lang="da-DK"/>
              <a:t> 16 </a:t>
            </a:r>
            <a:r>
              <a:rPr lang="da-DK" err="1"/>
              <a:t>pkt</a:t>
            </a:r>
            <a:endParaRPr lang="da-DK"/>
          </a:p>
          <a:p>
            <a:pPr lvl="5"/>
            <a:r>
              <a:rPr lang="da-DK"/>
              <a:t>Sjette niveau, bullet 12 </a:t>
            </a:r>
            <a:r>
              <a:rPr lang="da-DK" err="1"/>
              <a:t>pkt</a:t>
            </a:r>
            <a:endParaRPr lang="da-DK"/>
          </a:p>
          <a:p>
            <a:pPr lvl="6"/>
            <a:r>
              <a:rPr lang="da-DK"/>
              <a:t>Syvende niveau, bullet 12 </a:t>
            </a:r>
            <a:r>
              <a:rPr lang="da-DK" err="1"/>
              <a:t>pkt</a:t>
            </a:r>
            <a:r>
              <a:rPr lang="da-DK"/>
              <a:t> (indryk 1 gang)</a:t>
            </a:r>
          </a:p>
          <a:p>
            <a:pPr lvl="7"/>
            <a:r>
              <a:rPr lang="da-DK"/>
              <a:t>Ottende niveau, Header bold, 12 </a:t>
            </a:r>
            <a:r>
              <a:rPr lang="da-DK" err="1"/>
              <a:t>pkt</a:t>
            </a:r>
            <a:endParaRPr lang="da-DK"/>
          </a:p>
          <a:p>
            <a:pPr lvl="8"/>
            <a:r>
              <a:rPr lang="da-DK"/>
              <a:t>Niende niveau, Body </a:t>
            </a:r>
            <a:r>
              <a:rPr lang="da-DK" err="1"/>
              <a:t>regular</a:t>
            </a:r>
            <a:r>
              <a:rPr lang="da-DK"/>
              <a:t>, 12 </a:t>
            </a:r>
            <a:r>
              <a:rPr lang="da-DK" err="1"/>
              <a:t>pkt</a:t>
            </a:r>
            <a:endParaRPr lang="da-DK"/>
          </a:p>
        </p:txBody>
      </p:sp>
      <p:sp>
        <p:nvSpPr>
          <p:cNvPr id="5" name="OFF_institute"/>
          <p:cNvSpPr>
            <a:spLocks noGrp="1"/>
          </p:cNvSpPr>
          <p:nvPr>
            <p:ph type="ftr" sz="quarter" idx="3"/>
          </p:nvPr>
        </p:nvSpPr>
        <p:spPr>
          <a:xfrm>
            <a:off x="6915600" y="6376129"/>
            <a:ext cx="2240432" cy="180000"/>
          </a:xfrm>
          <a:prstGeom prst="rect">
            <a:avLst/>
          </a:prstGeom>
        </p:spPr>
        <p:txBody>
          <a:bodyPr vert="horz" lIns="0" tIns="0" rIns="0" bIns="0" rtlCol="0" anchor="t" anchorCtr="0">
            <a:noAutofit/>
          </a:bodyPr>
          <a:lstStyle>
            <a:lvl1pPr algn="r">
              <a:defRPr sz="1000" b="0" cap="none" baseline="0">
                <a:solidFill>
                  <a:schemeClr val="tx1"/>
                </a:solidFill>
              </a:defRPr>
            </a:lvl1pPr>
          </a:lstStyle>
          <a:p>
            <a:endParaRPr lang="da-DK"/>
          </a:p>
        </p:txBody>
      </p:sp>
      <p:sp>
        <p:nvSpPr>
          <p:cNvPr id="16" name="Rectangle 15">
            <a:extLst>
              <a:ext uri="{FF2B5EF4-FFF2-40B4-BE49-F238E27FC236}">
                <a16:creationId xmlns:a16="http://schemas.microsoft.com/office/drawing/2014/main" id="{D9C3F3D4-B958-489D-8401-2859D15536DE}"/>
              </a:ext>
            </a:extLst>
          </p:cNvPr>
          <p:cNvSpPr/>
          <p:nvPr userDrawn="1"/>
        </p:nvSpPr>
        <p:spPr>
          <a:xfrm rot="5400000">
            <a:off x="11480800" y="721379"/>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7" name="Rectangle 16">
            <a:extLst>
              <a:ext uri="{FF2B5EF4-FFF2-40B4-BE49-F238E27FC236}">
                <a16:creationId xmlns:a16="http://schemas.microsoft.com/office/drawing/2014/main" id="{EDAD2A31-35D3-4D5D-AA2D-C72C49CA7FB0}"/>
              </a:ext>
            </a:extLst>
          </p:cNvPr>
          <p:cNvSpPr/>
          <p:nvPr userDrawn="1"/>
        </p:nvSpPr>
        <p:spPr>
          <a:xfrm rot="5400000">
            <a:off x="11482792" y="2027544"/>
            <a:ext cx="914400" cy="37651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algn="l"/>
            <a:r>
              <a:rPr lang="da-DK" sz="1100" b="1" noProof="1">
                <a:solidFill>
                  <a:schemeClr val="tx1"/>
                </a:solidFill>
              </a:rPr>
              <a:t>#sdudk</a:t>
            </a:r>
            <a:endParaRPr lang="da-DK"/>
          </a:p>
        </p:txBody>
      </p:sp>
      <p:sp>
        <p:nvSpPr>
          <p:cNvPr id="15" name="Date Placeholder 14">
            <a:extLst>
              <a:ext uri="{FF2B5EF4-FFF2-40B4-BE49-F238E27FC236}">
                <a16:creationId xmlns:a16="http://schemas.microsoft.com/office/drawing/2014/main" id="{A56ADEC3-98E1-4CEA-9AF5-46F4CDD2FA7D}"/>
              </a:ext>
            </a:extLst>
          </p:cNvPr>
          <p:cNvSpPr>
            <a:spLocks noGrp="1"/>
          </p:cNvSpPr>
          <p:nvPr>
            <p:ph type="dt" sz="half" idx="2"/>
          </p:nvPr>
        </p:nvSpPr>
        <p:spPr>
          <a:xfrm>
            <a:off x="0" y="6912000"/>
            <a:ext cx="0" cy="0"/>
          </a:xfrm>
          <a:prstGeom prst="rect">
            <a:avLst/>
          </a:prstGeom>
        </p:spPr>
        <p:txBody>
          <a:bodyPr vert="horz" lIns="91440" tIns="45720" rIns="91440" bIns="45720" rtlCol="0" anchor="ctr"/>
          <a:lstStyle>
            <a:lvl1pPr algn="l">
              <a:defRPr sz="100">
                <a:noFill/>
              </a:defRPr>
            </a:lvl1pPr>
          </a:lstStyle>
          <a:p>
            <a:fld id="{F1A13B18-F5ED-4611-8DBB-F05123AFBA22}" type="datetimeFigureOut">
              <a:rPr lang="da-DK" smtClean="0"/>
              <a:pPr/>
              <a:t>08-05-2025</a:t>
            </a:fld>
            <a:endParaRPr lang="da-DK"/>
          </a:p>
        </p:txBody>
      </p:sp>
      <p:pic>
        <p:nvPicPr>
          <p:cNvPr id="25" name="Logo black">
            <a:extLst>
              <a:ext uri="{FF2B5EF4-FFF2-40B4-BE49-F238E27FC236}">
                <a16:creationId xmlns:a16="http://schemas.microsoft.com/office/drawing/2014/main" id="{860AC4C2-E6D6-4DCE-950A-C298C0AE9B87}"/>
              </a:ext>
            </a:extLst>
          </p:cNvPr>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403346" y="6294893"/>
            <a:ext cx="784800" cy="211840"/>
          </a:xfrm>
          <a:prstGeom prst="rect">
            <a:avLst/>
          </a:prstGeom>
        </p:spPr>
      </p:pic>
      <p:cxnSp>
        <p:nvCxnSpPr>
          <p:cNvPr id="27" name="Straight Connector 26">
            <a:extLst>
              <a:ext uri="{FF2B5EF4-FFF2-40B4-BE49-F238E27FC236}">
                <a16:creationId xmlns:a16="http://schemas.microsoft.com/office/drawing/2014/main" id="{C6C4C210-3CAD-4E96-8F10-9CD4863FC9B7}"/>
              </a:ext>
            </a:extLst>
          </p:cNvPr>
          <p:cNvCxnSpPr>
            <a:cxnSpLocks/>
          </p:cNvCxnSpPr>
          <p:nvPr userDrawn="1"/>
        </p:nvCxnSpPr>
        <p:spPr>
          <a:xfrm>
            <a:off x="410400" y="715665"/>
            <a:ext cx="699211"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date" descr="{&quot;templafy&quot;:{&quot;id&quot;:&quot;55c1fae4-2d3e-4442-ba05-9546e893e284&quot;}}" title="Form.Date">
            <a:extLst>
              <a:ext uri="{FF2B5EF4-FFF2-40B4-BE49-F238E27FC236}">
                <a16:creationId xmlns:a16="http://schemas.microsoft.com/office/drawing/2014/main" id="{8A346F21-C2D9-45A4-B26D-7DDC2CEB9FB7}"/>
              </a:ext>
            </a:extLst>
          </p:cNvPr>
          <p:cNvSpPr/>
          <p:nvPr userDrawn="1"/>
        </p:nvSpPr>
        <p:spPr>
          <a:xfrm>
            <a:off x="9156032" y="6349384"/>
            <a:ext cx="2624806" cy="1800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algn="r"/>
            <a:r>
              <a:rPr lang="da-DK" sz="1200" b="0" dirty="0">
                <a:solidFill>
                  <a:schemeClr val="tx1"/>
                </a:solidFill>
              </a:rPr>
              <a:t>2024</a:t>
            </a:r>
          </a:p>
        </p:txBody>
      </p:sp>
      <p:sp>
        <p:nvSpPr>
          <p:cNvPr id="6" name="Slide Number Placeholder 5"/>
          <p:cNvSpPr>
            <a:spLocks noGrp="1"/>
          </p:cNvSpPr>
          <p:nvPr>
            <p:ph type="sldNum" sz="quarter" idx="4"/>
          </p:nvPr>
        </p:nvSpPr>
        <p:spPr>
          <a:xfrm>
            <a:off x="0" y="6912000"/>
            <a:ext cx="0" cy="0"/>
          </a:xfrm>
          <a:prstGeom prst="rect">
            <a:avLst/>
          </a:prstGeom>
        </p:spPr>
        <p:txBody>
          <a:bodyPr vert="horz" lIns="0" tIns="0" rIns="0" bIns="0" rtlCol="0" anchor="t" anchorCtr="0">
            <a:noAutofit/>
          </a:bodyPr>
          <a:lstStyle>
            <a:lvl1pPr algn="ctr">
              <a:defRPr sz="100">
                <a:noFill/>
              </a:defRPr>
            </a:lvl1pPr>
          </a:lstStyle>
          <a:p>
            <a:fld id="{45D37B1E-C366-494F-A587-962AD9AABC83}" type="slidenum">
              <a:rPr lang="da-DK" smtClean="0"/>
              <a:pPr/>
              <a:t>‹#›</a:t>
            </a:fld>
            <a:endParaRPr lang="da-DK"/>
          </a:p>
        </p:txBody>
      </p:sp>
      <p:sp>
        <p:nvSpPr>
          <p:cNvPr id="18" name="Date Placeholder 14">
            <a:extLst>
              <a:ext uri="{FF2B5EF4-FFF2-40B4-BE49-F238E27FC236}">
                <a16:creationId xmlns:a16="http://schemas.microsoft.com/office/drawing/2014/main" id="{7DF98717-AAEA-4E2B-96B8-AAAFF896C0EA}"/>
              </a:ext>
            </a:extLst>
          </p:cNvPr>
          <p:cNvSpPr txBox="1">
            <a:spLocks/>
          </p:cNvSpPr>
          <p:nvPr userDrawn="1"/>
        </p:nvSpPr>
        <p:spPr>
          <a:xfrm>
            <a:off x="0" y="6912000"/>
            <a:ext cx="0" cy="0"/>
          </a:xfrm>
          <a:prstGeom prst="rect">
            <a:avLst/>
          </a:prstGeom>
        </p:spPr>
        <p:txBody>
          <a:bodyPr vert="horz" lIns="91440" tIns="45720" rIns="91440" bIns="45720" rtlCol="0" anchor="ctr"/>
          <a:lstStyle>
            <a:defPPr>
              <a:defRPr lang="en-US"/>
            </a:defPPr>
            <a:lvl1pPr marL="0" algn="l" defTabSz="914400" rtl="0" eaLnBrk="1" latinLnBrk="0" hangingPunct="1">
              <a:defRPr sz="100" kern="1200">
                <a:no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13B18-F5ED-4611-8DBB-F05123AFBA22}" type="datetimeFigureOut">
              <a:rPr lang="da-DK" smtClean="0"/>
              <a:pPr/>
              <a:t>08-05-2025</a:t>
            </a:fld>
            <a:endParaRPr lang="da-DK"/>
          </a:p>
        </p:txBody>
      </p:sp>
      <p:sp>
        <p:nvSpPr>
          <p:cNvPr id="13" name="text" descr="{&quot;templafy&quot;:{&quot;id&quot;:&quot;d0069329-db3e-43d6-a721-6a4cf7c20ad9&quot;}}" title="UserProfile.Institut.InstituteDCU_{{DocumentLanguage}}">
            <a:extLst>
              <a:ext uri="{FF2B5EF4-FFF2-40B4-BE49-F238E27FC236}">
                <a16:creationId xmlns:a16="http://schemas.microsoft.com/office/drawing/2014/main" id="{125E96D5-3BB9-422E-861E-C7C7A150AD68}"/>
              </a:ext>
            </a:extLst>
          </p:cNvPr>
          <p:cNvSpPr txBox="1">
            <a:spLocks/>
          </p:cNvSpPr>
          <p:nvPr userDrawn="1"/>
        </p:nvSpPr>
        <p:spPr>
          <a:xfrm>
            <a:off x="411163" y="450893"/>
            <a:ext cx="5684837" cy="284778"/>
          </a:xfrm>
          <a:prstGeom prst="rect">
            <a:avLst/>
          </a:prstGeom>
          <a:noFill/>
        </p:spPr>
        <p:txBody>
          <a:bodyPr wrap="square" lIns="10800" tIns="0" rIns="0" bIns="90000" anchor="b" anchorCtr="0">
            <a:spAutoFit/>
          </a:bodyPr>
          <a:lstStyle>
            <a:lvl1pPr marL="0" indent="0" algn="l" defTabSz="914400" rtl="0" eaLnBrk="1" latinLnBrk="0" hangingPunct="1">
              <a:lnSpc>
                <a:spcPct val="90000"/>
              </a:lnSpc>
              <a:spcBef>
                <a:spcPts val="0"/>
              </a:spcBef>
              <a:buFont typeface="Arial" panose="020B0604020202020204" pitchFamily="34" charset="0"/>
              <a:buNone/>
              <a:defRPr sz="1400" b="1"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da-DK"/>
              <a:t>SDU Digital</a:t>
            </a:r>
          </a:p>
        </p:txBody>
      </p:sp>
    </p:spTree>
    <p:extLst>
      <p:ext uri="{BB962C8B-B14F-4D97-AF65-F5344CB8AC3E}">
        <p14:creationId xmlns:p14="http://schemas.microsoft.com/office/powerpoint/2010/main" val="716256205"/>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 id="2147483816" r:id="rId12"/>
    <p:sldLayoutId id="2147483817" r:id="rId13"/>
    <p:sldLayoutId id="2147483818" r:id="rId14"/>
    <p:sldLayoutId id="2147483819" r:id="rId15"/>
    <p:sldLayoutId id="2147483820" r:id="rId16"/>
    <p:sldLayoutId id="2147483821" r:id="rId17"/>
    <p:sldLayoutId id="2147483822" r:id="rId18"/>
    <p:sldLayoutId id="2147483823" r:id="rId19"/>
    <p:sldLayoutId id="2147483824" r:id="rId20"/>
  </p:sldLayoutIdLst>
  <p:hf hdr="0"/>
  <p:txStyles>
    <p:titleStyle>
      <a:lvl1pPr algn="l" defTabSz="914400" rtl="0" eaLnBrk="1" latinLnBrk="0" hangingPunct="1">
        <a:lnSpc>
          <a:spcPct val="97000"/>
        </a:lnSpc>
        <a:spcBef>
          <a:spcPct val="0"/>
        </a:spcBef>
        <a:buNone/>
        <a:tabLst>
          <a:tab pos="1438275" algn="l"/>
        </a:tabLst>
        <a:defRPr sz="3600" b="1"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285">
          <p15:clr>
            <a:srgbClr val="F26B43"/>
          </p15:clr>
        </p15:guide>
        <p15:guide id="4" orient="horz" pos="1071">
          <p15:clr>
            <a:srgbClr val="F26B43"/>
          </p15:clr>
        </p15:guide>
        <p15:guide id="5" pos="259">
          <p15:clr>
            <a:srgbClr val="F26B43"/>
          </p15:clr>
        </p15:guide>
        <p15:guide id="6" pos="7421">
          <p15:clr>
            <a:srgbClr val="F26B43"/>
          </p15:clr>
        </p15:guide>
        <p15:guide id="7" orient="horz" pos="1253">
          <p15:clr>
            <a:srgbClr val="F26B43"/>
          </p15:clr>
        </p15:guide>
        <p15:guide id="8" orient="horz" pos="3680">
          <p15:clr>
            <a:srgbClr val="F26B43"/>
          </p15:clr>
        </p15:guide>
        <p15:guide id="9" orient="horz" pos="3916">
          <p15:clr>
            <a:srgbClr val="F26B43"/>
          </p15:clr>
        </p15:guide>
        <p15:guide id="10" orient="horz" pos="4094">
          <p15:clr>
            <a:srgbClr val="F26B43"/>
          </p15:clr>
        </p15:guide>
        <p15:guide id="11" pos="545">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46DD4A2-45FB-4F4E-8B78-36733C0BFA53}"/>
              </a:ext>
            </a:extLst>
          </p:cNvPr>
          <p:cNvSpPr>
            <a:spLocks noGrp="1"/>
          </p:cNvSpPr>
          <p:nvPr>
            <p:ph type="title"/>
          </p:nvPr>
        </p:nvSpPr>
        <p:spPr>
          <a:xfrm>
            <a:off x="764059" y="248496"/>
            <a:ext cx="10633284" cy="694480"/>
          </a:xfrm>
          <a:prstGeom prst="rect">
            <a:avLst/>
          </a:prstGeom>
        </p:spPr>
        <p:txBody>
          <a:bodyPr vert="horz" lIns="91440" tIns="45720" rIns="91440" bIns="45720" rtlCol="0" anchor="ctr">
            <a:normAutofit/>
          </a:bodyPr>
          <a:lstStyle/>
          <a:p>
            <a:r>
              <a:rPr lang="da-DK"/>
              <a:t>Klik for at redigere titeltypografien i masteren</a:t>
            </a:r>
          </a:p>
        </p:txBody>
      </p:sp>
      <p:sp>
        <p:nvSpPr>
          <p:cNvPr id="3" name="Text Placeholder 2">
            <a:extLst>
              <a:ext uri="{FF2B5EF4-FFF2-40B4-BE49-F238E27FC236}">
                <a16:creationId xmlns:a16="http://schemas.microsoft.com/office/drawing/2014/main" id="{7B00B7FD-8EF9-4F27-9FF5-E4D3F24BFDEE}"/>
              </a:ext>
            </a:extLst>
          </p:cNvPr>
          <p:cNvSpPr>
            <a:spLocks noGrp="1"/>
          </p:cNvSpPr>
          <p:nvPr>
            <p:ph type="body" idx="1"/>
          </p:nvPr>
        </p:nvSpPr>
        <p:spPr>
          <a:xfrm>
            <a:off x="764060" y="1219200"/>
            <a:ext cx="10633284" cy="4585749"/>
          </a:xfrm>
          <a:prstGeom prst="rect">
            <a:avLst/>
          </a:prstGeom>
        </p:spPr>
        <p:txBody>
          <a:bodyPr vert="horz" lIns="91440" tIns="45720" rIns="91440" bIns="45720" rtlCol="0">
            <a:normAutofit/>
          </a:bodyPr>
          <a:lstStyle/>
          <a:p>
            <a:pPr lvl="0"/>
            <a:r>
              <a:rPr lang="da-DK"/>
              <a:t>Klik for at redigere teksttypografierne i masteren</a:t>
            </a:r>
          </a:p>
          <a:p>
            <a:pPr lvl="1"/>
            <a:r>
              <a:rPr lang="da-DK"/>
              <a:t>Andet niveau</a:t>
            </a:r>
          </a:p>
          <a:p>
            <a:pPr lvl="2"/>
            <a:r>
              <a:rPr lang="da-DK"/>
              <a:t>Tredje niveau</a:t>
            </a:r>
          </a:p>
          <a:p>
            <a:pPr lvl="3"/>
            <a:r>
              <a:rPr lang="da-DK"/>
              <a:t>Fjerde niveau</a:t>
            </a:r>
          </a:p>
          <a:p>
            <a:pPr lvl="4"/>
            <a:r>
              <a:rPr lang="da-DK"/>
              <a:t>Femte niveau</a:t>
            </a:r>
          </a:p>
        </p:txBody>
      </p:sp>
      <p:sp>
        <p:nvSpPr>
          <p:cNvPr id="6" name="Slide Number Placeholder 5">
            <a:extLst>
              <a:ext uri="{FF2B5EF4-FFF2-40B4-BE49-F238E27FC236}">
                <a16:creationId xmlns:a16="http://schemas.microsoft.com/office/drawing/2014/main" id="{1F1C07C1-CD3D-4DB6-9298-730D47960B9A}"/>
              </a:ext>
            </a:extLst>
          </p:cNvPr>
          <p:cNvSpPr>
            <a:spLocks noGrp="1"/>
          </p:cNvSpPr>
          <p:nvPr>
            <p:ph type="sldNum" sz="quarter" idx="4"/>
          </p:nvPr>
        </p:nvSpPr>
        <p:spPr>
          <a:xfrm>
            <a:off x="11397013" y="6367732"/>
            <a:ext cx="339702" cy="365125"/>
          </a:xfrm>
          <a:prstGeom prst="rect">
            <a:avLst/>
          </a:prstGeom>
        </p:spPr>
        <p:txBody>
          <a:bodyPr vert="horz" lIns="91440" tIns="45720" rIns="91440" bIns="45720" rtlCol="0" anchor="ctr"/>
          <a:lstStyle>
            <a:lvl1pPr algn="r">
              <a:defRPr sz="800" b="1">
                <a:solidFill>
                  <a:schemeClr val="tx2"/>
                </a:solidFill>
              </a:defRPr>
            </a:lvl1pPr>
          </a:lstStyle>
          <a:p>
            <a:fld id="{39DF810D-F77C-4BB2-BE6A-BDC67BB44902}" type="slidenum">
              <a:rPr lang="da-DK" smtClean="0"/>
              <a:pPr/>
              <a:t>‹#›</a:t>
            </a:fld>
            <a:endParaRPr lang="da-DK"/>
          </a:p>
        </p:txBody>
      </p:sp>
      <p:sp>
        <p:nvSpPr>
          <p:cNvPr id="21" name="Date Placeholder 2">
            <a:extLst>
              <a:ext uri="{FF2B5EF4-FFF2-40B4-BE49-F238E27FC236}">
                <a16:creationId xmlns:a16="http://schemas.microsoft.com/office/drawing/2014/main" id="{7B85E22B-E3A6-468B-B191-847B1A52434C}"/>
              </a:ext>
            </a:extLst>
          </p:cNvPr>
          <p:cNvSpPr>
            <a:spLocks noGrp="1"/>
          </p:cNvSpPr>
          <p:nvPr>
            <p:ph type="dt" sz="half" idx="2"/>
          </p:nvPr>
        </p:nvSpPr>
        <p:spPr>
          <a:xfrm>
            <a:off x="10649551" y="6367732"/>
            <a:ext cx="747627" cy="365125"/>
          </a:xfrm>
          <a:prstGeom prst="rect">
            <a:avLst/>
          </a:prstGeom>
        </p:spPr>
        <p:txBody>
          <a:bodyPr anchor="ctr"/>
          <a:lstStyle>
            <a:lvl1pPr>
              <a:defRPr lang="da-DK" sz="800" i="0" kern="1200" smtClean="0">
                <a:solidFill>
                  <a:schemeClr val="tx1"/>
                </a:solidFill>
                <a:latin typeface="+mn-lt"/>
                <a:ea typeface="Campton Book"/>
                <a:cs typeface="Times New Roman" panose="02020603050405020304" pitchFamily="18" charset="0"/>
              </a:defRPr>
            </a:lvl1pPr>
          </a:lstStyle>
          <a:p>
            <a:fld id="{6585D110-0B52-4CB9-8AE7-B495E4D5B418}" type="datetime1">
              <a:rPr lang="da-DK" noProof="0" smtClean="0"/>
              <a:t>08-05-2025</a:t>
            </a:fld>
            <a:endParaRPr lang="da-DK" noProof="0"/>
          </a:p>
        </p:txBody>
      </p:sp>
      <p:cxnSp>
        <p:nvCxnSpPr>
          <p:cNvPr id="44" name="Straight Connector 43">
            <a:extLst>
              <a:ext uri="{FF2B5EF4-FFF2-40B4-BE49-F238E27FC236}">
                <a16:creationId xmlns:a16="http://schemas.microsoft.com/office/drawing/2014/main" id="{DD9B577F-B1B7-49CF-BBA6-9AB551BB078E}"/>
              </a:ext>
            </a:extLst>
          </p:cNvPr>
          <p:cNvCxnSpPr>
            <a:cxnSpLocks/>
          </p:cNvCxnSpPr>
          <p:nvPr userDrawn="1"/>
        </p:nvCxnSpPr>
        <p:spPr>
          <a:xfrm>
            <a:off x="11397344" y="6321704"/>
            <a:ext cx="0" cy="457181"/>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184EC0E8-A7B2-4536-A22C-59A10CD810BE}"/>
              </a:ext>
            </a:extLst>
          </p:cNvPr>
          <p:cNvGrpSpPr>
            <a:grpSpLocks/>
          </p:cNvGrpSpPr>
          <p:nvPr userDrawn="1"/>
        </p:nvGrpSpPr>
        <p:grpSpPr>
          <a:xfrm>
            <a:off x="220034" y="6097318"/>
            <a:ext cx="1469181" cy="538076"/>
            <a:chOff x="632997" y="3237301"/>
            <a:chExt cx="1214135" cy="444667"/>
          </a:xfrm>
        </p:grpSpPr>
        <p:grpSp>
          <p:nvGrpSpPr>
            <p:cNvPr id="9" name="Graphic 5">
              <a:extLst>
                <a:ext uri="{FF2B5EF4-FFF2-40B4-BE49-F238E27FC236}">
                  <a16:creationId xmlns:a16="http://schemas.microsoft.com/office/drawing/2014/main" id="{1E03E947-F546-40E3-B1F9-6514937E3B36}"/>
                </a:ext>
              </a:extLst>
            </p:cNvPr>
            <p:cNvGrpSpPr/>
            <p:nvPr/>
          </p:nvGrpSpPr>
          <p:grpSpPr>
            <a:xfrm>
              <a:off x="1202431" y="3237301"/>
              <a:ext cx="644701" cy="179292"/>
              <a:chOff x="1202431" y="3237301"/>
              <a:chExt cx="644701" cy="179292"/>
            </a:xfrm>
            <a:solidFill>
              <a:srgbClr val="084F45"/>
            </a:solidFill>
          </p:grpSpPr>
          <p:sp>
            <p:nvSpPr>
              <p:cNvPr id="68" name="Freeform: Shape 67">
                <a:extLst>
                  <a:ext uri="{FF2B5EF4-FFF2-40B4-BE49-F238E27FC236}">
                    <a16:creationId xmlns:a16="http://schemas.microsoft.com/office/drawing/2014/main" id="{3F564439-84D5-4814-BDA4-902435653E1A}"/>
                  </a:ext>
                </a:extLst>
              </p:cNvPr>
              <p:cNvSpPr/>
              <p:nvPr/>
            </p:nvSpPr>
            <p:spPr>
              <a:xfrm>
                <a:off x="1202431" y="3239718"/>
                <a:ext cx="108415" cy="136600"/>
              </a:xfrm>
              <a:custGeom>
                <a:avLst/>
                <a:gdLst>
                  <a:gd name="connsiteX0" fmla="*/ 0 w 108415"/>
                  <a:gd name="connsiteY0" fmla="*/ 136601 h 136600"/>
                  <a:gd name="connsiteX1" fmla="*/ 0 w 108415"/>
                  <a:gd name="connsiteY1" fmla="*/ 0 h 136600"/>
                  <a:gd name="connsiteX2" fmla="*/ 26849 w 108415"/>
                  <a:gd name="connsiteY2" fmla="*/ 0 h 136600"/>
                  <a:gd name="connsiteX3" fmla="*/ 82775 w 108415"/>
                  <a:gd name="connsiteY3" fmla="*/ 91237 h 136600"/>
                  <a:gd name="connsiteX4" fmla="*/ 82775 w 108415"/>
                  <a:gd name="connsiteY4" fmla="*/ 0 h 136600"/>
                  <a:gd name="connsiteX5" fmla="*/ 108415 w 108415"/>
                  <a:gd name="connsiteY5" fmla="*/ 0 h 136600"/>
                  <a:gd name="connsiteX6" fmla="*/ 108415 w 108415"/>
                  <a:gd name="connsiteY6" fmla="*/ 136601 h 136600"/>
                  <a:gd name="connsiteX7" fmla="*/ 80739 w 108415"/>
                  <a:gd name="connsiteY7" fmla="*/ 136601 h 136600"/>
                  <a:gd name="connsiteX8" fmla="*/ 25640 w 108415"/>
                  <a:gd name="connsiteY8" fmla="*/ 47527 h 136600"/>
                  <a:gd name="connsiteX9" fmla="*/ 25640 w 108415"/>
                  <a:gd name="connsiteY9" fmla="*/ 136601 h 136600"/>
                  <a:gd name="connsiteX10" fmla="*/ 0 w 108415"/>
                  <a:gd name="connsiteY10" fmla="*/ 136601 h 136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8415" h="136600">
                    <a:moveTo>
                      <a:pt x="0" y="136601"/>
                    </a:moveTo>
                    <a:lnTo>
                      <a:pt x="0" y="0"/>
                    </a:lnTo>
                    <a:lnTo>
                      <a:pt x="26849" y="0"/>
                    </a:lnTo>
                    <a:lnTo>
                      <a:pt x="82775" y="91237"/>
                    </a:lnTo>
                    <a:lnTo>
                      <a:pt x="82775" y="0"/>
                    </a:lnTo>
                    <a:lnTo>
                      <a:pt x="108415" y="0"/>
                    </a:lnTo>
                    <a:lnTo>
                      <a:pt x="108415" y="136601"/>
                    </a:lnTo>
                    <a:lnTo>
                      <a:pt x="80739" y="136601"/>
                    </a:lnTo>
                    <a:lnTo>
                      <a:pt x="25640" y="47527"/>
                    </a:lnTo>
                    <a:lnTo>
                      <a:pt x="25640" y="136601"/>
                    </a:lnTo>
                    <a:lnTo>
                      <a:pt x="0" y="136601"/>
                    </a:lnTo>
                    <a:close/>
                  </a:path>
                </a:pathLst>
              </a:custGeom>
              <a:solidFill>
                <a:srgbClr val="084F45"/>
              </a:solidFill>
              <a:ln w="6361" cap="flat">
                <a:noFill/>
                <a:prstDash val="solid"/>
                <a:miter/>
              </a:ln>
            </p:spPr>
            <p:txBody>
              <a:bodyPr rtlCol="0" anchor="ctr"/>
              <a:lstStyle/>
              <a:p>
                <a:endParaRPr lang="da-DK"/>
              </a:p>
            </p:txBody>
          </p:sp>
          <p:sp>
            <p:nvSpPr>
              <p:cNvPr id="69" name="Freeform: Shape 68">
                <a:extLst>
                  <a:ext uri="{FF2B5EF4-FFF2-40B4-BE49-F238E27FC236}">
                    <a16:creationId xmlns:a16="http://schemas.microsoft.com/office/drawing/2014/main" id="{C61C0758-62F3-4C5D-8A8A-165898090604}"/>
                  </a:ext>
                </a:extLst>
              </p:cNvPr>
              <p:cNvSpPr/>
              <p:nvPr/>
            </p:nvSpPr>
            <p:spPr>
              <a:xfrm>
                <a:off x="1323571" y="3277384"/>
                <a:ext cx="101734" cy="139208"/>
              </a:xfrm>
              <a:custGeom>
                <a:avLst/>
                <a:gdLst>
                  <a:gd name="connsiteX0" fmla="*/ 0 w 101734"/>
                  <a:gd name="connsiteY0" fmla="*/ 0 h 139208"/>
                  <a:gd name="connsiteX1" fmla="*/ 27867 w 101734"/>
                  <a:gd name="connsiteY1" fmla="*/ 0 h 139208"/>
                  <a:gd name="connsiteX2" fmla="*/ 51535 w 101734"/>
                  <a:gd name="connsiteY2" fmla="*/ 70241 h 139208"/>
                  <a:gd name="connsiteX3" fmla="*/ 74631 w 101734"/>
                  <a:gd name="connsiteY3" fmla="*/ 0 h 139208"/>
                  <a:gd name="connsiteX4" fmla="*/ 101735 w 101734"/>
                  <a:gd name="connsiteY4" fmla="*/ 0 h 139208"/>
                  <a:gd name="connsiteX5" fmla="*/ 66805 w 101734"/>
                  <a:gd name="connsiteY5" fmla="*/ 95245 h 139208"/>
                  <a:gd name="connsiteX6" fmla="*/ 60570 w 101734"/>
                  <a:gd name="connsiteY6" fmla="*/ 112487 h 139208"/>
                  <a:gd name="connsiteX7" fmla="*/ 54017 w 101734"/>
                  <a:gd name="connsiteY7" fmla="*/ 125721 h 139208"/>
                  <a:gd name="connsiteX8" fmla="*/ 46827 w 101734"/>
                  <a:gd name="connsiteY8" fmla="*/ 133165 h 139208"/>
                  <a:gd name="connsiteX9" fmla="*/ 36838 w 101734"/>
                  <a:gd name="connsiteY9" fmla="*/ 137618 h 139208"/>
                  <a:gd name="connsiteX10" fmla="*/ 23477 w 101734"/>
                  <a:gd name="connsiteY10" fmla="*/ 139209 h 139208"/>
                  <a:gd name="connsiteX11" fmla="*/ 8653 w 101734"/>
                  <a:gd name="connsiteY11" fmla="*/ 137618 h 139208"/>
                  <a:gd name="connsiteX12" fmla="*/ 6299 w 101734"/>
                  <a:gd name="connsiteY12" fmla="*/ 117131 h 139208"/>
                  <a:gd name="connsiteX13" fmla="*/ 17369 w 101734"/>
                  <a:gd name="connsiteY13" fmla="*/ 118340 h 139208"/>
                  <a:gd name="connsiteX14" fmla="*/ 30858 w 101734"/>
                  <a:gd name="connsiteY14" fmla="*/ 112996 h 139208"/>
                  <a:gd name="connsiteX15" fmla="*/ 37538 w 101734"/>
                  <a:gd name="connsiteY15" fmla="*/ 99317 h 139208"/>
                  <a:gd name="connsiteX16" fmla="*/ 0 w 101734"/>
                  <a:gd name="connsiteY16" fmla="*/ 0 h 139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39208">
                    <a:moveTo>
                      <a:pt x="0" y="0"/>
                    </a:moveTo>
                    <a:lnTo>
                      <a:pt x="27867" y="0"/>
                    </a:lnTo>
                    <a:lnTo>
                      <a:pt x="51535" y="70241"/>
                    </a:lnTo>
                    <a:lnTo>
                      <a:pt x="74631" y="0"/>
                    </a:lnTo>
                    <a:lnTo>
                      <a:pt x="101735" y="0"/>
                    </a:lnTo>
                    <a:lnTo>
                      <a:pt x="66805" y="95245"/>
                    </a:lnTo>
                    <a:lnTo>
                      <a:pt x="60570" y="112487"/>
                    </a:lnTo>
                    <a:cubicBezTo>
                      <a:pt x="58279" y="118277"/>
                      <a:pt x="56053" y="122667"/>
                      <a:pt x="54017" y="125721"/>
                    </a:cubicBezTo>
                    <a:cubicBezTo>
                      <a:pt x="51917" y="128775"/>
                      <a:pt x="49563" y="131256"/>
                      <a:pt x="46827" y="133165"/>
                    </a:cubicBezTo>
                    <a:cubicBezTo>
                      <a:pt x="44155" y="135073"/>
                      <a:pt x="40783" y="136537"/>
                      <a:pt x="36838" y="137618"/>
                    </a:cubicBezTo>
                    <a:cubicBezTo>
                      <a:pt x="32894" y="138700"/>
                      <a:pt x="28440" y="139209"/>
                      <a:pt x="23477" y="139209"/>
                    </a:cubicBezTo>
                    <a:cubicBezTo>
                      <a:pt x="18451" y="139209"/>
                      <a:pt x="13488" y="138700"/>
                      <a:pt x="8653" y="137618"/>
                    </a:cubicBezTo>
                    <a:lnTo>
                      <a:pt x="6299" y="117131"/>
                    </a:lnTo>
                    <a:cubicBezTo>
                      <a:pt x="10371" y="117959"/>
                      <a:pt x="14125" y="118340"/>
                      <a:pt x="17369" y="118340"/>
                    </a:cubicBezTo>
                    <a:cubicBezTo>
                      <a:pt x="23477" y="118340"/>
                      <a:pt x="27995" y="116559"/>
                      <a:pt x="30858" y="112996"/>
                    </a:cubicBezTo>
                    <a:cubicBezTo>
                      <a:pt x="33784" y="109433"/>
                      <a:pt x="36011" y="104852"/>
                      <a:pt x="37538" y="99317"/>
                    </a:cubicBezTo>
                    <a:lnTo>
                      <a:pt x="0" y="0"/>
                    </a:lnTo>
                    <a:close/>
                  </a:path>
                </a:pathLst>
              </a:custGeom>
              <a:solidFill>
                <a:srgbClr val="084F45"/>
              </a:solidFill>
              <a:ln w="6361" cap="flat">
                <a:noFill/>
                <a:prstDash val="solid"/>
                <a:miter/>
              </a:ln>
            </p:spPr>
            <p:txBody>
              <a:bodyPr rtlCol="0" anchor="ctr"/>
              <a:lstStyle/>
              <a:p>
                <a:endParaRPr lang="da-DK"/>
              </a:p>
            </p:txBody>
          </p:sp>
          <p:sp>
            <p:nvSpPr>
              <p:cNvPr id="70" name="Freeform: Shape 69">
                <a:extLst>
                  <a:ext uri="{FF2B5EF4-FFF2-40B4-BE49-F238E27FC236}">
                    <a16:creationId xmlns:a16="http://schemas.microsoft.com/office/drawing/2014/main" id="{05AB0557-A49F-4624-8C73-1D5EBD57224C}"/>
                  </a:ext>
                </a:extLst>
              </p:cNvPr>
              <p:cNvSpPr/>
              <p:nvPr/>
            </p:nvSpPr>
            <p:spPr>
              <a:xfrm>
                <a:off x="1435231" y="3242518"/>
                <a:ext cx="58343" cy="136091"/>
              </a:xfrm>
              <a:custGeom>
                <a:avLst/>
                <a:gdLst>
                  <a:gd name="connsiteX0" fmla="*/ 56116 w 58343"/>
                  <a:gd name="connsiteY0" fmla="*/ 34866 h 136091"/>
                  <a:gd name="connsiteX1" fmla="*/ 56116 w 58343"/>
                  <a:gd name="connsiteY1" fmla="*/ 55735 h 136091"/>
                  <a:gd name="connsiteX2" fmla="*/ 38238 w 58343"/>
                  <a:gd name="connsiteY2" fmla="*/ 55735 h 136091"/>
                  <a:gd name="connsiteX3" fmla="*/ 38238 w 58343"/>
                  <a:gd name="connsiteY3" fmla="*/ 95627 h 136091"/>
                  <a:gd name="connsiteX4" fmla="*/ 38747 w 58343"/>
                  <a:gd name="connsiteY4" fmla="*/ 109751 h 136091"/>
                  <a:gd name="connsiteX5" fmla="*/ 41101 w 58343"/>
                  <a:gd name="connsiteY5" fmla="*/ 113060 h 136091"/>
                  <a:gd name="connsiteX6" fmla="*/ 45555 w 58343"/>
                  <a:gd name="connsiteY6" fmla="*/ 114396 h 136091"/>
                  <a:gd name="connsiteX7" fmla="*/ 56116 w 58343"/>
                  <a:gd name="connsiteY7" fmla="*/ 111851 h 136091"/>
                  <a:gd name="connsiteX8" fmla="*/ 58343 w 58343"/>
                  <a:gd name="connsiteY8" fmla="*/ 132147 h 136091"/>
                  <a:gd name="connsiteX9" fmla="*/ 37665 w 58343"/>
                  <a:gd name="connsiteY9" fmla="*/ 136091 h 136091"/>
                  <a:gd name="connsiteX10" fmla="*/ 24877 w 58343"/>
                  <a:gd name="connsiteY10" fmla="*/ 133737 h 136091"/>
                  <a:gd name="connsiteX11" fmla="*/ 16542 w 58343"/>
                  <a:gd name="connsiteY11" fmla="*/ 127566 h 136091"/>
                  <a:gd name="connsiteX12" fmla="*/ 12852 w 58343"/>
                  <a:gd name="connsiteY12" fmla="*/ 117386 h 136091"/>
                  <a:gd name="connsiteX13" fmla="*/ 12025 w 58343"/>
                  <a:gd name="connsiteY13" fmla="*/ 98935 h 136091"/>
                  <a:gd name="connsiteX14" fmla="*/ 12025 w 58343"/>
                  <a:gd name="connsiteY14" fmla="*/ 55798 h 136091"/>
                  <a:gd name="connsiteX15" fmla="*/ 0 w 58343"/>
                  <a:gd name="connsiteY15" fmla="*/ 55798 h 136091"/>
                  <a:gd name="connsiteX16" fmla="*/ 0 w 58343"/>
                  <a:gd name="connsiteY16" fmla="*/ 34929 h 136091"/>
                  <a:gd name="connsiteX17" fmla="*/ 12025 w 58343"/>
                  <a:gd name="connsiteY17" fmla="*/ 34929 h 136091"/>
                  <a:gd name="connsiteX18" fmla="*/ 12025 w 58343"/>
                  <a:gd name="connsiteY18" fmla="*/ 15270 h 136091"/>
                  <a:gd name="connsiteX19" fmla="*/ 38302 w 58343"/>
                  <a:gd name="connsiteY19" fmla="*/ 0 h 136091"/>
                  <a:gd name="connsiteX20" fmla="*/ 38302 w 58343"/>
                  <a:gd name="connsiteY20" fmla="*/ 34929 h 136091"/>
                  <a:gd name="connsiteX21" fmla="*/ 56116 w 58343"/>
                  <a:gd name="connsiteY21" fmla="*/ 34929 h 1360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8343" h="136091">
                    <a:moveTo>
                      <a:pt x="56116" y="34866"/>
                    </a:moveTo>
                    <a:lnTo>
                      <a:pt x="56116" y="55735"/>
                    </a:lnTo>
                    <a:lnTo>
                      <a:pt x="38238" y="55735"/>
                    </a:lnTo>
                    <a:lnTo>
                      <a:pt x="38238" y="95627"/>
                    </a:lnTo>
                    <a:cubicBezTo>
                      <a:pt x="38238" y="103707"/>
                      <a:pt x="38429" y="108415"/>
                      <a:pt x="38747" y="109751"/>
                    </a:cubicBezTo>
                    <a:cubicBezTo>
                      <a:pt x="39065" y="111087"/>
                      <a:pt x="39892" y="112169"/>
                      <a:pt x="41101" y="113060"/>
                    </a:cubicBezTo>
                    <a:cubicBezTo>
                      <a:pt x="42310" y="113950"/>
                      <a:pt x="43773" y="114396"/>
                      <a:pt x="45555" y="114396"/>
                    </a:cubicBezTo>
                    <a:cubicBezTo>
                      <a:pt x="47972" y="114396"/>
                      <a:pt x="51472" y="113569"/>
                      <a:pt x="56116" y="111851"/>
                    </a:cubicBezTo>
                    <a:lnTo>
                      <a:pt x="58343" y="132147"/>
                    </a:lnTo>
                    <a:cubicBezTo>
                      <a:pt x="52235" y="134755"/>
                      <a:pt x="45364" y="136091"/>
                      <a:pt x="37665" y="136091"/>
                    </a:cubicBezTo>
                    <a:cubicBezTo>
                      <a:pt x="32957" y="136091"/>
                      <a:pt x="28694" y="135328"/>
                      <a:pt x="24877" y="133737"/>
                    </a:cubicBezTo>
                    <a:cubicBezTo>
                      <a:pt x="21059" y="132147"/>
                      <a:pt x="18324" y="130111"/>
                      <a:pt x="16542" y="127566"/>
                    </a:cubicBezTo>
                    <a:cubicBezTo>
                      <a:pt x="14761" y="125021"/>
                      <a:pt x="13552" y="121649"/>
                      <a:pt x="12852" y="117386"/>
                    </a:cubicBezTo>
                    <a:cubicBezTo>
                      <a:pt x="12279" y="114332"/>
                      <a:pt x="12025" y="108161"/>
                      <a:pt x="12025" y="98935"/>
                    </a:cubicBezTo>
                    <a:lnTo>
                      <a:pt x="12025" y="55798"/>
                    </a:lnTo>
                    <a:lnTo>
                      <a:pt x="0" y="55798"/>
                    </a:lnTo>
                    <a:lnTo>
                      <a:pt x="0" y="34929"/>
                    </a:lnTo>
                    <a:lnTo>
                      <a:pt x="12025" y="34929"/>
                    </a:lnTo>
                    <a:lnTo>
                      <a:pt x="12025" y="15270"/>
                    </a:lnTo>
                    <a:lnTo>
                      <a:pt x="38302" y="0"/>
                    </a:lnTo>
                    <a:lnTo>
                      <a:pt x="38302" y="34929"/>
                    </a:lnTo>
                    <a:lnTo>
                      <a:pt x="56116" y="34929"/>
                    </a:lnTo>
                    <a:close/>
                  </a:path>
                </a:pathLst>
              </a:custGeom>
              <a:solidFill>
                <a:srgbClr val="084F45"/>
              </a:solidFill>
              <a:ln w="6361" cap="flat">
                <a:noFill/>
                <a:prstDash val="solid"/>
                <a:miter/>
              </a:ln>
            </p:spPr>
            <p:txBody>
              <a:bodyPr rtlCol="0" anchor="ctr"/>
              <a:lstStyle/>
              <a:p>
                <a:endParaRPr lang="da-DK"/>
              </a:p>
            </p:txBody>
          </p:sp>
          <p:sp>
            <p:nvSpPr>
              <p:cNvPr id="71" name="Freeform: Shape 70">
                <a:extLst>
                  <a:ext uri="{FF2B5EF4-FFF2-40B4-BE49-F238E27FC236}">
                    <a16:creationId xmlns:a16="http://schemas.microsoft.com/office/drawing/2014/main" id="{785AF69F-A057-4C4D-A0B5-D66ADB672583}"/>
                  </a:ext>
                </a:extLst>
              </p:cNvPr>
              <p:cNvSpPr/>
              <p:nvPr/>
            </p:nvSpPr>
            <p:spPr>
              <a:xfrm>
                <a:off x="1555734" y="3237301"/>
                <a:ext cx="111023" cy="141435"/>
              </a:xfrm>
              <a:custGeom>
                <a:avLst/>
                <a:gdLst>
                  <a:gd name="connsiteX0" fmla="*/ 0 w 111023"/>
                  <a:gd name="connsiteY0" fmla="*/ 94545 h 141435"/>
                  <a:gd name="connsiteX1" fmla="*/ 26849 w 111023"/>
                  <a:gd name="connsiteY1" fmla="*/ 91937 h 141435"/>
                  <a:gd name="connsiteX2" fmla="*/ 36647 w 111023"/>
                  <a:gd name="connsiteY2" fmla="*/ 111787 h 141435"/>
                  <a:gd name="connsiteX3" fmla="*/ 56625 w 111023"/>
                  <a:gd name="connsiteY3" fmla="*/ 118150 h 141435"/>
                  <a:gd name="connsiteX4" fmla="*/ 76730 w 111023"/>
                  <a:gd name="connsiteY4" fmla="*/ 112487 h 141435"/>
                  <a:gd name="connsiteX5" fmla="*/ 83475 w 111023"/>
                  <a:gd name="connsiteY5" fmla="*/ 99317 h 141435"/>
                  <a:gd name="connsiteX6" fmla="*/ 80611 w 111023"/>
                  <a:gd name="connsiteY6" fmla="*/ 91046 h 141435"/>
                  <a:gd name="connsiteX7" fmla="*/ 70686 w 111023"/>
                  <a:gd name="connsiteY7" fmla="*/ 85129 h 141435"/>
                  <a:gd name="connsiteX8" fmla="*/ 48609 w 111023"/>
                  <a:gd name="connsiteY8" fmla="*/ 79148 h 141435"/>
                  <a:gd name="connsiteX9" fmla="*/ 17497 w 111023"/>
                  <a:gd name="connsiteY9" fmla="*/ 65660 h 141435"/>
                  <a:gd name="connsiteX10" fmla="*/ 4899 w 111023"/>
                  <a:gd name="connsiteY10" fmla="*/ 38174 h 141435"/>
                  <a:gd name="connsiteX11" fmla="*/ 10816 w 111023"/>
                  <a:gd name="connsiteY11" fmla="*/ 18642 h 141435"/>
                  <a:gd name="connsiteX12" fmla="*/ 27867 w 111023"/>
                  <a:gd name="connsiteY12" fmla="*/ 4772 h 141435"/>
                  <a:gd name="connsiteX13" fmla="*/ 54780 w 111023"/>
                  <a:gd name="connsiteY13" fmla="*/ 0 h 141435"/>
                  <a:gd name="connsiteX14" fmla="*/ 93527 w 111023"/>
                  <a:gd name="connsiteY14" fmla="*/ 11262 h 141435"/>
                  <a:gd name="connsiteX15" fmla="*/ 107206 w 111023"/>
                  <a:gd name="connsiteY15" fmla="*/ 41356 h 141435"/>
                  <a:gd name="connsiteX16" fmla="*/ 79593 w 111023"/>
                  <a:gd name="connsiteY16" fmla="*/ 42564 h 141435"/>
                  <a:gd name="connsiteX17" fmla="*/ 72022 w 111023"/>
                  <a:gd name="connsiteY17" fmla="*/ 27422 h 141435"/>
                  <a:gd name="connsiteX18" fmla="*/ 54526 w 111023"/>
                  <a:gd name="connsiteY18" fmla="*/ 22841 h 141435"/>
                  <a:gd name="connsiteX19" fmla="*/ 35693 w 111023"/>
                  <a:gd name="connsiteY19" fmla="*/ 27804 h 141435"/>
                  <a:gd name="connsiteX20" fmla="*/ 31303 w 111023"/>
                  <a:gd name="connsiteY20" fmla="*/ 36266 h 141435"/>
                  <a:gd name="connsiteX21" fmla="*/ 35375 w 111023"/>
                  <a:gd name="connsiteY21" fmla="*/ 44537 h 141435"/>
                  <a:gd name="connsiteX22" fmla="*/ 60697 w 111023"/>
                  <a:gd name="connsiteY22" fmla="*/ 53699 h 141435"/>
                  <a:gd name="connsiteX23" fmla="*/ 90473 w 111023"/>
                  <a:gd name="connsiteY23" fmla="*/ 63560 h 141435"/>
                  <a:gd name="connsiteX24" fmla="*/ 105552 w 111023"/>
                  <a:gd name="connsiteY24" fmla="*/ 77430 h 141435"/>
                  <a:gd name="connsiteX25" fmla="*/ 111024 w 111023"/>
                  <a:gd name="connsiteY25" fmla="*/ 99190 h 141435"/>
                  <a:gd name="connsiteX26" fmla="*/ 104470 w 111023"/>
                  <a:gd name="connsiteY26" fmla="*/ 121204 h 141435"/>
                  <a:gd name="connsiteX27" fmla="*/ 86020 w 111023"/>
                  <a:gd name="connsiteY27" fmla="*/ 136473 h 141435"/>
                  <a:gd name="connsiteX28" fmla="*/ 56307 w 111023"/>
                  <a:gd name="connsiteY28" fmla="*/ 141436 h 141435"/>
                  <a:gd name="connsiteX29" fmla="*/ 16542 w 111023"/>
                  <a:gd name="connsiteY29" fmla="*/ 129475 h 141435"/>
                  <a:gd name="connsiteX30" fmla="*/ 0 w 111023"/>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23" h="141435">
                    <a:moveTo>
                      <a:pt x="0" y="94545"/>
                    </a:moveTo>
                    <a:lnTo>
                      <a:pt x="26849" y="91937"/>
                    </a:lnTo>
                    <a:cubicBezTo>
                      <a:pt x="28440" y="100971"/>
                      <a:pt x="31748" y="107588"/>
                      <a:pt x="36647" y="111787"/>
                    </a:cubicBezTo>
                    <a:cubicBezTo>
                      <a:pt x="41546" y="115986"/>
                      <a:pt x="48227" y="118150"/>
                      <a:pt x="56625" y="118150"/>
                    </a:cubicBezTo>
                    <a:cubicBezTo>
                      <a:pt x="65533" y="118150"/>
                      <a:pt x="72213" y="116304"/>
                      <a:pt x="76730" y="112487"/>
                    </a:cubicBezTo>
                    <a:cubicBezTo>
                      <a:pt x="81248" y="108733"/>
                      <a:pt x="83475" y="104343"/>
                      <a:pt x="83475" y="99317"/>
                    </a:cubicBezTo>
                    <a:cubicBezTo>
                      <a:pt x="83475" y="96072"/>
                      <a:pt x="82520" y="93336"/>
                      <a:pt x="80611" y="91046"/>
                    </a:cubicBezTo>
                    <a:cubicBezTo>
                      <a:pt x="78703" y="88755"/>
                      <a:pt x="75394" y="86783"/>
                      <a:pt x="70686" y="85129"/>
                    </a:cubicBezTo>
                    <a:cubicBezTo>
                      <a:pt x="67441" y="83984"/>
                      <a:pt x="60125" y="82011"/>
                      <a:pt x="48609" y="79148"/>
                    </a:cubicBezTo>
                    <a:cubicBezTo>
                      <a:pt x="33848" y="75458"/>
                      <a:pt x="23414" y="71004"/>
                      <a:pt x="17497" y="65660"/>
                    </a:cubicBezTo>
                    <a:cubicBezTo>
                      <a:pt x="9098" y="58152"/>
                      <a:pt x="4899" y="48990"/>
                      <a:pt x="4899" y="38174"/>
                    </a:cubicBezTo>
                    <a:cubicBezTo>
                      <a:pt x="4899" y="31239"/>
                      <a:pt x="6871" y="24686"/>
                      <a:pt x="10816" y="18642"/>
                    </a:cubicBezTo>
                    <a:cubicBezTo>
                      <a:pt x="14761" y="12598"/>
                      <a:pt x="20423" y="7953"/>
                      <a:pt x="27867" y="4772"/>
                    </a:cubicBezTo>
                    <a:cubicBezTo>
                      <a:pt x="35311" y="1591"/>
                      <a:pt x="44282" y="0"/>
                      <a:pt x="54780" y="0"/>
                    </a:cubicBezTo>
                    <a:cubicBezTo>
                      <a:pt x="71959" y="0"/>
                      <a:pt x="84811" y="3754"/>
                      <a:pt x="93527" y="11262"/>
                    </a:cubicBezTo>
                    <a:cubicBezTo>
                      <a:pt x="102244" y="18769"/>
                      <a:pt x="106761" y="28822"/>
                      <a:pt x="107206" y="41356"/>
                    </a:cubicBezTo>
                    <a:lnTo>
                      <a:pt x="79593" y="42564"/>
                    </a:lnTo>
                    <a:cubicBezTo>
                      <a:pt x="78385" y="35566"/>
                      <a:pt x="75903" y="30476"/>
                      <a:pt x="72022" y="27422"/>
                    </a:cubicBezTo>
                    <a:cubicBezTo>
                      <a:pt x="68141" y="24368"/>
                      <a:pt x="62288" y="22841"/>
                      <a:pt x="54526" y="22841"/>
                    </a:cubicBezTo>
                    <a:cubicBezTo>
                      <a:pt x="46509" y="22841"/>
                      <a:pt x="40210" y="24495"/>
                      <a:pt x="35693" y="27804"/>
                    </a:cubicBezTo>
                    <a:cubicBezTo>
                      <a:pt x="32766" y="29903"/>
                      <a:pt x="31303" y="32766"/>
                      <a:pt x="31303" y="36266"/>
                    </a:cubicBezTo>
                    <a:cubicBezTo>
                      <a:pt x="31303" y="39510"/>
                      <a:pt x="32639" y="42246"/>
                      <a:pt x="35375" y="44537"/>
                    </a:cubicBezTo>
                    <a:cubicBezTo>
                      <a:pt x="38874" y="47463"/>
                      <a:pt x="47336" y="50517"/>
                      <a:pt x="60697" y="53699"/>
                    </a:cubicBezTo>
                    <a:cubicBezTo>
                      <a:pt x="74058" y="56880"/>
                      <a:pt x="84047" y="60125"/>
                      <a:pt x="90473" y="63560"/>
                    </a:cubicBezTo>
                    <a:cubicBezTo>
                      <a:pt x="96899" y="66932"/>
                      <a:pt x="101926" y="71577"/>
                      <a:pt x="105552" y="77430"/>
                    </a:cubicBezTo>
                    <a:cubicBezTo>
                      <a:pt x="109179" y="83284"/>
                      <a:pt x="111024" y="90537"/>
                      <a:pt x="111024" y="99190"/>
                    </a:cubicBezTo>
                    <a:cubicBezTo>
                      <a:pt x="111024" y="107015"/>
                      <a:pt x="108861" y="114332"/>
                      <a:pt x="104470" y="121204"/>
                    </a:cubicBezTo>
                    <a:cubicBezTo>
                      <a:pt x="100080" y="128075"/>
                      <a:pt x="93973" y="133101"/>
                      <a:pt x="86020" y="136473"/>
                    </a:cubicBezTo>
                    <a:cubicBezTo>
                      <a:pt x="78067" y="139782"/>
                      <a:pt x="68141" y="141436"/>
                      <a:pt x="56307" y="141436"/>
                    </a:cubicBezTo>
                    <a:cubicBezTo>
                      <a:pt x="39065" y="141436"/>
                      <a:pt x="25768" y="137428"/>
                      <a:pt x="16542" y="129475"/>
                    </a:cubicBezTo>
                    <a:cubicBezTo>
                      <a:pt x="7317" y="121522"/>
                      <a:pt x="1781" y="109879"/>
                      <a:pt x="0" y="94545"/>
                    </a:cubicBezTo>
                    <a:close/>
                  </a:path>
                </a:pathLst>
              </a:custGeom>
              <a:solidFill>
                <a:srgbClr val="084F45"/>
              </a:solidFill>
              <a:ln w="6361" cap="flat">
                <a:noFill/>
                <a:prstDash val="solid"/>
                <a:miter/>
              </a:ln>
            </p:spPr>
            <p:txBody>
              <a:bodyPr rtlCol="0" anchor="ctr"/>
              <a:lstStyle/>
              <a:p>
                <a:endParaRPr lang="da-DK"/>
              </a:p>
            </p:txBody>
          </p:sp>
          <p:sp>
            <p:nvSpPr>
              <p:cNvPr id="72" name="Freeform: Shape 71">
                <a:extLst>
                  <a:ext uri="{FF2B5EF4-FFF2-40B4-BE49-F238E27FC236}">
                    <a16:creationId xmlns:a16="http://schemas.microsoft.com/office/drawing/2014/main" id="{81DBB95D-3D62-4E95-B349-9ADCBC27C30C}"/>
                  </a:ext>
                </a:extLst>
              </p:cNvPr>
              <p:cNvSpPr/>
              <p:nvPr/>
            </p:nvSpPr>
            <p:spPr>
              <a:xfrm>
                <a:off x="1689217" y="3239718"/>
                <a:ext cx="27612" cy="136600"/>
              </a:xfrm>
              <a:custGeom>
                <a:avLst/>
                <a:gdLst>
                  <a:gd name="connsiteX0" fmla="*/ 0 w 27612"/>
                  <a:gd name="connsiteY0" fmla="*/ 136601 h 136600"/>
                  <a:gd name="connsiteX1" fmla="*/ 0 w 27612"/>
                  <a:gd name="connsiteY1" fmla="*/ 0 h 136600"/>
                  <a:gd name="connsiteX2" fmla="*/ 27613 w 27612"/>
                  <a:gd name="connsiteY2" fmla="*/ 0 h 136600"/>
                  <a:gd name="connsiteX3" fmla="*/ 27613 w 27612"/>
                  <a:gd name="connsiteY3" fmla="*/ 136601 h 136600"/>
                  <a:gd name="connsiteX4" fmla="*/ 0 w 27612"/>
                  <a:gd name="connsiteY4" fmla="*/ 136601 h 136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612" h="136600">
                    <a:moveTo>
                      <a:pt x="0" y="136601"/>
                    </a:moveTo>
                    <a:lnTo>
                      <a:pt x="0" y="0"/>
                    </a:lnTo>
                    <a:lnTo>
                      <a:pt x="27613" y="0"/>
                    </a:lnTo>
                    <a:lnTo>
                      <a:pt x="27613" y="136601"/>
                    </a:lnTo>
                    <a:lnTo>
                      <a:pt x="0" y="136601"/>
                    </a:lnTo>
                    <a:close/>
                  </a:path>
                </a:pathLst>
              </a:custGeom>
              <a:solidFill>
                <a:srgbClr val="084F45"/>
              </a:solidFill>
              <a:ln w="6361" cap="flat">
                <a:noFill/>
                <a:prstDash val="solid"/>
                <a:miter/>
              </a:ln>
            </p:spPr>
            <p:txBody>
              <a:bodyPr rtlCol="0" anchor="ctr"/>
              <a:lstStyle/>
              <a:p>
                <a:endParaRPr lang="da-DK"/>
              </a:p>
            </p:txBody>
          </p:sp>
          <p:sp>
            <p:nvSpPr>
              <p:cNvPr id="73" name="Freeform: Shape 72">
                <a:extLst>
                  <a:ext uri="{FF2B5EF4-FFF2-40B4-BE49-F238E27FC236}">
                    <a16:creationId xmlns:a16="http://schemas.microsoft.com/office/drawing/2014/main" id="{F5B75A5A-13E4-4EE2-B7D5-814F76D13E3A}"/>
                  </a:ext>
                </a:extLst>
              </p:cNvPr>
              <p:cNvSpPr/>
              <p:nvPr/>
            </p:nvSpPr>
            <p:spPr>
              <a:xfrm>
                <a:off x="1736044" y="3237301"/>
                <a:ext cx="111087" cy="141435"/>
              </a:xfrm>
              <a:custGeom>
                <a:avLst/>
                <a:gdLst>
                  <a:gd name="connsiteX0" fmla="*/ 0 w 111087"/>
                  <a:gd name="connsiteY0" fmla="*/ 94545 h 141435"/>
                  <a:gd name="connsiteX1" fmla="*/ 26849 w 111087"/>
                  <a:gd name="connsiteY1" fmla="*/ 91937 h 141435"/>
                  <a:gd name="connsiteX2" fmla="*/ 36711 w 111087"/>
                  <a:gd name="connsiteY2" fmla="*/ 111787 h 141435"/>
                  <a:gd name="connsiteX3" fmla="*/ 56689 w 111087"/>
                  <a:gd name="connsiteY3" fmla="*/ 118150 h 141435"/>
                  <a:gd name="connsiteX4" fmla="*/ 76794 w 111087"/>
                  <a:gd name="connsiteY4" fmla="*/ 112487 h 141435"/>
                  <a:gd name="connsiteX5" fmla="*/ 83538 w 111087"/>
                  <a:gd name="connsiteY5" fmla="*/ 99317 h 141435"/>
                  <a:gd name="connsiteX6" fmla="*/ 80675 w 111087"/>
                  <a:gd name="connsiteY6" fmla="*/ 91046 h 141435"/>
                  <a:gd name="connsiteX7" fmla="*/ 70750 w 111087"/>
                  <a:gd name="connsiteY7" fmla="*/ 85129 h 141435"/>
                  <a:gd name="connsiteX8" fmla="*/ 48672 w 111087"/>
                  <a:gd name="connsiteY8" fmla="*/ 79148 h 141435"/>
                  <a:gd name="connsiteX9" fmla="*/ 17560 w 111087"/>
                  <a:gd name="connsiteY9" fmla="*/ 65660 h 141435"/>
                  <a:gd name="connsiteX10" fmla="*/ 4963 w 111087"/>
                  <a:gd name="connsiteY10" fmla="*/ 38174 h 141435"/>
                  <a:gd name="connsiteX11" fmla="*/ 10880 w 111087"/>
                  <a:gd name="connsiteY11" fmla="*/ 18642 h 141435"/>
                  <a:gd name="connsiteX12" fmla="*/ 27931 w 111087"/>
                  <a:gd name="connsiteY12" fmla="*/ 4772 h 141435"/>
                  <a:gd name="connsiteX13" fmla="*/ 54844 w 111087"/>
                  <a:gd name="connsiteY13" fmla="*/ 0 h 141435"/>
                  <a:gd name="connsiteX14" fmla="*/ 93591 w 111087"/>
                  <a:gd name="connsiteY14" fmla="*/ 11262 h 141435"/>
                  <a:gd name="connsiteX15" fmla="*/ 107270 w 111087"/>
                  <a:gd name="connsiteY15" fmla="*/ 41356 h 141435"/>
                  <a:gd name="connsiteX16" fmla="*/ 79657 w 111087"/>
                  <a:gd name="connsiteY16" fmla="*/ 42564 h 141435"/>
                  <a:gd name="connsiteX17" fmla="*/ 72086 w 111087"/>
                  <a:gd name="connsiteY17" fmla="*/ 27422 h 141435"/>
                  <a:gd name="connsiteX18" fmla="*/ 54589 w 111087"/>
                  <a:gd name="connsiteY18" fmla="*/ 22841 h 141435"/>
                  <a:gd name="connsiteX19" fmla="*/ 35757 w 111087"/>
                  <a:gd name="connsiteY19" fmla="*/ 27804 h 141435"/>
                  <a:gd name="connsiteX20" fmla="*/ 31367 w 111087"/>
                  <a:gd name="connsiteY20" fmla="*/ 36266 h 141435"/>
                  <a:gd name="connsiteX21" fmla="*/ 35439 w 111087"/>
                  <a:gd name="connsiteY21" fmla="*/ 44537 h 141435"/>
                  <a:gd name="connsiteX22" fmla="*/ 60761 w 111087"/>
                  <a:gd name="connsiteY22" fmla="*/ 53699 h 141435"/>
                  <a:gd name="connsiteX23" fmla="*/ 90537 w 111087"/>
                  <a:gd name="connsiteY23" fmla="*/ 63560 h 141435"/>
                  <a:gd name="connsiteX24" fmla="*/ 105616 w 111087"/>
                  <a:gd name="connsiteY24" fmla="*/ 77430 h 141435"/>
                  <a:gd name="connsiteX25" fmla="*/ 111087 w 111087"/>
                  <a:gd name="connsiteY25" fmla="*/ 99190 h 141435"/>
                  <a:gd name="connsiteX26" fmla="*/ 104534 w 111087"/>
                  <a:gd name="connsiteY26" fmla="*/ 121204 h 141435"/>
                  <a:gd name="connsiteX27" fmla="*/ 86083 w 111087"/>
                  <a:gd name="connsiteY27" fmla="*/ 136473 h 141435"/>
                  <a:gd name="connsiteX28" fmla="*/ 56371 w 111087"/>
                  <a:gd name="connsiteY28" fmla="*/ 141436 h 141435"/>
                  <a:gd name="connsiteX29" fmla="*/ 16542 w 111087"/>
                  <a:gd name="connsiteY29" fmla="*/ 129475 h 141435"/>
                  <a:gd name="connsiteX30" fmla="*/ 0 w 111087"/>
                  <a:gd name="connsiteY30" fmla="*/ 94545 h 141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11087" h="141435">
                    <a:moveTo>
                      <a:pt x="0" y="94545"/>
                    </a:moveTo>
                    <a:lnTo>
                      <a:pt x="26849" y="91937"/>
                    </a:lnTo>
                    <a:cubicBezTo>
                      <a:pt x="28440" y="100971"/>
                      <a:pt x="31748" y="107588"/>
                      <a:pt x="36711" y="111787"/>
                    </a:cubicBezTo>
                    <a:cubicBezTo>
                      <a:pt x="41674" y="115986"/>
                      <a:pt x="48291" y="118150"/>
                      <a:pt x="56689" y="118150"/>
                    </a:cubicBezTo>
                    <a:cubicBezTo>
                      <a:pt x="65596" y="118150"/>
                      <a:pt x="72277" y="116304"/>
                      <a:pt x="76794" y="112487"/>
                    </a:cubicBezTo>
                    <a:cubicBezTo>
                      <a:pt x="81311" y="108733"/>
                      <a:pt x="83538" y="104343"/>
                      <a:pt x="83538" y="99317"/>
                    </a:cubicBezTo>
                    <a:cubicBezTo>
                      <a:pt x="83538" y="96072"/>
                      <a:pt x="82584" y="93336"/>
                      <a:pt x="80675" y="91046"/>
                    </a:cubicBezTo>
                    <a:cubicBezTo>
                      <a:pt x="78766" y="88755"/>
                      <a:pt x="75458" y="86783"/>
                      <a:pt x="70750" y="85129"/>
                    </a:cubicBezTo>
                    <a:cubicBezTo>
                      <a:pt x="67505" y="83984"/>
                      <a:pt x="60125" y="82011"/>
                      <a:pt x="48672" y="79148"/>
                    </a:cubicBezTo>
                    <a:cubicBezTo>
                      <a:pt x="33912" y="75458"/>
                      <a:pt x="23477" y="71004"/>
                      <a:pt x="17560" y="65660"/>
                    </a:cubicBezTo>
                    <a:cubicBezTo>
                      <a:pt x="9162" y="58152"/>
                      <a:pt x="4963" y="48990"/>
                      <a:pt x="4963" y="38174"/>
                    </a:cubicBezTo>
                    <a:cubicBezTo>
                      <a:pt x="4963" y="31239"/>
                      <a:pt x="6935" y="24686"/>
                      <a:pt x="10880" y="18642"/>
                    </a:cubicBezTo>
                    <a:cubicBezTo>
                      <a:pt x="14824" y="12598"/>
                      <a:pt x="20487" y="7953"/>
                      <a:pt x="27931" y="4772"/>
                    </a:cubicBezTo>
                    <a:cubicBezTo>
                      <a:pt x="35375" y="1591"/>
                      <a:pt x="44346" y="0"/>
                      <a:pt x="54844" y="0"/>
                    </a:cubicBezTo>
                    <a:cubicBezTo>
                      <a:pt x="72022" y="0"/>
                      <a:pt x="84874" y="3754"/>
                      <a:pt x="93591" y="11262"/>
                    </a:cubicBezTo>
                    <a:cubicBezTo>
                      <a:pt x="102307" y="18769"/>
                      <a:pt x="106825" y="28822"/>
                      <a:pt x="107270" y="41356"/>
                    </a:cubicBezTo>
                    <a:lnTo>
                      <a:pt x="79657" y="42564"/>
                    </a:lnTo>
                    <a:cubicBezTo>
                      <a:pt x="78448" y="35566"/>
                      <a:pt x="75967" y="30476"/>
                      <a:pt x="72086" y="27422"/>
                    </a:cubicBezTo>
                    <a:cubicBezTo>
                      <a:pt x="68205" y="24368"/>
                      <a:pt x="62351" y="22841"/>
                      <a:pt x="54589" y="22841"/>
                    </a:cubicBezTo>
                    <a:cubicBezTo>
                      <a:pt x="46573" y="22841"/>
                      <a:pt x="40274" y="24495"/>
                      <a:pt x="35757" y="27804"/>
                    </a:cubicBezTo>
                    <a:cubicBezTo>
                      <a:pt x="32830" y="29903"/>
                      <a:pt x="31367" y="32766"/>
                      <a:pt x="31367" y="36266"/>
                    </a:cubicBezTo>
                    <a:cubicBezTo>
                      <a:pt x="31367" y="39510"/>
                      <a:pt x="32703" y="42246"/>
                      <a:pt x="35439" y="44537"/>
                    </a:cubicBezTo>
                    <a:cubicBezTo>
                      <a:pt x="38938" y="47463"/>
                      <a:pt x="47400" y="50517"/>
                      <a:pt x="60761" y="53699"/>
                    </a:cubicBezTo>
                    <a:cubicBezTo>
                      <a:pt x="74122" y="56880"/>
                      <a:pt x="84111" y="60125"/>
                      <a:pt x="90537" y="63560"/>
                    </a:cubicBezTo>
                    <a:cubicBezTo>
                      <a:pt x="96963" y="66932"/>
                      <a:pt x="101989" y="71577"/>
                      <a:pt x="105616" y="77430"/>
                    </a:cubicBezTo>
                    <a:cubicBezTo>
                      <a:pt x="109242" y="83284"/>
                      <a:pt x="111087" y="90537"/>
                      <a:pt x="111087" y="99190"/>
                    </a:cubicBezTo>
                    <a:cubicBezTo>
                      <a:pt x="111087" y="107015"/>
                      <a:pt x="108924" y="114332"/>
                      <a:pt x="104534" y="121204"/>
                    </a:cubicBezTo>
                    <a:cubicBezTo>
                      <a:pt x="100144" y="128075"/>
                      <a:pt x="94036" y="133101"/>
                      <a:pt x="86083" y="136473"/>
                    </a:cubicBezTo>
                    <a:cubicBezTo>
                      <a:pt x="78130" y="139782"/>
                      <a:pt x="68205" y="141436"/>
                      <a:pt x="56371" y="141436"/>
                    </a:cubicBezTo>
                    <a:cubicBezTo>
                      <a:pt x="39129" y="141436"/>
                      <a:pt x="25831" y="137428"/>
                      <a:pt x="16542" y="129475"/>
                    </a:cubicBezTo>
                    <a:cubicBezTo>
                      <a:pt x="7380" y="121522"/>
                      <a:pt x="1845" y="109879"/>
                      <a:pt x="0" y="94545"/>
                    </a:cubicBezTo>
                    <a:close/>
                  </a:path>
                </a:pathLst>
              </a:custGeom>
              <a:solidFill>
                <a:srgbClr val="084F45"/>
              </a:solidFill>
              <a:ln w="6361" cap="flat">
                <a:noFill/>
                <a:prstDash val="solid"/>
                <a:miter/>
              </a:ln>
            </p:spPr>
            <p:txBody>
              <a:bodyPr rtlCol="0" anchor="ctr"/>
              <a:lstStyle/>
              <a:p>
                <a:endParaRPr lang="da-DK"/>
              </a:p>
            </p:txBody>
          </p:sp>
        </p:grpSp>
        <p:grpSp>
          <p:nvGrpSpPr>
            <p:cNvPr id="10" name="Graphic 5">
              <a:extLst>
                <a:ext uri="{FF2B5EF4-FFF2-40B4-BE49-F238E27FC236}">
                  <a16:creationId xmlns:a16="http://schemas.microsoft.com/office/drawing/2014/main" id="{09307607-EE28-4912-B147-0A9CEC0F07A2}"/>
                </a:ext>
              </a:extLst>
            </p:cNvPr>
            <p:cNvGrpSpPr/>
            <p:nvPr/>
          </p:nvGrpSpPr>
          <p:grpSpPr>
            <a:xfrm>
              <a:off x="1202622" y="3457567"/>
              <a:ext cx="491876" cy="224401"/>
              <a:chOff x="1202622" y="3457567"/>
              <a:chExt cx="491876" cy="224401"/>
            </a:xfrm>
            <a:solidFill>
              <a:srgbClr val="084F45"/>
            </a:solidFill>
          </p:grpSpPr>
          <p:sp>
            <p:nvSpPr>
              <p:cNvPr id="19" name="Freeform: Shape 18">
                <a:extLst>
                  <a:ext uri="{FF2B5EF4-FFF2-40B4-BE49-F238E27FC236}">
                    <a16:creationId xmlns:a16="http://schemas.microsoft.com/office/drawing/2014/main" id="{28C31192-3221-46CD-9DD4-9C93DA10C02B}"/>
                  </a:ext>
                </a:extLst>
              </p:cNvPr>
              <p:cNvSpPr/>
              <p:nvPr/>
            </p:nvSpPr>
            <p:spPr>
              <a:xfrm>
                <a:off x="1202622" y="3457567"/>
                <a:ext cx="28503" cy="45554"/>
              </a:xfrm>
              <a:custGeom>
                <a:avLst/>
                <a:gdLst>
                  <a:gd name="connsiteX0" fmla="*/ 0 w 28503"/>
                  <a:gd name="connsiteY0" fmla="*/ 45555 h 45554"/>
                  <a:gd name="connsiteX1" fmla="*/ 0 w 28503"/>
                  <a:gd name="connsiteY1" fmla="*/ 0 h 45554"/>
                  <a:gd name="connsiteX2" fmla="*/ 6044 w 28503"/>
                  <a:gd name="connsiteY2" fmla="*/ 0 h 45554"/>
                  <a:gd name="connsiteX3" fmla="*/ 6044 w 28503"/>
                  <a:gd name="connsiteY3" fmla="*/ 40147 h 45554"/>
                  <a:gd name="connsiteX4" fmla="*/ 28504 w 28503"/>
                  <a:gd name="connsiteY4" fmla="*/ 40147 h 45554"/>
                  <a:gd name="connsiteX5" fmla="*/ 28504 w 28503"/>
                  <a:gd name="connsiteY5" fmla="*/ 45491 h 45554"/>
                  <a:gd name="connsiteX6" fmla="*/ 0 w 28503"/>
                  <a:gd name="connsiteY6"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03" h="45554">
                    <a:moveTo>
                      <a:pt x="0" y="45555"/>
                    </a:moveTo>
                    <a:lnTo>
                      <a:pt x="0" y="0"/>
                    </a:lnTo>
                    <a:lnTo>
                      <a:pt x="6044" y="0"/>
                    </a:lnTo>
                    <a:lnTo>
                      <a:pt x="6044" y="40147"/>
                    </a:lnTo>
                    <a:lnTo>
                      <a:pt x="28504" y="40147"/>
                    </a:lnTo>
                    <a:lnTo>
                      <a:pt x="28504" y="45491"/>
                    </a:lnTo>
                    <a:lnTo>
                      <a:pt x="0" y="45491"/>
                    </a:lnTo>
                    <a:close/>
                  </a:path>
                </a:pathLst>
              </a:custGeom>
              <a:solidFill>
                <a:srgbClr val="084F45"/>
              </a:solidFill>
              <a:ln w="6361" cap="flat">
                <a:noFill/>
                <a:prstDash val="solid"/>
                <a:miter/>
              </a:ln>
            </p:spPr>
            <p:txBody>
              <a:bodyPr rtlCol="0" anchor="ctr"/>
              <a:lstStyle/>
              <a:p>
                <a:endParaRPr lang="da-DK"/>
              </a:p>
            </p:txBody>
          </p:sp>
          <p:sp>
            <p:nvSpPr>
              <p:cNvPr id="20" name="Freeform: Shape 19">
                <a:extLst>
                  <a:ext uri="{FF2B5EF4-FFF2-40B4-BE49-F238E27FC236}">
                    <a16:creationId xmlns:a16="http://schemas.microsoft.com/office/drawing/2014/main" id="{2B4D14B4-E40A-453A-9F6A-CB0BC9E2FC94}"/>
                  </a:ext>
                </a:extLst>
              </p:cNvPr>
              <p:cNvSpPr/>
              <p:nvPr/>
            </p:nvSpPr>
            <p:spPr>
              <a:xfrm>
                <a:off x="1235770"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22" name="Freeform: Shape 21">
                <a:extLst>
                  <a:ext uri="{FF2B5EF4-FFF2-40B4-BE49-F238E27FC236}">
                    <a16:creationId xmlns:a16="http://schemas.microsoft.com/office/drawing/2014/main" id="{F11A250B-9B14-4154-A164-ECDBA3DD8FDB}"/>
                  </a:ext>
                </a:extLst>
              </p:cNvPr>
              <p:cNvSpPr/>
              <p:nvPr/>
            </p:nvSpPr>
            <p:spPr>
              <a:xfrm>
                <a:off x="126993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07 w 16033"/>
                  <a:gd name="connsiteY11" fmla="*/ 0 h 44918"/>
                  <a:gd name="connsiteX12" fmla="*/ 9607 w 16033"/>
                  <a:gd name="connsiteY12" fmla="*/ 11516 h 44918"/>
                  <a:gd name="connsiteX13" fmla="*/ 15206 w 16033"/>
                  <a:gd name="connsiteY13" fmla="*/ 11516 h 44918"/>
                  <a:gd name="connsiteX14" fmla="*/ 15206 w 16033"/>
                  <a:gd name="connsiteY14" fmla="*/ 15842 h 44918"/>
                  <a:gd name="connsiteX15" fmla="*/ 9607 w 16033"/>
                  <a:gd name="connsiteY15" fmla="*/ 15842 h 44918"/>
                  <a:gd name="connsiteX16" fmla="*/ 9607 w 16033"/>
                  <a:gd name="connsiteY16" fmla="*/ 35120 h 44918"/>
                  <a:gd name="connsiteX17" fmla="*/ 9925 w 16033"/>
                  <a:gd name="connsiteY17" fmla="*/ 38174 h 44918"/>
                  <a:gd name="connsiteX18" fmla="*/ 10880 w 16033"/>
                  <a:gd name="connsiteY18" fmla="*/ 39256 h 44918"/>
                  <a:gd name="connsiteX19" fmla="*/ 12788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07" y="0"/>
                    </a:lnTo>
                    <a:lnTo>
                      <a:pt x="9607" y="11516"/>
                    </a:lnTo>
                    <a:lnTo>
                      <a:pt x="15206" y="11516"/>
                    </a:lnTo>
                    <a:lnTo>
                      <a:pt x="15206" y="15842"/>
                    </a:lnTo>
                    <a:lnTo>
                      <a:pt x="9607" y="15842"/>
                    </a:lnTo>
                    <a:lnTo>
                      <a:pt x="9607" y="35120"/>
                    </a:lnTo>
                    <a:cubicBezTo>
                      <a:pt x="9607" y="36711"/>
                      <a:pt x="9734" y="37729"/>
                      <a:pt x="9925" y="38174"/>
                    </a:cubicBezTo>
                    <a:cubicBezTo>
                      <a:pt x="10116" y="38620"/>
                      <a:pt x="10434" y="39001"/>
                      <a:pt x="10880" y="39256"/>
                    </a:cubicBezTo>
                    <a:cubicBezTo>
                      <a:pt x="11325" y="39510"/>
                      <a:pt x="11961" y="39638"/>
                      <a:pt x="12788"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3" name="Freeform: Shape 22">
                <a:extLst>
                  <a:ext uri="{FF2B5EF4-FFF2-40B4-BE49-F238E27FC236}">
                    <a16:creationId xmlns:a16="http://schemas.microsoft.com/office/drawing/2014/main" id="{BD829689-5C03-4F33-9338-234966059962}"/>
                  </a:ext>
                </a:extLst>
              </p:cNvPr>
              <p:cNvSpPr/>
              <p:nvPr/>
            </p:nvSpPr>
            <p:spPr>
              <a:xfrm>
                <a:off x="1287623"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7"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4" name="Freeform: Shape 23">
                <a:extLst>
                  <a:ext uri="{FF2B5EF4-FFF2-40B4-BE49-F238E27FC236}">
                    <a16:creationId xmlns:a16="http://schemas.microsoft.com/office/drawing/2014/main" id="{8A5C464F-6112-4E69-A6C9-1D474AF2B586}"/>
                  </a:ext>
                </a:extLst>
              </p:cNvPr>
              <p:cNvSpPr/>
              <p:nvPr/>
            </p:nvSpPr>
            <p:spPr>
              <a:xfrm>
                <a:off x="1306456" y="3469401"/>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25" name="Freeform: Shape 24">
                <a:extLst>
                  <a:ext uri="{FF2B5EF4-FFF2-40B4-BE49-F238E27FC236}">
                    <a16:creationId xmlns:a16="http://schemas.microsoft.com/office/drawing/2014/main" id="{36DD6A76-0520-48AE-B957-A61CA7D34D53}"/>
                  </a:ext>
                </a:extLst>
              </p:cNvPr>
              <p:cNvSpPr/>
              <p:nvPr/>
            </p:nvSpPr>
            <p:spPr>
              <a:xfrm>
                <a:off x="1343612" y="3469337"/>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3"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26" name="Freeform: Shape 25">
                <a:extLst>
                  <a:ext uri="{FF2B5EF4-FFF2-40B4-BE49-F238E27FC236}">
                    <a16:creationId xmlns:a16="http://schemas.microsoft.com/office/drawing/2014/main" id="{107BD362-8716-4FA4-8FFA-3083497AD0D6}"/>
                  </a:ext>
                </a:extLst>
              </p:cNvPr>
              <p:cNvSpPr/>
              <p:nvPr/>
            </p:nvSpPr>
            <p:spPr>
              <a:xfrm>
                <a:off x="1363081"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663 w 30412"/>
                  <a:gd name="connsiteY11" fmla="*/ 18642 h 34484"/>
                  <a:gd name="connsiteX12" fmla="*/ 8716 w 30412"/>
                  <a:gd name="connsiteY12" fmla="*/ 26976 h 34484"/>
                  <a:gd name="connsiteX13" fmla="*/ 15588 w 30412"/>
                  <a:gd name="connsiteY13" fmla="*/ 29840 h 34484"/>
                  <a:gd name="connsiteX14" fmla="*/ 20869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663" y="18642"/>
                    </a:lnTo>
                    <a:cubicBezTo>
                      <a:pt x="5853" y="22268"/>
                      <a:pt x="6871" y="25068"/>
                      <a:pt x="8716" y="26976"/>
                    </a:cubicBezTo>
                    <a:cubicBezTo>
                      <a:pt x="10562" y="28885"/>
                      <a:pt x="12852" y="29840"/>
                      <a:pt x="15588" y="29840"/>
                    </a:cubicBezTo>
                    <a:cubicBezTo>
                      <a:pt x="17624" y="29840"/>
                      <a:pt x="19405" y="29331"/>
                      <a:pt x="20869" y="28249"/>
                    </a:cubicBezTo>
                    <a:cubicBezTo>
                      <a:pt x="22332"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27" name="Freeform: Shape 26">
                <a:extLst>
                  <a:ext uri="{FF2B5EF4-FFF2-40B4-BE49-F238E27FC236}">
                    <a16:creationId xmlns:a16="http://schemas.microsoft.com/office/drawing/2014/main" id="{3E20457A-586D-4BFF-A950-66A1E43251DD}"/>
                  </a:ext>
                </a:extLst>
              </p:cNvPr>
              <p:cNvSpPr/>
              <p:nvPr/>
            </p:nvSpPr>
            <p:spPr>
              <a:xfrm>
                <a:off x="1415698" y="3469337"/>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28" name="Freeform: Shape 27">
                <a:extLst>
                  <a:ext uri="{FF2B5EF4-FFF2-40B4-BE49-F238E27FC236}">
                    <a16:creationId xmlns:a16="http://schemas.microsoft.com/office/drawing/2014/main" id="{71F06945-ADA2-411E-ACDD-6A72B1460E5C}"/>
                  </a:ext>
                </a:extLst>
              </p:cNvPr>
              <p:cNvSpPr/>
              <p:nvPr/>
            </p:nvSpPr>
            <p:spPr>
              <a:xfrm>
                <a:off x="1446746" y="3458648"/>
                <a:ext cx="16033" cy="44918"/>
              </a:xfrm>
              <a:custGeom>
                <a:avLst/>
                <a:gdLst>
                  <a:gd name="connsiteX0" fmla="*/ 15206 w 16033"/>
                  <a:gd name="connsiteY0" fmla="*/ 39447 h 44918"/>
                  <a:gd name="connsiteX1" fmla="*/ 16033 w 16033"/>
                  <a:gd name="connsiteY1" fmla="*/ 44410 h 44918"/>
                  <a:gd name="connsiteX2" fmla="*/ 11834 w 16033"/>
                  <a:gd name="connsiteY2" fmla="*/ 44918 h 44918"/>
                  <a:gd name="connsiteX3" fmla="*/ 7126 w 16033"/>
                  <a:gd name="connsiteY3" fmla="*/ 43964 h 44918"/>
                  <a:gd name="connsiteX4" fmla="*/ 4772 w 16033"/>
                  <a:gd name="connsiteY4" fmla="*/ 41419 h 44918"/>
                  <a:gd name="connsiteX5" fmla="*/ 4072 w 16033"/>
                  <a:gd name="connsiteY5" fmla="*/ 34802 h 44918"/>
                  <a:gd name="connsiteX6" fmla="*/ 4072 w 16033"/>
                  <a:gd name="connsiteY6" fmla="*/ 15842 h 44918"/>
                  <a:gd name="connsiteX7" fmla="*/ 0 w 16033"/>
                  <a:gd name="connsiteY7" fmla="*/ 15842 h 44918"/>
                  <a:gd name="connsiteX8" fmla="*/ 0 w 16033"/>
                  <a:gd name="connsiteY8" fmla="*/ 11516 h 44918"/>
                  <a:gd name="connsiteX9" fmla="*/ 4072 w 16033"/>
                  <a:gd name="connsiteY9" fmla="*/ 11516 h 44918"/>
                  <a:gd name="connsiteX10" fmla="*/ 4072 w 16033"/>
                  <a:gd name="connsiteY10" fmla="*/ 3372 h 44918"/>
                  <a:gd name="connsiteX11" fmla="*/ 9671 w 16033"/>
                  <a:gd name="connsiteY11" fmla="*/ 0 h 44918"/>
                  <a:gd name="connsiteX12" fmla="*/ 9671 w 16033"/>
                  <a:gd name="connsiteY12" fmla="*/ 11516 h 44918"/>
                  <a:gd name="connsiteX13" fmla="*/ 15270 w 16033"/>
                  <a:gd name="connsiteY13" fmla="*/ 11516 h 44918"/>
                  <a:gd name="connsiteX14" fmla="*/ 15270 w 16033"/>
                  <a:gd name="connsiteY14" fmla="*/ 15842 h 44918"/>
                  <a:gd name="connsiteX15" fmla="*/ 9671 w 16033"/>
                  <a:gd name="connsiteY15" fmla="*/ 15842 h 44918"/>
                  <a:gd name="connsiteX16" fmla="*/ 9671 w 16033"/>
                  <a:gd name="connsiteY16" fmla="*/ 35120 h 44918"/>
                  <a:gd name="connsiteX17" fmla="*/ 9989 w 16033"/>
                  <a:gd name="connsiteY17" fmla="*/ 38174 h 44918"/>
                  <a:gd name="connsiteX18" fmla="*/ 10943 w 16033"/>
                  <a:gd name="connsiteY18" fmla="*/ 39256 h 44918"/>
                  <a:gd name="connsiteX19" fmla="*/ 12852 w 16033"/>
                  <a:gd name="connsiteY19" fmla="*/ 39638 h 44918"/>
                  <a:gd name="connsiteX20" fmla="*/ 15206 w 16033"/>
                  <a:gd name="connsiteY20" fmla="*/ 39447 h 44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6033" h="44918">
                    <a:moveTo>
                      <a:pt x="15206" y="39447"/>
                    </a:moveTo>
                    <a:lnTo>
                      <a:pt x="16033" y="44410"/>
                    </a:lnTo>
                    <a:cubicBezTo>
                      <a:pt x="14443" y="44728"/>
                      <a:pt x="13043" y="44918"/>
                      <a:pt x="11834" y="44918"/>
                    </a:cubicBezTo>
                    <a:cubicBezTo>
                      <a:pt x="9798" y="44918"/>
                      <a:pt x="8208" y="44600"/>
                      <a:pt x="7126" y="43964"/>
                    </a:cubicBezTo>
                    <a:cubicBezTo>
                      <a:pt x="6044" y="43328"/>
                      <a:pt x="5217" y="42501"/>
                      <a:pt x="4772" y="41419"/>
                    </a:cubicBezTo>
                    <a:cubicBezTo>
                      <a:pt x="4326" y="40401"/>
                      <a:pt x="4072" y="38174"/>
                      <a:pt x="4072" y="34802"/>
                    </a:cubicBezTo>
                    <a:lnTo>
                      <a:pt x="4072" y="15842"/>
                    </a:lnTo>
                    <a:lnTo>
                      <a:pt x="0" y="15842"/>
                    </a:lnTo>
                    <a:lnTo>
                      <a:pt x="0" y="11516"/>
                    </a:lnTo>
                    <a:lnTo>
                      <a:pt x="4072" y="11516"/>
                    </a:lnTo>
                    <a:lnTo>
                      <a:pt x="4072" y="3372"/>
                    </a:lnTo>
                    <a:lnTo>
                      <a:pt x="9671" y="0"/>
                    </a:lnTo>
                    <a:lnTo>
                      <a:pt x="9671" y="11516"/>
                    </a:lnTo>
                    <a:lnTo>
                      <a:pt x="15270" y="11516"/>
                    </a:lnTo>
                    <a:lnTo>
                      <a:pt x="15270" y="15842"/>
                    </a:lnTo>
                    <a:lnTo>
                      <a:pt x="9671" y="15842"/>
                    </a:lnTo>
                    <a:lnTo>
                      <a:pt x="9671" y="35120"/>
                    </a:lnTo>
                    <a:cubicBezTo>
                      <a:pt x="9671" y="36711"/>
                      <a:pt x="9798" y="37729"/>
                      <a:pt x="9989" y="38174"/>
                    </a:cubicBezTo>
                    <a:cubicBezTo>
                      <a:pt x="10180" y="38620"/>
                      <a:pt x="10498" y="39001"/>
                      <a:pt x="10943" y="39256"/>
                    </a:cubicBezTo>
                    <a:cubicBezTo>
                      <a:pt x="11389" y="39510"/>
                      <a:pt x="12025" y="39638"/>
                      <a:pt x="12852" y="39638"/>
                    </a:cubicBezTo>
                    <a:cubicBezTo>
                      <a:pt x="13361" y="39638"/>
                      <a:pt x="14188" y="39574"/>
                      <a:pt x="15206" y="39447"/>
                    </a:cubicBezTo>
                    <a:close/>
                  </a:path>
                </a:pathLst>
              </a:custGeom>
              <a:solidFill>
                <a:srgbClr val="084F45"/>
              </a:solidFill>
              <a:ln w="6361" cap="flat">
                <a:noFill/>
                <a:prstDash val="solid"/>
                <a:miter/>
              </a:ln>
            </p:spPr>
            <p:txBody>
              <a:bodyPr rtlCol="0" anchor="ctr"/>
              <a:lstStyle/>
              <a:p>
                <a:endParaRPr lang="da-DK"/>
              </a:p>
            </p:txBody>
          </p:sp>
          <p:sp>
            <p:nvSpPr>
              <p:cNvPr id="29" name="Freeform: Shape 28">
                <a:extLst>
                  <a:ext uri="{FF2B5EF4-FFF2-40B4-BE49-F238E27FC236}">
                    <a16:creationId xmlns:a16="http://schemas.microsoft.com/office/drawing/2014/main" id="{FAADC1BD-5FC6-47B8-BEAA-19D3D0BCC040}"/>
                  </a:ext>
                </a:extLst>
              </p:cNvPr>
              <p:cNvSpPr/>
              <p:nvPr/>
            </p:nvSpPr>
            <p:spPr>
              <a:xfrm>
                <a:off x="1467297" y="3470164"/>
                <a:ext cx="26658" cy="33720"/>
              </a:xfrm>
              <a:custGeom>
                <a:avLst/>
                <a:gdLst>
                  <a:gd name="connsiteX0" fmla="*/ 21696 w 26658"/>
                  <a:gd name="connsiteY0" fmla="*/ 32957 h 33720"/>
                  <a:gd name="connsiteX1" fmla="*/ 21696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696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696" y="32957"/>
                    </a:moveTo>
                    <a:lnTo>
                      <a:pt x="21696" y="28122"/>
                    </a:lnTo>
                    <a:cubicBezTo>
                      <a:pt x="19151" y="31876"/>
                      <a:pt x="15651"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35" y="25704"/>
                      <a:pt x="6999" y="26849"/>
                      <a:pt x="8144" y="27676"/>
                    </a:cubicBezTo>
                    <a:cubicBezTo>
                      <a:pt x="9289" y="28504"/>
                      <a:pt x="10689" y="28949"/>
                      <a:pt x="12343" y="28949"/>
                    </a:cubicBezTo>
                    <a:cubicBezTo>
                      <a:pt x="13997" y="28949"/>
                      <a:pt x="15588" y="28504"/>
                      <a:pt x="17051" y="27676"/>
                    </a:cubicBezTo>
                    <a:cubicBezTo>
                      <a:pt x="18514" y="26849"/>
                      <a:pt x="19532" y="25640"/>
                      <a:pt x="20169" y="24177"/>
                    </a:cubicBezTo>
                    <a:cubicBezTo>
                      <a:pt x="20805" y="22714"/>
                      <a:pt x="21059" y="20551"/>
                      <a:pt x="21059" y="17751"/>
                    </a:cubicBezTo>
                    <a:lnTo>
                      <a:pt x="21059" y="64"/>
                    </a:lnTo>
                    <a:lnTo>
                      <a:pt x="26658" y="64"/>
                    </a:lnTo>
                    <a:lnTo>
                      <a:pt x="26658" y="33085"/>
                    </a:lnTo>
                    <a:lnTo>
                      <a:pt x="21696" y="33085"/>
                    </a:lnTo>
                    <a:close/>
                  </a:path>
                </a:pathLst>
              </a:custGeom>
              <a:solidFill>
                <a:srgbClr val="084F45"/>
              </a:solidFill>
              <a:ln w="6361" cap="flat">
                <a:noFill/>
                <a:prstDash val="solid"/>
                <a:miter/>
              </a:ln>
            </p:spPr>
            <p:txBody>
              <a:bodyPr rtlCol="0" anchor="ctr"/>
              <a:lstStyle/>
              <a:p>
                <a:endParaRPr lang="da-DK"/>
              </a:p>
            </p:txBody>
          </p:sp>
          <p:sp>
            <p:nvSpPr>
              <p:cNvPr id="30" name="Freeform: Shape 29">
                <a:extLst>
                  <a:ext uri="{FF2B5EF4-FFF2-40B4-BE49-F238E27FC236}">
                    <a16:creationId xmlns:a16="http://schemas.microsoft.com/office/drawing/2014/main" id="{18464ACF-6D75-487E-9713-F70E0AB427F1}"/>
                  </a:ext>
                </a:extLst>
              </p:cNvPr>
              <p:cNvSpPr/>
              <p:nvPr/>
            </p:nvSpPr>
            <p:spPr>
              <a:xfrm>
                <a:off x="1500700" y="3457567"/>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8"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solidFill>
                <a:srgbClr val="084F45"/>
              </a:solidFill>
              <a:ln w="6361" cap="flat">
                <a:noFill/>
                <a:prstDash val="solid"/>
                <a:miter/>
              </a:ln>
            </p:spPr>
            <p:txBody>
              <a:bodyPr rtlCol="0" anchor="ctr"/>
              <a:lstStyle/>
              <a:p>
                <a:endParaRPr lang="da-DK"/>
              </a:p>
            </p:txBody>
          </p:sp>
          <p:sp>
            <p:nvSpPr>
              <p:cNvPr id="31" name="Freeform: Shape 30">
                <a:extLst>
                  <a:ext uri="{FF2B5EF4-FFF2-40B4-BE49-F238E27FC236}">
                    <a16:creationId xmlns:a16="http://schemas.microsoft.com/office/drawing/2014/main" id="{5B3AFFFE-7749-4587-827D-ACABF83416A1}"/>
                  </a:ext>
                </a:extLst>
              </p:cNvPr>
              <p:cNvSpPr/>
              <p:nvPr/>
            </p:nvSpPr>
            <p:spPr>
              <a:xfrm>
                <a:off x="1538238"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2" name="Freeform: Shape 31">
                <a:extLst>
                  <a:ext uri="{FF2B5EF4-FFF2-40B4-BE49-F238E27FC236}">
                    <a16:creationId xmlns:a16="http://schemas.microsoft.com/office/drawing/2014/main" id="{F40778D0-8E13-4C07-8DF3-F8385934D2BD}"/>
                  </a:ext>
                </a:extLst>
              </p:cNvPr>
              <p:cNvSpPr/>
              <p:nvPr/>
            </p:nvSpPr>
            <p:spPr>
              <a:xfrm>
                <a:off x="1550517" y="3469401"/>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33" name="Freeform: Shape 32">
                <a:extLst>
                  <a:ext uri="{FF2B5EF4-FFF2-40B4-BE49-F238E27FC236}">
                    <a16:creationId xmlns:a16="http://schemas.microsoft.com/office/drawing/2014/main" id="{34E3C99E-7C64-4BD2-8F78-79272CEB799D}"/>
                  </a:ext>
                </a:extLst>
              </p:cNvPr>
              <p:cNvSpPr/>
              <p:nvPr/>
            </p:nvSpPr>
            <p:spPr>
              <a:xfrm>
                <a:off x="1587546" y="3457567"/>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4" name="Freeform: Shape 33">
                <a:extLst>
                  <a:ext uri="{FF2B5EF4-FFF2-40B4-BE49-F238E27FC236}">
                    <a16:creationId xmlns:a16="http://schemas.microsoft.com/office/drawing/2014/main" id="{4A4BBB5B-0B62-479A-BDA7-D80CC4460D8F}"/>
                  </a:ext>
                </a:extLst>
              </p:cNvPr>
              <p:cNvSpPr/>
              <p:nvPr/>
            </p:nvSpPr>
            <p:spPr>
              <a:xfrm>
                <a:off x="1601862" y="3457567"/>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35" name="Freeform: Shape 34">
                <a:extLst>
                  <a:ext uri="{FF2B5EF4-FFF2-40B4-BE49-F238E27FC236}">
                    <a16:creationId xmlns:a16="http://schemas.microsoft.com/office/drawing/2014/main" id="{A68C56E8-5FA4-48AA-89B1-48C70670877D}"/>
                  </a:ext>
                </a:extLst>
              </p:cNvPr>
              <p:cNvSpPr/>
              <p:nvPr/>
            </p:nvSpPr>
            <p:spPr>
              <a:xfrm>
                <a:off x="1612614" y="3470100"/>
                <a:ext cx="30221" cy="33020"/>
              </a:xfrm>
              <a:custGeom>
                <a:avLst/>
                <a:gdLst>
                  <a:gd name="connsiteX0" fmla="*/ 12534 w 30221"/>
                  <a:gd name="connsiteY0" fmla="*/ 33021 h 33020"/>
                  <a:gd name="connsiteX1" fmla="*/ 0 w 30221"/>
                  <a:gd name="connsiteY1" fmla="*/ 0 h 33020"/>
                  <a:gd name="connsiteX2" fmla="*/ 5917 w 30221"/>
                  <a:gd name="connsiteY2" fmla="*/ 0 h 33020"/>
                  <a:gd name="connsiteX3" fmla="*/ 12979 w 30221"/>
                  <a:gd name="connsiteY3" fmla="*/ 19787 h 33020"/>
                  <a:gd name="connsiteX4" fmla="*/ 15079 w 30221"/>
                  <a:gd name="connsiteY4" fmla="*/ 26404 h 33020"/>
                  <a:gd name="connsiteX5" fmla="*/ 17178 w 30221"/>
                  <a:gd name="connsiteY5" fmla="*/ 20105 h 33020"/>
                  <a:gd name="connsiteX6" fmla="*/ 24495 w 30221"/>
                  <a:gd name="connsiteY6" fmla="*/ 0 h 33020"/>
                  <a:gd name="connsiteX7" fmla="*/ 30221 w 30221"/>
                  <a:gd name="connsiteY7" fmla="*/ 0 h 33020"/>
                  <a:gd name="connsiteX8" fmla="*/ 17751 w 30221"/>
                  <a:gd name="connsiteY8" fmla="*/ 33021 h 33020"/>
                  <a:gd name="connsiteX9" fmla="*/ 12534 w 30221"/>
                  <a:gd name="connsiteY9" fmla="*/ 33021 h 33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221" h="33020">
                    <a:moveTo>
                      <a:pt x="12534" y="33021"/>
                    </a:moveTo>
                    <a:lnTo>
                      <a:pt x="0" y="0"/>
                    </a:lnTo>
                    <a:lnTo>
                      <a:pt x="5917" y="0"/>
                    </a:lnTo>
                    <a:lnTo>
                      <a:pt x="12979" y="19787"/>
                    </a:lnTo>
                    <a:cubicBezTo>
                      <a:pt x="13743" y="21887"/>
                      <a:pt x="14443" y="24114"/>
                      <a:pt x="15079" y="26404"/>
                    </a:cubicBezTo>
                    <a:cubicBezTo>
                      <a:pt x="15588" y="24686"/>
                      <a:pt x="16288" y="22587"/>
                      <a:pt x="17178" y="20105"/>
                    </a:cubicBezTo>
                    <a:lnTo>
                      <a:pt x="24495" y="0"/>
                    </a:lnTo>
                    <a:lnTo>
                      <a:pt x="30221" y="0"/>
                    </a:lnTo>
                    <a:lnTo>
                      <a:pt x="17751" y="33021"/>
                    </a:lnTo>
                    <a:lnTo>
                      <a:pt x="12534" y="33021"/>
                    </a:lnTo>
                    <a:close/>
                  </a:path>
                </a:pathLst>
              </a:custGeom>
              <a:solidFill>
                <a:srgbClr val="084F45"/>
              </a:solidFill>
              <a:ln w="6361" cap="flat">
                <a:noFill/>
                <a:prstDash val="solid"/>
                <a:miter/>
              </a:ln>
            </p:spPr>
            <p:txBody>
              <a:bodyPr rtlCol="0" anchor="ctr"/>
              <a:lstStyle/>
              <a:p>
                <a:endParaRPr lang="da-DK"/>
              </a:p>
            </p:txBody>
          </p:sp>
          <p:sp>
            <p:nvSpPr>
              <p:cNvPr id="36" name="Freeform: Shape 35">
                <a:extLst>
                  <a:ext uri="{FF2B5EF4-FFF2-40B4-BE49-F238E27FC236}">
                    <a16:creationId xmlns:a16="http://schemas.microsoft.com/office/drawing/2014/main" id="{F82E92B3-61BD-4069-93FB-B25A986D7864}"/>
                  </a:ext>
                </a:extLst>
              </p:cNvPr>
              <p:cNvSpPr/>
              <p:nvPr/>
            </p:nvSpPr>
            <p:spPr>
              <a:xfrm>
                <a:off x="1644617" y="3496759"/>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sp>
            <p:nvSpPr>
              <p:cNvPr id="37" name="Freeform: Shape 36">
                <a:extLst>
                  <a:ext uri="{FF2B5EF4-FFF2-40B4-BE49-F238E27FC236}">
                    <a16:creationId xmlns:a16="http://schemas.microsoft.com/office/drawing/2014/main" id="{69C69B18-8665-4D33-BD96-BA281E91CBE6}"/>
                  </a:ext>
                </a:extLst>
              </p:cNvPr>
              <p:cNvSpPr/>
              <p:nvPr/>
            </p:nvSpPr>
            <p:spPr>
              <a:xfrm>
                <a:off x="1203194" y="3540278"/>
                <a:ext cx="30730" cy="45554"/>
              </a:xfrm>
              <a:custGeom>
                <a:avLst/>
                <a:gdLst>
                  <a:gd name="connsiteX0" fmla="*/ 0 w 30730"/>
                  <a:gd name="connsiteY0" fmla="*/ 45555 h 45554"/>
                  <a:gd name="connsiteX1" fmla="*/ 0 w 30730"/>
                  <a:gd name="connsiteY1" fmla="*/ 0 h 45554"/>
                  <a:gd name="connsiteX2" fmla="*/ 30730 w 30730"/>
                  <a:gd name="connsiteY2" fmla="*/ 0 h 45554"/>
                  <a:gd name="connsiteX3" fmla="*/ 30730 w 30730"/>
                  <a:gd name="connsiteY3" fmla="*/ 5344 h 45554"/>
                  <a:gd name="connsiteX4" fmla="*/ 6044 w 30730"/>
                  <a:gd name="connsiteY4" fmla="*/ 5344 h 45554"/>
                  <a:gd name="connsiteX5" fmla="*/ 6044 w 30730"/>
                  <a:gd name="connsiteY5" fmla="*/ 19469 h 45554"/>
                  <a:gd name="connsiteX6" fmla="*/ 27422 w 30730"/>
                  <a:gd name="connsiteY6" fmla="*/ 19469 h 45554"/>
                  <a:gd name="connsiteX7" fmla="*/ 27422 w 30730"/>
                  <a:gd name="connsiteY7" fmla="*/ 24813 h 45554"/>
                  <a:gd name="connsiteX8" fmla="*/ 6044 w 30730"/>
                  <a:gd name="connsiteY8" fmla="*/ 24813 h 45554"/>
                  <a:gd name="connsiteX9" fmla="*/ 6044 w 30730"/>
                  <a:gd name="connsiteY9" fmla="*/ 45491 h 45554"/>
                  <a:gd name="connsiteX10" fmla="*/ 0 w 30730"/>
                  <a:gd name="connsiteY10" fmla="*/ 45491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0730" h="45554">
                    <a:moveTo>
                      <a:pt x="0" y="45555"/>
                    </a:moveTo>
                    <a:lnTo>
                      <a:pt x="0" y="0"/>
                    </a:lnTo>
                    <a:lnTo>
                      <a:pt x="30730" y="0"/>
                    </a:lnTo>
                    <a:lnTo>
                      <a:pt x="30730" y="5344"/>
                    </a:lnTo>
                    <a:lnTo>
                      <a:pt x="6044" y="5344"/>
                    </a:lnTo>
                    <a:lnTo>
                      <a:pt x="6044" y="19469"/>
                    </a:lnTo>
                    <a:lnTo>
                      <a:pt x="27422" y="19469"/>
                    </a:lnTo>
                    <a:lnTo>
                      <a:pt x="27422" y="24813"/>
                    </a:lnTo>
                    <a:lnTo>
                      <a:pt x="6044" y="24813"/>
                    </a:lnTo>
                    <a:lnTo>
                      <a:pt x="6044" y="45491"/>
                    </a:lnTo>
                    <a:lnTo>
                      <a:pt x="0" y="45491"/>
                    </a:lnTo>
                    <a:close/>
                  </a:path>
                </a:pathLst>
              </a:custGeom>
              <a:solidFill>
                <a:srgbClr val="084F45"/>
              </a:solidFill>
              <a:ln w="6361" cap="flat">
                <a:noFill/>
                <a:prstDash val="solid"/>
                <a:miter/>
              </a:ln>
            </p:spPr>
            <p:txBody>
              <a:bodyPr rtlCol="0" anchor="ctr"/>
              <a:lstStyle/>
              <a:p>
                <a:endParaRPr lang="da-DK"/>
              </a:p>
            </p:txBody>
          </p:sp>
          <p:sp>
            <p:nvSpPr>
              <p:cNvPr id="38" name="Freeform: Shape 37">
                <a:extLst>
                  <a:ext uri="{FF2B5EF4-FFF2-40B4-BE49-F238E27FC236}">
                    <a16:creationId xmlns:a16="http://schemas.microsoft.com/office/drawing/2014/main" id="{2F837863-9B2C-4419-A128-5E75C204B9A1}"/>
                  </a:ext>
                </a:extLst>
              </p:cNvPr>
              <p:cNvSpPr/>
              <p:nvPr/>
            </p:nvSpPr>
            <p:spPr>
              <a:xfrm>
                <a:off x="1238824" y="3551921"/>
                <a:ext cx="51853" cy="34611"/>
              </a:xfrm>
              <a:custGeom>
                <a:avLst/>
                <a:gdLst>
                  <a:gd name="connsiteX0" fmla="*/ 51853 w 51853"/>
                  <a:gd name="connsiteY0" fmla="*/ 23795 h 34611"/>
                  <a:gd name="connsiteX1" fmla="*/ 46573 w 51853"/>
                  <a:gd name="connsiteY1" fmla="*/ 31812 h 34611"/>
                  <a:gd name="connsiteX2" fmla="*/ 37284 w 51853"/>
                  <a:gd name="connsiteY2" fmla="*/ 34611 h 34611"/>
                  <a:gd name="connsiteX3" fmla="*/ 30349 w 51853"/>
                  <a:gd name="connsiteY3" fmla="*/ 33148 h 34611"/>
                  <a:gd name="connsiteX4" fmla="*/ 25004 w 51853"/>
                  <a:gd name="connsiteY4" fmla="*/ 28503 h 34611"/>
                  <a:gd name="connsiteX5" fmla="*/ 18451 w 51853"/>
                  <a:gd name="connsiteY5" fmla="*/ 33148 h 34611"/>
                  <a:gd name="connsiteX6" fmla="*/ 11325 w 51853"/>
                  <a:gd name="connsiteY6" fmla="*/ 34611 h 34611"/>
                  <a:gd name="connsiteX7" fmla="*/ 2990 w 51853"/>
                  <a:gd name="connsiteY7" fmla="*/ 31875 h 34611"/>
                  <a:gd name="connsiteX8" fmla="*/ 0 w 51853"/>
                  <a:gd name="connsiteY8" fmla="*/ 25195 h 34611"/>
                  <a:gd name="connsiteX9" fmla="*/ 1527 w 51853"/>
                  <a:gd name="connsiteY9" fmla="*/ 20169 h 34611"/>
                  <a:gd name="connsiteX10" fmla="*/ 5790 w 51853"/>
                  <a:gd name="connsiteY10" fmla="*/ 16606 h 34611"/>
                  <a:gd name="connsiteX11" fmla="*/ 14570 w 51853"/>
                  <a:gd name="connsiteY11" fmla="*/ 14633 h 34611"/>
                  <a:gd name="connsiteX12" fmla="*/ 22396 w 51853"/>
                  <a:gd name="connsiteY12" fmla="*/ 13107 h 34611"/>
                  <a:gd name="connsiteX13" fmla="*/ 22459 w 51853"/>
                  <a:gd name="connsiteY13" fmla="*/ 11834 h 34611"/>
                  <a:gd name="connsiteX14" fmla="*/ 20805 w 51853"/>
                  <a:gd name="connsiteY14" fmla="*/ 6362 h 34611"/>
                  <a:gd name="connsiteX15" fmla="*/ 15079 w 51853"/>
                  <a:gd name="connsiteY15" fmla="*/ 4772 h 34611"/>
                  <a:gd name="connsiteX16" fmla="*/ 10498 w 51853"/>
                  <a:gd name="connsiteY16" fmla="*/ 5408 h 34611"/>
                  <a:gd name="connsiteX17" fmla="*/ 7762 w 51853"/>
                  <a:gd name="connsiteY17" fmla="*/ 7253 h 34611"/>
                  <a:gd name="connsiteX18" fmla="*/ 6299 w 51853"/>
                  <a:gd name="connsiteY18" fmla="*/ 11070 h 34611"/>
                  <a:gd name="connsiteX19" fmla="*/ 891 w 51853"/>
                  <a:gd name="connsiteY19" fmla="*/ 10434 h 34611"/>
                  <a:gd name="connsiteX20" fmla="*/ 3372 w 51853"/>
                  <a:gd name="connsiteY20" fmla="*/ 4644 h 34611"/>
                  <a:gd name="connsiteX21" fmla="*/ 8017 w 51853"/>
                  <a:gd name="connsiteY21" fmla="*/ 1272 h 34611"/>
                  <a:gd name="connsiteX22" fmla="*/ 15142 w 51853"/>
                  <a:gd name="connsiteY22" fmla="*/ 63 h 34611"/>
                  <a:gd name="connsiteX23" fmla="*/ 23477 w 51853"/>
                  <a:gd name="connsiteY23" fmla="*/ 1591 h 34611"/>
                  <a:gd name="connsiteX24" fmla="*/ 26531 w 51853"/>
                  <a:gd name="connsiteY24" fmla="*/ 4454 h 34611"/>
                  <a:gd name="connsiteX25" fmla="*/ 31048 w 51853"/>
                  <a:gd name="connsiteY25" fmla="*/ 1145 h 34611"/>
                  <a:gd name="connsiteX26" fmla="*/ 37156 w 51853"/>
                  <a:gd name="connsiteY26" fmla="*/ 0 h 34611"/>
                  <a:gd name="connsiteX27" fmla="*/ 45491 w 51853"/>
                  <a:gd name="connsiteY27" fmla="*/ 2418 h 34611"/>
                  <a:gd name="connsiteX28" fmla="*/ 50326 w 51853"/>
                  <a:gd name="connsiteY28" fmla="*/ 8844 h 34611"/>
                  <a:gd name="connsiteX29" fmla="*/ 51853 w 51853"/>
                  <a:gd name="connsiteY29" fmla="*/ 16733 h 34611"/>
                  <a:gd name="connsiteX30" fmla="*/ 51790 w 51853"/>
                  <a:gd name="connsiteY30" fmla="*/ 18642 h 34611"/>
                  <a:gd name="connsiteX31" fmla="*/ 28122 w 51853"/>
                  <a:gd name="connsiteY31" fmla="*/ 18642 h 34611"/>
                  <a:gd name="connsiteX32" fmla="*/ 29203 w 51853"/>
                  <a:gd name="connsiteY32" fmla="*/ 25131 h 34611"/>
                  <a:gd name="connsiteX33" fmla="*/ 32512 w 51853"/>
                  <a:gd name="connsiteY33" fmla="*/ 28503 h 34611"/>
                  <a:gd name="connsiteX34" fmla="*/ 37538 w 51853"/>
                  <a:gd name="connsiteY34" fmla="*/ 29840 h 34611"/>
                  <a:gd name="connsiteX35" fmla="*/ 42946 w 51853"/>
                  <a:gd name="connsiteY35" fmla="*/ 27994 h 34611"/>
                  <a:gd name="connsiteX36" fmla="*/ 46000 w 51853"/>
                  <a:gd name="connsiteY36" fmla="*/ 22841 h 34611"/>
                  <a:gd name="connsiteX37" fmla="*/ 51853 w 51853"/>
                  <a:gd name="connsiteY37" fmla="*/ 23795 h 34611"/>
                  <a:gd name="connsiteX38" fmla="*/ 22650 w 51853"/>
                  <a:gd name="connsiteY38" fmla="*/ 17306 h 34611"/>
                  <a:gd name="connsiteX39" fmla="*/ 12661 w 51853"/>
                  <a:gd name="connsiteY39" fmla="*/ 19596 h 34611"/>
                  <a:gd name="connsiteX40" fmla="*/ 7889 w 51853"/>
                  <a:gd name="connsiteY40" fmla="*/ 21187 h 34611"/>
                  <a:gd name="connsiteX41" fmla="*/ 6044 w 51853"/>
                  <a:gd name="connsiteY41" fmla="*/ 25004 h 34611"/>
                  <a:gd name="connsiteX42" fmla="*/ 7698 w 51853"/>
                  <a:gd name="connsiteY42" fmla="*/ 28694 h 34611"/>
                  <a:gd name="connsiteX43" fmla="*/ 12470 w 51853"/>
                  <a:gd name="connsiteY43" fmla="*/ 30221 h 34611"/>
                  <a:gd name="connsiteX44" fmla="*/ 18705 w 51853"/>
                  <a:gd name="connsiteY44" fmla="*/ 28440 h 34611"/>
                  <a:gd name="connsiteX45" fmla="*/ 22141 w 51853"/>
                  <a:gd name="connsiteY45" fmla="*/ 24050 h 34611"/>
                  <a:gd name="connsiteX46" fmla="*/ 22650 w 51853"/>
                  <a:gd name="connsiteY46" fmla="*/ 17306 h 34611"/>
                  <a:gd name="connsiteX47" fmla="*/ 28122 w 51853"/>
                  <a:gd name="connsiteY47" fmla="*/ 14188 h 34611"/>
                  <a:gd name="connsiteX48" fmla="*/ 46255 w 51853"/>
                  <a:gd name="connsiteY48" fmla="*/ 14188 h 34611"/>
                  <a:gd name="connsiteX49" fmla="*/ 43455 w 51853"/>
                  <a:gd name="connsiteY49" fmla="*/ 6999 h 34611"/>
                  <a:gd name="connsiteX50" fmla="*/ 37284 w 51853"/>
                  <a:gd name="connsiteY50" fmla="*/ 4708 h 34611"/>
                  <a:gd name="connsiteX51" fmla="*/ 30858 w 51853"/>
                  <a:gd name="connsiteY51" fmla="*/ 7190 h 34611"/>
                  <a:gd name="connsiteX52" fmla="*/ 28122 w 51853"/>
                  <a:gd name="connsiteY52" fmla="*/ 14188 h 346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51853" h="34611">
                    <a:moveTo>
                      <a:pt x="51853" y="23795"/>
                    </a:moveTo>
                    <a:cubicBezTo>
                      <a:pt x="50835" y="27231"/>
                      <a:pt x="49054" y="29903"/>
                      <a:pt x="46573" y="31812"/>
                    </a:cubicBezTo>
                    <a:cubicBezTo>
                      <a:pt x="44091" y="33721"/>
                      <a:pt x="40974" y="34611"/>
                      <a:pt x="37284" y="34611"/>
                    </a:cubicBezTo>
                    <a:cubicBezTo>
                      <a:pt x="34675" y="34611"/>
                      <a:pt x="32321" y="34102"/>
                      <a:pt x="30349" y="33148"/>
                    </a:cubicBezTo>
                    <a:cubicBezTo>
                      <a:pt x="28376" y="32194"/>
                      <a:pt x="26595" y="30603"/>
                      <a:pt x="25004" y="28503"/>
                    </a:cubicBezTo>
                    <a:cubicBezTo>
                      <a:pt x="22841" y="30603"/>
                      <a:pt x="20678" y="32194"/>
                      <a:pt x="18451" y="33148"/>
                    </a:cubicBezTo>
                    <a:cubicBezTo>
                      <a:pt x="16224" y="34102"/>
                      <a:pt x="13870" y="34611"/>
                      <a:pt x="11325" y="34611"/>
                    </a:cubicBezTo>
                    <a:cubicBezTo>
                      <a:pt x="7762" y="34611"/>
                      <a:pt x="4963" y="33721"/>
                      <a:pt x="2990" y="31875"/>
                    </a:cubicBezTo>
                    <a:cubicBezTo>
                      <a:pt x="1018" y="30030"/>
                      <a:pt x="0" y="27804"/>
                      <a:pt x="0" y="25195"/>
                    </a:cubicBezTo>
                    <a:cubicBezTo>
                      <a:pt x="0" y="23414"/>
                      <a:pt x="509" y="21759"/>
                      <a:pt x="1527" y="20169"/>
                    </a:cubicBezTo>
                    <a:cubicBezTo>
                      <a:pt x="2545" y="18578"/>
                      <a:pt x="4008" y="17433"/>
                      <a:pt x="5790" y="16606"/>
                    </a:cubicBezTo>
                    <a:cubicBezTo>
                      <a:pt x="7571" y="15779"/>
                      <a:pt x="10562" y="15143"/>
                      <a:pt x="14570" y="14633"/>
                    </a:cubicBezTo>
                    <a:cubicBezTo>
                      <a:pt x="17687" y="14188"/>
                      <a:pt x="20296" y="13679"/>
                      <a:pt x="22396" y="13107"/>
                    </a:cubicBezTo>
                    <a:cubicBezTo>
                      <a:pt x="22396" y="12597"/>
                      <a:pt x="22459" y="12152"/>
                      <a:pt x="22459" y="11834"/>
                    </a:cubicBezTo>
                    <a:cubicBezTo>
                      <a:pt x="22459" y="9225"/>
                      <a:pt x="21887" y="7380"/>
                      <a:pt x="20805" y="6362"/>
                    </a:cubicBezTo>
                    <a:cubicBezTo>
                      <a:pt x="19723" y="5344"/>
                      <a:pt x="17815" y="4772"/>
                      <a:pt x="15079" y="4772"/>
                    </a:cubicBezTo>
                    <a:cubicBezTo>
                      <a:pt x="13297" y="4772"/>
                      <a:pt x="11770" y="4963"/>
                      <a:pt x="10498" y="5408"/>
                    </a:cubicBezTo>
                    <a:cubicBezTo>
                      <a:pt x="9225" y="5853"/>
                      <a:pt x="8335" y="6490"/>
                      <a:pt x="7762" y="7253"/>
                    </a:cubicBezTo>
                    <a:cubicBezTo>
                      <a:pt x="7189" y="8080"/>
                      <a:pt x="6680" y="9353"/>
                      <a:pt x="6299" y="11070"/>
                    </a:cubicBezTo>
                    <a:lnTo>
                      <a:pt x="891" y="10434"/>
                    </a:lnTo>
                    <a:cubicBezTo>
                      <a:pt x="1463" y="8016"/>
                      <a:pt x="2290" y="6108"/>
                      <a:pt x="3372" y="4644"/>
                    </a:cubicBezTo>
                    <a:cubicBezTo>
                      <a:pt x="4454" y="3245"/>
                      <a:pt x="6044" y="2100"/>
                      <a:pt x="8017" y="1272"/>
                    </a:cubicBezTo>
                    <a:cubicBezTo>
                      <a:pt x="10053" y="445"/>
                      <a:pt x="12407" y="63"/>
                      <a:pt x="15142" y="63"/>
                    </a:cubicBezTo>
                    <a:cubicBezTo>
                      <a:pt x="18578" y="63"/>
                      <a:pt x="21378" y="573"/>
                      <a:pt x="23477" y="1591"/>
                    </a:cubicBezTo>
                    <a:cubicBezTo>
                      <a:pt x="24686" y="2163"/>
                      <a:pt x="25704" y="3181"/>
                      <a:pt x="26531" y="4454"/>
                    </a:cubicBezTo>
                    <a:cubicBezTo>
                      <a:pt x="27867" y="2990"/>
                      <a:pt x="29331" y="1909"/>
                      <a:pt x="31048" y="1145"/>
                    </a:cubicBezTo>
                    <a:cubicBezTo>
                      <a:pt x="32703" y="382"/>
                      <a:pt x="34739" y="0"/>
                      <a:pt x="37156" y="0"/>
                    </a:cubicBezTo>
                    <a:cubicBezTo>
                      <a:pt x="40528" y="0"/>
                      <a:pt x="43264" y="827"/>
                      <a:pt x="45491" y="2418"/>
                    </a:cubicBezTo>
                    <a:cubicBezTo>
                      <a:pt x="47718" y="4008"/>
                      <a:pt x="49309" y="6172"/>
                      <a:pt x="50326" y="8844"/>
                    </a:cubicBezTo>
                    <a:cubicBezTo>
                      <a:pt x="51344" y="11516"/>
                      <a:pt x="51853" y="14125"/>
                      <a:pt x="51853" y="16733"/>
                    </a:cubicBezTo>
                    <a:cubicBezTo>
                      <a:pt x="51853" y="17115"/>
                      <a:pt x="51853" y="17751"/>
                      <a:pt x="51790" y="18642"/>
                    </a:cubicBezTo>
                    <a:lnTo>
                      <a:pt x="28122" y="18642"/>
                    </a:lnTo>
                    <a:cubicBezTo>
                      <a:pt x="28185" y="21632"/>
                      <a:pt x="28503" y="23795"/>
                      <a:pt x="29203" y="25131"/>
                    </a:cubicBezTo>
                    <a:cubicBezTo>
                      <a:pt x="29903" y="26468"/>
                      <a:pt x="30985" y="27613"/>
                      <a:pt x="32512" y="28503"/>
                    </a:cubicBezTo>
                    <a:cubicBezTo>
                      <a:pt x="34039" y="29394"/>
                      <a:pt x="35693" y="29840"/>
                      <a:pt x="37538" y="29840"/>
                    </a:cubicBezTo>
                    <a:cubicBezTo>
                      <a:pt x="39638" y="29840"/>
                      <a:pt x="41483" y="29203"/>
                      <a:pt x="42946" y="27994"/>
                    </a:cubicBezTo>
                    <a:cubicBezTo>
                      <a:pt x="44409" y="26786"/>
                      <a:pt x="45427" y="25068"/>
                      <a:pt x="46000" y="22841"/>
                    </a:cubicBezTo>
                    <a:lnTo>
                      <a:pt x="51853" y="23795"/>
                    </a:lnTo>
                    <a:close/>
                    <a:moveTo>
                      <a:pt x="22650" y="17306"/>
                    </a:moveTo>
                    <a:cubicBezTo>
                      <a:pt x="20996" y="18005"/>
                      <a:pt x="17687" y="18769"/>
                      <a:pt x="12661" y="19596"/>
                    </a:cubicBezTo>
                    <a:cubicBezTo>
                      <a:pt x="10371" y="19978"/>
                      <a:pt x="8844" y="20487"/>
                      <a:pt x="7889" y="21187"/>
                    </a:cubicBezTo>
                    <a:cubicBezTo>
                      <a:pt x="6680" y="22141"/>
                      <a:pt x="6044" y="23414"/>
                      <a:pt x="6044" y="25004"/>
                    </a:cubicBezTo>
                    <a:cubicBezTo>
                      <a:pt x="6044" y="26468"/>
                      <a:pt x="6617" y="27740"/>
                      <a:pt x="7698" y="28694"/>
                    </a:cubicBezTo>
                    <a:cubicBezTo>
                      <a:pt x="8780" y="29712"/>
                      <a:pt x="10371" y="30221"/>
                      <a:pt x="12470" y="30221"/>
                    </a:cubicBezTo>
                    <a:cubicBezTo>
                      <a:pt x="14888" y="30221"/>
                      <a:pt x="16924" y="29649"/>
                      <a:pt x="18705" y="28440"/>
                    </a:cubicBezTo>
                    <a:cubicBezTo>
                      <a:pt x="20487" y="27231"/>
                      <a:pt x="21632" y="25768"/>
                      <a:pt x="22141" y="24050"/>
                    </a:cubicBezTo>
                    <a:cubicBezTo>
                      <a:pt x="22459" y="22968"/>
                      <a:pt x="22650" y="20741"/>
                      <a:pt x="22650" y="17306"/>
                    </a:cubicBezTo>
                    <a:close/>
                    <a:moveTo>
                      <a:pt x="28122" y="14188"/>
                    </a:moveTo>
                    <a:lnTo>
                      <a:pt x="46255" y="14188"/>
                    </a:lnTo>
                    <a:cubicBezTo>
                      <a:pt x="45936" y="10943"/>
                      <a:pt x="45046" y="8526"/>
                      <a:pt x="43455" y="6999"/>
                    </a:cubicBezTo>
                    <a:cubicBezTo>
                      <a:pt x="41865" y="5472"/>
                      <a:pt x="39829" y="4708"/>
                      <a:pt x="37284" y="4708"/>
                    </a:cubicBezTo>
                    <a:cubicBezTo>
                      <a:pt x="34675" y="4708"/>
                      <a:pt x="32512" y="5535"/>
                      <a:pt x="30858" y="7190"/>
                    </a:cubicBezTo>
                    <a:cubicBezTo>
                      <a:pt x="29203" y="8844"/>
                      <a:pt x="28313" y="11261"/>
                      <a:pt x="28122" y="14188"/>
                    </a:cubicBezTo>
                    <a:close/>
                  </a:path>
                </a:pathLst>
              </a:custGeom>
              <a:solidFill>
                <a:srgbClr val="084F45"/>
              </a:solidFill>
              <a:ln w="6361" cap="flat">
                <a:noFill/>
                <a:prstDash val="solid"/>
                <a:miter/>
              </a:ln>
            </p:spPr>
            <p:txBody>
              <a:bodyPr rtlCol="0" anchor="ctr"/>
              <a:lstStyle/>
              <a:p>
                <a:endParaRPr lang="da-DK"/>
              </a:p>
            </p:txBody>
          </p:sp>
          <p:sp>
            <p:nvSpPr>
              <p:cNvPr id="39" name="Freeform: Shape 38">
                <a:extLst>
                  <a:ext uri="{FF2B5EF4-FFF2-40B4-BE49-F238E27FC236}">
                    <a16:creationId xmlns:a16="http://schemas.microsoft.com/office/drawing/2014/main" id="{52DA121E-9491-477C-BE48-7A16BE388A6A}"/>
                  </a:ext>
                </a:extLst>
              </p:cNvPr>
              <p:cNvSpPr/>
              <p:nvPr/>
            </p:nvSpPr>
            <p:spPr>
              <a:xfrm>
                <a:off x="1297485"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40" name="Freeform: Shape 39">
                <a:extLst>
                  <a:ext uri="{FF2B5EF4-FFF2-40B4-BE49-F238E27FC236}">
                    <a16:creationId xmlns:a16="http://schemas.microsoft.com/office/drawing/2014/main" id="{1D309886-3AAD-4530-AB6D-28FA06FADAA9}"/>
                  </a:ext>
                </a:extLst>
              </p:cNvPr>
              <p:cNvSpPr/>
              <p:nvPr/>
            </p:nvSpPr>
            <p:spPr>
              <a:xfrm>
                <a:off x="1311609" y="3540278"/>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41" name="Freeform: Shape 40">
                <a:extLst>
                  <a:ext uri="{FF2B5EF4-FFF2-40B4-BE49-F238E27FC236}">
                    <a16:creationId xmlns:a16="http://schemas.microsoft.com/office/drawing/2014/main" id="{DF05CA6F-D75D-490D-A474-017C38A7B86D}"/>
                  </a:ext>
                </a:extLst>
              </p:cNvPr>
              <p:cNvSpPr/>
              <p:nvPr/>
            </p:nvSpPr>
            <p:spPr>
              <a:xfrm>
                <a:off x="1324016" y="3552112"/>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459" y="27167"/>
                      <a:pt x="23604"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42" name="Freeform: Shape 41">
                <a:extLst>
                  <a:ext uri="{FF2B5EF4-FFF2-40B4-BE49-F238E27FC236}">
                    <a16:creationId xmlns:a16="http://schemas.microsoft.com/office/drawing/2014/main" id="{5432CE93-9C52-4DEA-A874-27E4C696FE3C}"/>
                  </a:ext>
                </a:extLst>
              </p:cNvPr>
              <p:cNvSpPr/>
              <p:nvPr/>
            </p:nvSpPr>
            <p:spPr>
              <a:xfrm>
                <a:off x="1359009"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7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0" y="26976"/>
                      <a:pt x="8144" y="28122"/>
                    </a:cubicBezTo>
                    <a:cubicBezTo>
                      <a:pt x="9607" y="29267"/>
                      <a:pt x="11516" y="29903"/>
                      <a:pt x="14061" y="29903"/>
                    </a:cubicBezTo>
                    <a:cubicBezTo>
                      <a:pt x="16606" y="29903"/>
                      <a:pt x="18515" y="29394"/>
                      <a:pt x="19787" y="28313"/>
                    </a:cubicBezTo>
                    <a:cubicBezTo>
                      <a:pt x="21059" y="27295"/>
                      <a:pt x="21632" y="26022"/>
                      <a:pt x="21632" y="24622"/>
                    </a:cubicBezTo>
                    <a:cubicBezTo>
                      <a:pt x="21632" y="23350"/>
                      <a:pt x="21059"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2" y="12598"/>
                      <a:pt x="891" y="11134"/>
                      <a:pt x="891" y="9480"/>
                    </a:cubicBezTo>
                    <a:cubicBezTo>
                      <a:pt x="891" y="8017"/>
                      <a:pt x="1209" y="6617"/>
                      <a:pt x="1909" y="5408"/>
                    </a:cubicBezTo>
                    <a:cubicBezTo>
                      <a:pt x="2609" y="4136"/>
                      <a:pt x="3499" y="3118"/>
                      <a:pt x="4645" y="2291"/>
                    </a:cubicBezTo>
                    <a:cubicBezTo>
                      <a:pt x="5535" y="1654"/>
                      <a:pt x="6680" y="1082"/>
                      <a:pt x="8207" y="636"/>
                    </a:cubicBezTo>
                    <a:cubicBezTo>
                      <a:pt x="9734" y="191"/>
                      <a:pt x="11325" y="0"/>
                      <a:pt x="13043" y="0"/>
                    </a:cubicBezTo>
                    <a:cubicBezTo>
                      <a:pt x="15651" y="0"/>
                      <a:pt x="17878" y="382"/>
                      <a:pt x="19851" y="1145"/>
                    </a:cubicBezTo>
                    <a:cubicBezTo>
                      <a:pt x="21823" y="1909"/>
                      <a:pt x="23286" y="2927"/>
                      <a:pt x="24177" y="4199"/>
                    </a:cubicBezTo>
                    <a:cubicBezTo>
                      <a:pt x="25131"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1" y="18069"/>
                      <a:pt x="26022" y="19342"/>
                    </a:cubicBezTo>
                    <a:cubicBezTo>
                      <a:pt x="26913" y="20614"/>
                      <a:pt x="27358" y="22205"/>
                      <a:pt x="27358" y="24114"/>
                    </a:cubicBezTo>
                    <a:cubicBezTo>
                      <a:pt x="27358" y="25959"/>
                      <a:pt x="26786" y="27740"/>
                      <a:pt x="25704" y="29394"/>
                    </a:cubicBezTo>
                    <a:cubicBezTo>
                      <a:pt x="24622"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43" name="Freeform: Shape 42">
                <a:extLst>
                  <a:ext uri="{FF2B5EF4-FFF2-40B4-BE49-F238E27FC236}">
                    <a16:creationId xmlns:a16="http://schemas.microsoft.com/office/drawing/2014/main" id="{7837FF92-87C7-4C05-9958-9FDEB0DFDAD6}"/>
                  </a:ext>
                </a:extLst>
              </p:cNvPr>
              <p:cNvSpPr/>
              <p:nvPr/>
            </p:nvSpPr>
            <p:spPr>
              <a:xfrm>
                <a:off x="1410735" y="3552048"/>
                <a:ext cx="28630" cy="46381"/>
              </a:xfrm>
              <a:custGeom>
                <a:avLst/>
                <a:gdLst>
                  <a:gd name="connsiteX0" fmla="*/ 0 w 28630"/>
                  <a:gd name="connsiteY0" fmla="*/ 46382 h 46381"/>
                  <a:gd name="connsiteX1" fmla="*/ 0 w 28630"/>
                  <a:gd name="connsiteY1" fmla="*/ 763 h 46381"/>
                  <a:gd name="connsiteX2" fmla="*/ 5090 w 28630"/>
                  <a:gd name="connsiteY2" fmla="*/ 763 h 46381"/>
                  <a:gd name="connsiteX3" fmla="*/ 5090 w 28630"/>
                  <a:gd name="connsiteY3" fmla="*/ 5026 h 46381"/>
                  <a:gd name="connsiteX4" fmla="*/ 9162 w 28630"/>
                  <a:gd name="connsiteY4" fmla="*/ 1273 h 46381"/>
                  <a:gd name="connsiteX5" fmla="*/ 14634 w 28630"/>
                  <a:gd name="connsiteY5" fmla="*/ 0 h 46381"/>
                  <a:gd name="connsiteX6" fmla="*/ 22078 w 28630"/>
                  <a:gd name="connsiteY6" fmla="*/ 2163 h 46381"/>
                  <a:gd name="connsiteX7" fmla="*/ 26977 w 28630"/>
                  <a:gd name="connsiteY7" fmla="*/ 8271 h 46381"/>
                  <a:gd name="connsiteX8" fmla="*/ 28631 w 28630"/>
                  <a:gd name="connsiteY8" fmla="*/ 16988 h 46381"/>
                  <a:gd name="connsiteX9" fmla="*/ 26786 w 28630"/>
                  <a:gd name="connsiteY9" fmla="*/ 26086 h 46381"/>
                  <a:gd name="connsiteX10" fmla="*/ 21505 w 28630"/>
                  <a:gd name="connsiteY10" fmla="*/ 32321 h 46381"/>
                  <a:gd name="connsiteX11" fmla="*/ 14252 w 28630"/>
                  <a:gd name="connsiteY11" fmla="*/ 34484 h 46381"/>
                  <a:gd name="connsiteX12" fmla="*/ 9225 w 28630"/>
                  <a:gd name="connsiteY12" fmla="*/ 33275 h 46381"/>
                  <a:gd name="connsiteX13" fmla="*/ 5599 w 28630"/>
                  <a:gd name="connsiteY13" fmla="*/ 30285 h 46381"/>
                  <a:gd name="connsiteX14" fmla="*/ 5599 w 28630"/>
                  <a:gd name="connsiteY14" fmla="*/ 46318 h 46381"/>
                  <a:gd name="connsiteX15" fmla="*/ 0 w 28630"/>
                  <a:gd name="connsiteY15" fmla="*/ 46318 h 46381"/>
                  <a:gd name="connsiteX16" fmla="*/ 5090 w 28630"/>
                  <a:gd name="connsiteY16" fmla="*/ 17433 h 46381"/>
                  <a:gd name="connsiteX17" fmla="*/ 7635 w 28630"/>
                  <a:gd name="connsiteY17" fmla="*/ 26849 h 46381"/>
                  <a:gd name="connsiteX18" fmla="*/ 13870 w 28630"/>
                  <a:gd name="connsiteY18" fmla="*/ 29903 h 46381"/>
                  <a:gd name="connsiteX19" fmla="*/ 20232 w 28630"/>
                  <a:gd name="connsiteY19" fmla="*/ 26722 h 46381"/>
                  <a:gd name="connsiteX20" fmla="*/ 22905 w 28630"/>
                  <a:gd name="connsiteY20" fmla="*/ 16924 h 46381"/>
                  <a:gd name="connsiteX21" fmla="*/ 20296 w 28630"/>
                  <a:gd name="connsiteY21" fmla="*/ 7508 h 46381"/>
                  <a:gd name="connsiteX22" fmla="*/ 14125 w 28630"/>
                  <a:gd name="connsiteY22" fmla="*/ 4390 h 46381"/>
                  <a:gd name="connsiteX23" fmla="*/ 7826 w 28630"/>
                  <a:gd name="connsiteY23" fmla="*/ 7762 h 46381"/>
                  <a:gd name="connsiteX24" fmla="*/ 5090 w 28630"/>
                  <a:gd name="connsiteY24" fmla="*/ 17433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630" h="46381">
                    <a:moveTo>
                      <a:pt x="0" y="46382"/>
                    </a:moveTo>
                    <a:lnTo>
                      <a:pt x="0" y="763"/>
                    </a:lnTo>
                    <a:lnTo>
                      <a:pt x="5090" y="763"/>
                    </a:lnTo>
                    <a:lnTo>
                      <a:pt x="5090" y="5026"/>
                    </a:lnTo>
                    <a:cubicBezTo>
                      <a:pt x="6299" y="3372"/>
                      <a:pt x="7635" y="2100"/>
                      <a:pt x="9162" y="1273"/>
                    </a:cubicBezTo>
                    <a:cubicBezTo>
                      <a:pt x="10689" y="445"/>
                      <a:pt x="12534" y="0"/>
                      <a:pt x="14634" y="0"/>
                    </a:cubicBezTo>
                    <a:cubicBezTo>
                      <a:pt x="17433" y="0"/>
                      <a:pt x="19914" y="700"/>
                      <a:pt x="22078" y="2163"/>
                    </a:cubicBezTo>
                    <a:cubicBezTo>
                      <a:pt x="24241" y="3627"/>
                      <a:pt x="25831" y="5663"/>
                      <a:pt x="26977" y="8271"/>
                    </a:cubicBezTo>
                    <a:cubicBezTo>
                      <a:pt x="28058" y="10943"/>
                      <a:pt x="28631" y="13806"/>
                      <a:pt x="28631" y="16988"/>
                    </a:cubicBezTo>
                    <a:cubicBezTo>
                      <a:pt x="28631" y="20360"/>
                      <a:pt x="28058" y="23414"/>
                      <a:pt x="26786" y="26086"/>
                    </a:cubicBezTo>
                    <a:cubicBezTo>
                      <a:pt x="25577" y="28758"/>
                      <a:pt x="23795" y="30858"/>
                      <a:pt x="21505" y="32321"/>
                    </a:cubicBezTo>
                    <a:cubicBezTo>
                      <a:pt x="19214" y="33784"/>
                      <a:pt x="16797" y="34484"/>
                      <a:pt x="14252" y="34484"/>
                    </a:cubicBezTo>
                    <a:cubicBezTo>
                      <a:pt x="12407" y="34484"/>
                      <a:pt x="10689" y="34103"/>
                      <a:pt x="9225" y="33275"/>
                    </a:cubicBezTo>
                    <a:cubicBezTo>
                      <a:pt x="7762" y="32448"/>
                      <a:pt x="6553" y="31494"/>
                      <a:pt x="5599" y="30285"/>
                    </a:cubicBezTo>
                    <a:lnTo>
                      <a:pt x="5599" y="46318"/>
                    </a:lnTo>
                    <a:lnTo>
                      <a:pt x="0" y="46318"/>
                    </a:lnTo>
                    <a:close/>
                    <a:moveTo>
                      <a:pt x="5090" y="17433"/>
                    </a:moveTo>
                    <a:cubicBezTo>
                      <a:pt x="5090" y="21696"/>
                      <a:pt x="5917" y="24813"/>
                      <a:pt x="7635" y="26849"/>
                    </a:cubicBezTo>
                    <a:cubicBezTo>
                      <a:pt x="9353" y="28885"/>
                      <a:pt x="11452" y="29903"/>
                      <a:pt x="13870" y="29903"/>
                    </a:cubicBezTo>
                    <a:cubicBezTo>
                      <a:pt x="16351" y="29903"/>
                      <a:pt x="18451" y="28822"/>
                      <a:pt x="20232" y="26722"/>
                    </a:cubicBezTo>
                    <a:cubicBezTo>
                      <a:pt x="22014" y="24622"/>
                      <a:pt x="22905" y="21378"/>
                      <a:pt x="22905" y="16924"/>
                    </a:cubicBezTo>
                    <a:cubicBezTo>
                      <a:pt x="22905" y="12725"/>
                      <a:pt x="22078" y="9544"/>
                      <a:pt x="20296" y="7508"/>
                    </a:cubicBezTo>
                    <a:cubicBezTo>
                      <a:pt x="18578" y="5408"/>
                      <a:pt x="16479" y="4390"/>
                      <a:pt x="14125" y="4390"/>
                    </a:cubicBezTo>
                    <a:cubicBezTo>
                      <a:pt x="11707" y="4390"/>
                      <a:pt x="9607" y="5472"/>
                      <a:pt x="7826" y="7762"/>
                    </a:cubicBezTo>
                    <a:cubicBezTo>
                      <a:pt x="5981" y="9989"/>
                      <a:pt x="5090" y="13170"/>
                      <a:pt x="5090" y="17433"/>
                    </a:cubicBezTo>
                    <a:close/>
                  </a:path>
                </a:pathLst>
              </a:custGeom>
              <a:solidFill>
                <a:srgbClr val="084F45"/>
              </a:solidFill>
              <a:ln w="6361" cap="flat">
                <a:noFill/>
                <a:prstDash val="solid"/>
                <a:miter/>
              </a:ln>
            </p:spPr>
            <p:txBody>
              <a:bodyPr rtlCol="0" anchor="ctr"/>
              <a:lstStyle/>
              <a:p>
                <a:endParaRPr lang="da-DK"/>
              </a:p>
            </p:txBody>
          </p:sp>
          <p:sp>
            <p:nvSpPr>
              <p:cNvPr id="45" name="Freeform: Shape 44">
                <a:extLst>
                  <a:ext uri="{FF2B5EF4-FFF2-40B4-BE49-F238E27FC236}">
                    <a16:creationId xmlns:a16="http://schemas.microsoft.com/office/drawing/2014/main" id="{89E16DA0-FE3A-424A-BE01-A2197609784D}"/>
                  </a:ext>
                </a:extLst>
              </p:cNvPr>
              <p:cNvSpPr/>
              <p:nvPr/>
            </p:nvSpPr>
            <p:spPr>
              <a:xfrm>
                <a:off x="144604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46" name="Freeform: Shape 45">
                <a:extLst>
                  <a:ext uri="{FF2B5EF4-FFF2-40B4-BE49-F238E27FC236}">
                    <a16:creationId xmlns:a16="http://schemas.microsoft.com/office/drawing/2014/main" id="{1BF81419-E75A-46FA-B622-DF83D8246343}"/>
                  </a:ext>
                </a:extLst>
              </p:cNvPr>
              <p:cNvSpPr/>
              <p:nvPr/>
            </p:nvSpPr>
            <p:spPr>
              <a:xfrm>
                <a:off x="1465197" y="3552048"/>
                <a:ext cx="30921" cy="34547"/>
              </a:xfrm>
              <a:custGeom>
                <a:avLst/>
                <a:gdLst>
                  <a:gd name="connsiteX0" fmla="*/ 0 w 30921"/>
                  <a:gd name="connsiteY0" fmla="*/ 17242 h 34547"/>
                  <a:gd name="connsiteX1" fmla="*/ 5090 w 30921"/>
                  <a:gd name="connsiteY1" fmla="*/ 3690 h 34547"/>
                  <a:gd name="connsiteX2" fmla="*/ 15461 w 30921"/>
                  <a:gd name="connsiteY2" fmla="*/ 0 h 34547"/>
                  <a:gd name="connsiteX3" fmla="*/ 26595 w 30921"/>
                  <a:gd name="connsiteY3" fmla="*/ 4454 h 34547"/>
                  <a:gd name="connsiteX4" fmla="*/ 30921 w 30921"/>
                  <a:gd name="connsiteY4" fmla="*/ 16797 h 34547"/>
                  <a:gd name="connsiteX5" fmla="*/ 29012 w 30921"/>
                  <a:gd name="connsiteY5" fmla="*/ 26849 h 34547"/>
                  <a:gd name="connsiteX6" fmla="*/ 23477 w 30921"/>
                  <a:gd name="connsiteY6" fmla="*/ 32512 h 34547"/>
                  <a:gd name="connsiteX7" fmla="*/ 15524 w 30921"/>
                  <a:gd name="connsiteY7" fmla="*/ 34548 h 34547"/>
                  <a:gd name="connsiteX8" fmla="*/ 4326 w 30921"/>
                  <a:gd name="connsiteY8" fmla="*/ 30094 h 34547"/>
                  <a:gd name="connsiteX9" fmla="*/ 0 w 30921"/>
                  <a:gd name="connsiteY9" fmla="*/ 17242 h 34547"/>
                  <a:gd name="connsiteX10" fmla="*/ 5790 w 30921"/>
                  <a:gd name="connsiteY10" fmla="*/ 17242 h 34547"/>
                  <a:gd name="connsiteX11" fmla="*/ 8526 w 30921"/>
                  <a:gd name="connsiteY11" fmla="*/ 26722 h 34547"/>
                  <a:gd name="connsiteX12" fmla="*/ 15461 w 30921"/>
                  <a:gd name="connsiteY12" fmla="*/ 29903 h 34547"/>
                  <a:gd name="connsiteX13" fmla="*/ 22396 w 30921"/>
                  <a:gd name="connsiteY13" fmla="*/ 26722 h 34547"/>
                  <a:gd name="connsiteX14" fmla="*/ 25131 w 30921"/>
                  <a:gd name="connsiteY14" fmla="*/ 17051 h 34547"/>
                  <a:gd name="connsiteX15" fmla="*/ 22332 w 30921"/>
                  <a:gd name="connsiteY15" fmla="*/ 7762 h 34547"/>
                  <a:gd name="connsiteX16" fmla="*/ 15397 w 30921"/>
                  <a:gd name="connsiteY16" fmla="*/ 4581 h 34547"/>
                  <a:gd name="connsiteX17" fmla="*/ 8462 w 30921"/>
                  <a:gd name="connsiteY17" fmla="*/ 7698 h 34547"/>
                  <a:gd name="connsiteX18" fmla="*/ 5790 w 30921"/>
                  <a:gd name="connsiteY18" fmla="*/ 17242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921" h="34547">
                    <a:moveTo>
                      <a:pt x="0" y="17242"/>
                    </a:moveTo>
                    <a:cubicBezTo>
                      <a:pt x="0" y="11134"/>
                      <a:pt x="1718" y="6617"/>
                      <a:pt x="5090" y="3690"/>
                    </a:cubicBezTo>
                    <a:cubicBezTo>
                      <a:pt x="7953" y="1273"/>
                      <a:pt x="11389" y="0"/>
                      <a:pt x="15461" y="0"/>
                    </a:cubicBezTo>
                    <a:cubicBezTo>
                      <a:pt x="19978" y="0"/>
                      <a:pt x="23732" y="1463"/>
                      <a:pt x="26595" y="4454"/>
                    </a:cubicBezTo>
                    <a:cubicBezTo>
                      <a:pt x="29458" y="7444"/>
                      <a:pt x="30921" y="11516"/>
                      <a:pt x="30921" y="16797"/>
                    </a:cubicBezTo>
                    <a:cubicBezTo>
                      <a:pt x="30921" y="21059"/>
                      <a:pt x="30285" y="24368"/>
                      <a:pt x="29012" y="26849"/>
                    </a:cubicBezTo>
                    <a:cubicBezTo>
                      <a:pt x="27740" y="29267"/>
                      <a:pt x="25895" y="31176"/>
                      <a:pt x="23477" y="32512"/>
                    </a:cubicBezTo>
                    <a:cubicBezTo>
                      <a:pt x="21059" y="33848"/>
                      <a:pt x="18387" y="34548"/>
                      <a:pt x="15524" y="34548"/>
                    </a:cubicBezTo>
                    <a:cubicBezTo>
                      <a:pt x="10880" y="34548"/>
                      <a:pt x="7189" y="33085"/>
                      <a:pt x="4326" y="30094"/>
                    </a:cubicBezTo>
                    <a:cubicBezTo>
                      <a:pt x="1463" y="27104"/>
                      <a:pt x="0" y="22841"/>
                      <a:pt x="0" y="17242"/>
                    </a:cubicBezTo>
                    <a:close/>
                    <a:moveTo>
                      <a:pt x="5790" y="17242"/>
                    </a:moveTo>
                    <a:cubicBezTo>
                      <a:pt x="5790" y="21441"/>
                      <a:pt x="6681" y="24622"/>
                      <a:pt x="8526" y="26722"/>
                    </a:cubicBezTo>
                    <a:cubicBezTo>
                      <a:pt x="10371" y="28822"/>
                      <a:pt x="12661" y="29903"/>
                      <a:pt x="15461" y="29903"/>
                    </a:cubicBezTo>
                    <a:cubicBezTo>
                      <a:pt x="18260" y="29903"/>
                      <a:pt x="20550" y="28822"/>
                      <a:pt x="22396" y="26722"/>
                    </a:cubicBezTo>
                    <a:cubicBezTo>
                      <a:pt x="24241" y="24622"/>
                      <a:pt x="25131" y="21378"/>
                      <a:pt x="25131" y="17051"/>
                    </a:cubicBezTo>
                    <a:cubicBezTo>
                      <a:pt x="25131" y="12979"/>
                      <a:pt x="24241" y="9862"/>
                      <a:pt x="22332" y="7762"/>
                    </a:cubicBezTo>
                    <a:cubicBezTo>
                      <a:pt x="20487" y="5663"/>
                      <a:pt x="18196" y="4581"/>
                      <a:pt x="15397" y="4581"/>
                    </a:cubicBezTo>
                    <a:cubicBezTo>
                      <a:pt x="12598" y="4581"/>
                      <a:pt x="10307" y="5599"/>
                      <a:pt x="8462" y="7698"/>
                    </a:cubicBezTo>
                    <a:cubicBezTo>
                      <a:pt x="6681" y="9862"/>
                      <a:pt x="5790" y="13043"/>
                      <a:pt x="5790" y="17242"/>
                    </a:cubicBezTo>
                    <a:close/>
                  </a:path>
                </a:pathLst>
              </a:custGeom>
              <a:solidFill>
                <a:srgbClr val="084F45"/>
              </a:solidFill>
              <a:ln w="6361" cap="flat">
                <a:noFill/>
                <a:prstDash val="solid"/>
                <a:miter/>
              </a:ln>
            </p:spPr>
            <p:txBody>
              <a:bodyPr rtlCol="0" anchor="ctr"/>
              <a:lstStyle/>
              <a:p>
                <a:endParaRPr lang="da-DK"/>
              </a:p>
            </p:txBody>
          </p:sp>
          <p:sp>
            <p:nvSpPr>
              <p:cNvPr id="47" name="Freeform: Shape 46">
                <a:extLst>
                  <a:ext uri="{FF2B5EF4-FFF2-40B4-BE49-F238E27FC236}">
                    <a16:creationId xmlns:a16="http://schemas.microsoft.com/office/drawing/2014/main" id="{E39235D4-8417-4879-8E35-5AAD65AC4733}"/>
                  </a:ext>
                </a:extLst>
              </p:cNvPr>
              <p:cNvSpPr/>
              <p:nvPr/>
            </p:nvSpPr>
            <p:spPr>
              <a:xfrm>
                <a:off x="1501018" y="3552048"/>
                <a:ext cx="28694" cy="34484"/>
              </a:xfrm>
              <a:custGeom>
                <a:avLst/>
                <a:gdLst>
                  <a:gd name="connsiteX0" fmla="*/ 23223 w 28694"/>
                  <a:gd name="connsiteY0" fmla="*/ 21696 h 34484"/>
                  <a:gd name="connsiteX1" fmla="*/ 28694 w 28694"/>
                  <a:gd name="connsiteY1" fmla="*/ 22396 h 34484"/>
                  <a:gd name="connsiteX2" fmla="*/ 24114 w 28694"/>
                  <a:gd name="connsiteY2" fmla="*/ 31303 h 34484"/>
                  <a:gd name="connsiteX3" fmla="*/ 15015 w 28694"/>
                  <a:gd name="connsiteY3" fmla="*/ 34484 h 34484"/>
                  <a:gd name="connsiteX4" fmla="*/ 4136 w 28694"/>
                  <a:gd name="connsiteY4" fmla="*/ 30030 h 34484"/>
                  <a:gd name="connsiteX5" fmla="*/ 0 w 28694"/>
                  <a:gd name="connsiteY5" fmla="*/ 17369 h 34484"/>
                  <a:gd name="connsiteX6" fmla="*/ 1782 w 28694"/>
                  <a:gd name="connsiteY6" fmla="*/ 8017 h 34484"/>
                  <a:gd name="connsiteX7" fmla="*/ 7190 w 28694"/>
                  <a:gd name="connsiteY7" fmla="*/ 2036 h 34484"/>
                  <a:gd name="connsiteX8" fmla="*/ 15079 w 28694"/>
                  <a:gd name="connsiteY8" fmla="*/ 0 h 34484"/>
                  <a:gd name="connsiteX9" fmla="*/ 23859 w 28694"/>
                  <a:gd name="connsiteY9" fmla="*/ 2736 h 34484"/>
                  <a:gd name="connsiteX10" fmla="*/ 28249 w 28694"/>
                  <a:gd name="connsiteY10" fmla="*/ 10434 h 34484"/>
                  <a:gd name="connsiteX11" fmla="*/ 22777 w 28694"/>
                  <a:gd name="connsiteY11" fmla="*/ 11261 h 34484"/>
                  <a:gd name="connsiteX12" fmla="*/ 20042 w 28694"/>
                  <a:gd name="connsiteY12" fmla="*/ 6235 h 34484"/>
                  <a:gd name="connsiteX13" fmla="*/ 15270 w 28694"/>
                  <a:gd name="connsiteY13" fmla="*/ 4581 h 34484"/>
                  <a:gd name="connsiteX14" fmla="*/ 8398 w 28694"/>
                  <a:gd name="connsiteY14" fmla="*/ 7635 h 34484"/>
                  <a:gd name="connsiteX15" fmla="*/ 5726 w 28694"/>
                  <a:gd name="connsiteY15" fmla="*/ 17242 h 34484"/>
                  <a:gd name="connsiteX16" fmla="*/ 8271 w 28694"/>
                  <a:gd name="connsiteY16" fmla="*/ 26913 h 34484"/>
                  <a:gd name="connsiteX17" fmla="*/ 14888 w 28694"/>
                  <a:gd name="connsiteY17" fmla="*/ 29903 h 34484"/>
                  <a:gd name="connsiteX18" fmla="*/ 20423 w 28694"/>
                  <a:gd name="connsiteY18" fmla="*/ 27867 h 34484"/>
                  <a:gd name="connsiteX19" fmla="*/ 23223 w 28694"/>
                  <a:gd name="connsiteY19" fmla="*/ 21696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8694" h="34484">
                    <a:moveTo>
                      <a:pt x="23223" y="21696"/>
                    </a:moveTo>
                    <a:lnTo>
                      <a:pt x="28694" y="22396"/>
                    </a:lnTo>
                    <a:cubicBezTo>
                      <a:pt x="28122" y="26213"/>
                      <a:pt x="26531" y="29140"/>
                      <a:pt x="24114" y="31303"/>
                    </a:cubicBezTo>
                    <a:cubicBezTo>
                      <a:pt x="21632" y="33466"/>
                      <a:pt x="18578" y="34484"/>
                      <a:pt x="15015" y="34484"/>
                    </a:cubicBezTo>
                    <a:cubicBezTo>
                      <a:pt x="10498" y="34484"/>
                      <a:pt x="6871" y="33021"/>
                      <a:pt x="4136" y="30030"/>
                    </a:cubicBezTo>
                    <a:cubicBezTo>
                      <a:pt x="1400" y="27104"/>
                      <a:pt x="0" y="22841"/>
                      <a:pt x="0" y="17369"/>
                    </a:cubicBezTo>
                    <a:cubicBezTo>
                      <a:pt x="0" y="13806"/>
                      <a:pt x="573" y="10689"/>
                      <a:pt x="1782" y="8017"/>
                    </a:cubicBezTo>
                    <a:cubicBezTo>
                      <a:pt x="2990" y="5344"/>
                      <a:pt x="4772" y="3308"/>
                      <a:pt x="7190" y="2036"/>
                    </a:cubicBezTo>
                    <a:cubicBezTo>
                      <a:pt x="9607" y="700"/>
                      <a:pt x="12216" y="0"/>
                      <a:pt x="15079" y="0"/>
                    </a:cubicBezTo>
                    <a:cubicBezTo>
                      <a:pt x="18642" y="0"/>
                      <a:pt x="21569" y="891"/>
                      <a:pt x="23859" y="2736"/>
                    </a:cubicBezTo>
                    <a:cubicBezTo>
                      <a:pt x="26149" y="4581"/>
                      <a:pt x="27613" y="7126"/>
                      <a:pt x="28249" y="10434"/>
                    </a:cubicBezTo>
                    <a:lnTo>
                      <a:pt x="22777" y="11261"/>
                    </a:lnTo>
                    <a:cubicBezTo>
                      <a:pt x="22268" y="9035"/>
                      <a:pt x="21378" y="7380"/>
                      <a:pt x="20042" y="6235"/>
                    </a:cubicBezTo>
                    <a:cubicBezTo>
                      <a:pt x="18705" y="5090"/>
                      <a:pt x="17115" y="4581"/>
                      <a:pt x="15270" y="4581"/>
                    </a:cubicBezTo>
                    <a:cubicBezTo>
                      <a:pt x="12470" y="4581"/>
                      <a:pt x="10180" y="5599"/>
                      <a:pt x="8398" y="7635"/>
                    </a:cubicBezTo>
                    <a:cubicBezTo>
                      <a:pt x="6617" y="9671"/>
                      <a:pt x="5726" y="12852"/>
                      <a:pt x="5726" y="17242"/>
                    </a:cubicBezTo>
                    <a:cubicBezTo>
                      <a:pt x="5726" y="21696"/>
                      <a:pt x="6553" y="24877"/>
                      <a:pt x="8271" y="26913"/>
                    </a:cubicBezTo>
                    <a:cubicBezTo>
                      <a:pt x="9989" y="28949"/>
                      <a:pt x="12216" y="29903"/>
                      <a:pt x="14888" y="29903"/>
                    </a:cubicBezTo>
                    <a:cubicBezTo>
                      <a:pt x="17115" y="29903"/>
                      <a:pt x="18896" y="29203"/>
                      <a:pt x="20423" y="27867"/>
                    </a:cubicBezTo>
                    <a:cubicBezTo>
                      <a:pt x="21887" y="26531"/>
                      <a:pt x="22841" y="24495"/>
                      <a:pt x="23223" y="21696"/>
                    </a:cubicBezTo>
                    <a:close/>
                  </a:path>
                </a:pathLst>
              </a:custGeom>
              <a:solidFill>
                <a:srgbClr val="084F45"/>
              </a:solidFill>
              <a:ln w="6361" cap="flat">
                <a:noFill/>
                <a:prstDash val="solid"/>
                <a:miter/>
              </a:ln>
            </p:spPr>
            <p:txBody>
              <a:bodyPr rtlCol="0" anchor="ctr"/>
              <a:lstStyle/>
              <a:p>
                <a:endParaRPr lang="da-DK"/>
              </a:p>
            </p:txBody>
          </p:sp>
          <p:sp>
            <p:nvSpPr>
              <p:cNvPr id="48" name="Freeform: Shape 47">
                <a:extLst>
                  <a:ext uri="{FF2B5EF4-FFF2-40B4-BE49-F238E27FC236}">
                    <a16:creationId xmlns:a16="http://schemas.microsoft.com/office/drawing/2014/main" id="{FDE5C9A9-6ABB-4079-B47B-3E7DCE645605}"/>
                  </a:ext>
                </a:extLst>
              </p:cNvPr>
              <p:cNvSpPr/>
              <p:nvPr/>
            </p:nvSpPr>
            <p:spPr>
              <a:xfrm>
                <a:off x="1532639" y="3552112"/>
                <a:ext cx="30412" cy="34484"/>
              </a:xfrm>
              <a:custGeom>
                <a:avLst/>
                <a:gdLst>
                  <a:gd name="connsiteX0" fmla="*/ 24432 w 30412"/>
                  <a:gd name="connsiteY0" fmla="*/ 23096 h 34484"/>
                  <a:gd name="connsiteX1" fmla="*/ 30221 w 30412"/>
                  <a:gd name="connsiteY1" fmla="*/ 23795 h 34484"/>
                  <a:gd name="connsiteX2" fmla="*/ 25132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108 w 30412"/>
                  <a:gd name="connsiteY16" fmla="*/ 13997 h 34484"/>
                  <a:gd name="connsiteX17" fmla="*/ 24559 w 30412"/>
                  <a:gd name="connsiteY17" fmla="*/ 13997 h 34484"/>
                  <a:gd name="connsiteX18" fmla="*/ 22459 w 30412"/>
                  <a:gd name="connsiteY18" fmla="*/ 7762 h 34484"/>
                  <a:gd name="connsiteX19" fmla="*/ 15524 w 30412"/>
                  <a:gd name="connsiteY19" fmla="*/ 4517 h 34484"/>
                  <a:gd name="connsiteX20" fmla="*/ 9035 w 30412"/>
                  <a:gd name="connsiteY20" fmla="*/ 7126 h 34484"/>
                  <a:gd name="connsiteX21" fmla="*/ 6108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2"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3"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108" y="13997"/>
                    </a:moveTo>
                    <a:lnTo>
                      <a:pt x="24559" y="13997"/>
                    </a:lnTo>
                    <a:cubicBezTo>
                      <a:pt x="24304" y="11198"/>
                      <a:pt x="23605" y="9162"/>
                      <a:pt x="22459" y="7762"/>
                    </a:cubicBezTo>
                    <a:cubicBezTo>
                      <a:pt x="20678" y="5599"/>
                      <a:pt x="18387" y="4517"/>
                      <a:pt x="15524" y="4517"/>
                    </a:cubicBezTo>
                    <a:cubicBezTo>
                      <a:pt x="12979" y="4517"/>
                      <a:pt x="10816" y="5408"/>
                      <a:pt x="9035" y="7126"/>
                    </a:cubicBezTo>
                    <a:cubicBezTo>
                      <a:pt x="7253" y="8844"/>
                      <a:pt x="6299" y="11134"/>
                      <a:pt x="6108" y="13997"/>
                    </a:cubicBezTo>
                    <a:close/>
                  </a:path>
                </a:pathLst>
              </a:custGeom>
              <a:solidFill>
                <a:srgbClr val="084F45"/>
              </a:solidFill>
              <a:ln w="6361" cap="flat">
                <a:noFill/>
                <a:prstDash val="solid"/>
                <a:miter/>
              </a:ln>
            </p:spPr>
            <p:txBody>
              <a:bodyPr rtlCol="0" anchor="ctr"/>
              <a:lstStyle/>
              <a:p>
                <a:endParaRPr lang="da-DK"/>
              </a:p>
            </p:txBody>
          </p:sp>
          <p:sp>
            <p:nvSpPr>
              <p:cNvPr id="49" name="Freeform: Shape 48">
                <a:extLst>
                  <a:ext uri="{FF2B5EF4-FFF2-40B4-BE49-F238E27FC236}">
                    <a16:creationId xmlns:a16="http://schemas.microsoft.com/office/drawing/2014/main" id="{2D20234F-477D-42B4-9888-93D395A78A11}"/>
                  </a:ext>
                </a:extLst>
              </p:cNvPr>
              <p:cNvSpPr/>
              <p:nvPr/>
            </p:nvSpPr>
            <p:spPr>
              <a:xfrm>
                <a:off x="1567632"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50" name="Freeform: Shape 49">
                <a:extLst>
                  <a:ext uri="{FF2B5EF4-FFF2-40B4-BE49-F238E27FC236}">
                    <a16:creationId xmlns:a16="http://schemas.microsoft.com/office/drawing/2014/main" id="{21047D56-8A8C-467B-B787-ABA66F86B940}"/>
                  </a:ext>
                </a:extLst>
              </p:cNvPr>
              <p:cNvSpPr/>
              <p:nvPr/>
            </p:nvSpPr>
            <p:spPr>
              <a:xfrm>
                <a:off x="1599444" y="3552048"/>
                <a:ext cx="27358" cy="34547"/>
              </a:xfrm>
              <a:custGeom>
                <a:avLst/>
                <a:gdLst>
                  <a:gd name="connsiteX0" fmla="*/ 0 w 27358"/>
                  <a:gd name="connsiteY0" fmla="*/ 23923 h 34547"/>
                  <a:gd name="connsiteX1" fmla="*/ 5535 w 27358"/>
                  <a:gd name="connsiteY1" fmla="*/ 23032 h 34547"/>
                  <a:gd name="connsiteX2" fmla="*/ 8144 w 27358"/>
                  <a:gd name="connsiteY2" fmla="*/ 28122 h 34547"/>
                  <a:gd name="connsiteX3" fmla="*/ 14061 w 27358"/>
                  <a:gd name="connsiteY3" fmla="*/ 29903 h 34547"/>
                  <a:gd name="connsiteX4" fmla="*/ 19787 w 27358"/>
                  <a:gd name="connsiteY4" fmla="*/ 28313 h 34547"/>
                  <a:gd name="connsiteX5" fmla="*/ 21632 w 27358"/>
                  <a:gd name="connsiteY5" fmla="*/ 24622 h 34547"/>
                  <a:gd name="connsiteX6" fmla="*/ 19978 w 27358"/>
                  <a:gd name="connsiteY6" fmla="*/ 21632 h 34547"/>
                  <a:gd name="connsiteX7" fmla="*/ 14252 w 27358"/>
                  <a:gd name="connsiteY7" fmla="*/ 19723 h 34547"/>
                  <a:gd name="connsiteX8" fmla="*/ 5726 w 27358"/>
                  <a:gd name="connsiteY8" fmla="*/ 17051 h 34547"/>
                  <a:gd name="connsiteX9" fmla="*/ 2100 w 27358"/>
                  <a:gd name="connsiteY9" fmla="*/ 13934 h 34547"/>
                  <a:gd name="connsiteX10" fmla="*/ 891 w 27358"/>
                  <a:gd name="connsiteY10" fmla="*/ 9480 h 34547"/>
                  <a:gd name="connsiteX11" fmla="*/ 1909 w 27358"/>
                  <a:gd name="connsiteY11" fmla="*/ 5408 h 34547"/>
                  <a:gd name="connsiteX12" fmla="*/ 4645 w 27358"/>
                  <a:gd name="connsiteY12" fmla="*/ 2291 h 34547"/>
                  <a:gd name="connsiteX13" fmla="*/ 8208 w 27358"/>
                  <a:gd name="connsiteY13" fmla="*/ 636 h 34547"/>
                  <a:gd name="connsiteX14" fmla="*/ 13043 w 27358"/>
                  <a:gd name="connsiteY14" fmla="*/ 0 h 34547"/>
                  <a:gd name="connsiteX15" fmla="*/ 19851 w 27358"/>
                  <a:gd name="connsiteY15" fmla="*/ 1145 h 34547"/>
                  <a:gd name="connsiteX16" fmla="*/ 24177 w 27358"/>
                  <a:gd name="connsiteY16" fmla="*/ 4199 h 34547"/>
                  <a:gd name="connsiteX17" fmla="*/ 26086 w 27358"/>
                  <a:gd name="connsiteY17" fmla="*/ 9289 h 34547"/>
                  <a:gd name="connsiteX18" fmla="*/ 20614 w 27358"/>
                  <a:gd name="connsiteY18" fmla="*/ 10053 h 34547"/>
                  <a:gd name="connsiteX19" fmla="*/ 18451 w 27358"/>
                  <a:gd name="connsiteY19" fmla="*/ 6108 h 34547"/>
                  <a:gd name="connsiteX20" fmla="*/ 13425 w 27358"/>
                  <a:gd name="connsiteY20" fmla="*/ 4708 h 34547"/>
                  <a:gd name="connsiteX21" fmla="*/ 7889 w 27358"/>
                  <a:gd name="connsiteY21" fmla="*/ 5981 h 34547"/>
                  <a:gd name="connsiteX22" fmla="*/ 6235 w 27358"/>
                  <a:gd name="connsiteY22" fmla="*/ 8971 h 34547"/>
                  <a:gd name="connsiteX23" fmla="*/ 6935 w 27358"/>
                  <a:gd name="connsiteY23" fmla="*/ 10943 h 34547"/>
                  <a:gd name="connsiteX24" fmla="*/ 9098 w 27358"/>
                  <a:gd name="connsiteY24" fmla="*/ 12407 h 34547"/>
                  <a:gd name="connsiteX25" fmla="*/ 14061 w 27358"/>
                  <a:gd name="connsiteY25" fmla="*/ 13806 h 34547"/>
                  <a:gd name="connsiteX26" fmla="*/ 22332 w 27358"/>
                  <a:gd name="connsiteY26" fmla="*/ 16415 h 34547"/>
                  <a:gd name="connsiteX27" fmla="*/ 26022 w 27358"/>
                  <a:gd name="connsiteY27" fmla="*/ 19342 h 34547"/>
                  <a:gd name="connsiteX28" fmla="*/ 27358 w 27358"/>
                  <a:gd name="connsiteY28" fmla="*/ 24114 h 34547"/>
                  <a:gd name="connsiteX29" fmla="*/ 25704 w 27358"/>
                  <a:gd name="connsiteY29" fmla="*/ 29394 h 34547"/>
                  <a:gd name="connsiteX30" fmla="*/ 20996 w 27358"/>
                  <a:gd name="connsiteY30" fmla="*/ 33212 h 34547"/>
                  <a:gd name="connsiteX31" fmla="*/ 14061 w 27358"/>
                  <a:gd name="connsiteY31" fmla="*/ 34548 h 34547"/>
                  <a:gd name="connsiteX32" fmla="*/ 4263 w 27358"/>
                  <a:gd name="connsiteY32" fmla="*/ 31876 h 34547"/>
                  <a:gd name="connsiteX33" fmla="*/ 0 w 27358"/>
                  <a:gd name="connsiteY33" fmla="*/ 23923 h 34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7358" h="34547">
                    <a:moveTo>
                      <a:pt x="0" y="23923"/>
                    </a:moveTo>
                    <a:lnTo>
                      <a:pt x="5535" y="23032"/>
                    </a:lnTo>
                    <a:cubicBezTo>
                      <a:pt x="5853" y="25259"/>
                      <a:pt x="6681" y="26976"/>
                      <a:pt x="8144" y="28122"/>
                    </a:cubicBezTo>
                    <a:cubicBezTo>
                      <a:pt x="9607" y="29267"/>
                      <a:pt x="11516" y="29903"/>
                      <a:pt x="14061" y="29903"/>
                    </a:cubicBezTo>
                    <a:cubicBezTo>
                      <a:pt x="16606" y="29903"/>
                      <a:pt x="18515" y="29394"/>
                      <a:pt x="19787" y="28313"/>
                    </a:cubicBezTo>
                    <a:cubicBezTo>
                      <a:pt x="21060" y="27295"/>
                      <a:pt x="21632" y="26022"/>
                      <a:pt x="21632" y="24622"/>
                    </a:cubicBezTo>
                    <a:cubicBezTo>
                      <a:pt x="21632" y="23350"/>
                      <a:pt x="21060" y="22332"/>
                      <a:pt x="19978" y="21632"/>
                    </a:cubicBezTo>
                    <a:cubicBezTo>
                      <a:pt x="19214" y="21123"/>
                      <a:pt x="17306" y="20487"/>
                      <a:pt x="14252" y="19723"/>
                    </a:cubicBezTo>
                    <a:cubicBezTo>
                      <a:pt x="10180" y="18705"/>
                      <a:pt x="7317" y="17815"/>
                      <a:pt x="5726" y="17051"/>
                    </a:cubicBezTo>
                    <a:cubicBezTo>
                      <a:pt x="4136" y="16288"/>
                      <a:pt x="2927" y="15270"/>
                      <a:pt x="2100" y="13934"/>
                    </a:cubicBezTo>
                    <a:cubicBezTo>
                      <a:pt x="1273" y="12598"/>
                      <a:pt x="891" y="11134"/>
                      <a:pt x="891" y="9480"/>
                    </a:cubicBezTo>
                    <a:cubicBezTo>
                      <a:pt x="891" y="8017"/>
                      <a:pt x="1209" y="6617"/>
                      <a:pt x="1909" y="5408"/>
                    </a:cubicBezTo>
                    <a:cubicBezTo>
                      <a:pt x="2609" y="4136"/>
                      <a:pt x="3499" y="3118"/>
                      <a:pt x="4645" y="2291"/>
                    </a:cubicBezTo>
                    <a:cubicBezTo>
                      <a:pt x="5535" y="1654"/>
                      <a:pt x="6681" y="1082"/>
                      <a:pt x="8208" y="636"/>
                    </a:cubicBezTo>
                    <a:cubicBezTo>
                      <a:pt x="9734" y="191"/>
                      <a:pt x="11325" y="0"/>
                      <a:pt x="13043" y="0"/>
                    </a:cubicBezTo>
                    <a:cubicBezTo>
                      <a:pt x="15652" y="0"/>
                      <a:pt x="17878" y="382"/>
                      <a:pt x="19851" y="1145"/>
                    </a:cubicBezTo>
                    <a:cubicBezTo>
                      <a:pt x="21823" y="1909"/>
                      <a:pt x="23286" y="2927"/>
                      <a:pt x="24177" y="4199"/>
                    </a:cubicBezTo>
                    <a:cubicBezTo>
                      <a:pt x="25132" y="5472"/>
                      <a:pt x="25768" y="7190"/>
                      <a:pt x="26086" y="9289"/>
                    </a:cubicBezTo>
                    <a:lnTo>
                      <a:pt x="20614" y="10053"/>
                    </a:lnTo>
                    <a:cubicBezTo>
                      <a:pt x="20360" y="8335"/>
                      <a:pt x="19660" y="6999"/>
                      <a:pt x="18451" y="6108"/>
                    </a:cubicBezTo>
                    <a:cubicBezTo>
                      <a:pt x="17242" y="5217"/>
                      <a:pt x="15588" y="4708"/>
                      <a:pt x="13425" y="4708"/>
                    </a:cubicBezTo>
                    <a:cubicBezTo>
                      <a:pt x="10880" y="4708"/>
                      <a:pt x="9035" y="5154"/>
                      <a:pt x="7889" y="5981"/>
                    </a:cubicBezTo>
                    <a:cubicBezTo>
                      <a:pt x="6808" y="6808"/>
                      <a:pt x="6235" y="7826"/>
                      <a:pt x="6235" y="8971"/>
                    </a:cubicBezTo>
                    <a:cubicBezTo>
                      <a:pt x="6235" y="9671"/>
                      <a:pt x="6490" y="10371"/>
                      <a:pt x="6935" y="10943"/>
                    </a:cubicBezTo>
                    <a:cubicBezTo>
                      <a:pt x="7380" y="11516"/>
                      <a:pt x="8080" y="12025"/>
                      <a:pt x="9098" y="12407"/>
                    </a:cubicBezTo>
                    <a:cubicBezTo>
                      <a:pt x="9671" y="12598"/>
                      <a:pt x="11325" y="13107"/>
                      <a:pt x="14061" y="13806"/>
                    </a:cubicBezTo>
                    <a:cubicBezTo>
                      <a:pt x="18006" y="14888"/>
                      <a:pt x="20741" y="15715"/>
                      <a:pt x="22332" y="16415"/>
                    </a:cubicBezTo>
                    <a:cubicBezTo>
                      <a:pt x="23923" y="17115"/>
                      <a:pt x="25132" y="18069"/>
                      <a:pt x="26022" y="19342"/>
                    </a:cubicBezTo>
                    <a:cubicBezTo>
                      <a:pt x="26913" y="20614"/>
                      <a:pt x="27358" y="22205"/>
                      <a:pt x="27358" y="24114"/>
                    </a:cubicBezTo>
                    <a:cubicBezTo>
                      <a:pt x="27358" y="25959"/>
                      <a:pt x="26786" y="27740"/>
                      <a:pt x="25704" y="29394"/>
                    </a:cubicBezTo>
                    <a:cubicBezTo>
                      <a:pt x="24623" y="31048"/>
                      <a:pt x="23032" y="32321"/>
                      <a:pt x="20996" y="33212"/>
                    </a:cubicBezTo>
                    <a:cubicBezTo>
                      <a:pt x="18960" y="34103"/>
                      <a:pt x="16606" y="34548"/>
                      <a:pt x="14061" y="34548"/>
                    </a:cubicBezTo>
                    <a:cubicBezTo>
                      <a:pt x="9798" y="34548"/>
                      <a:pt x="6490" y="33657"/>
                      <a:pt x="4263" y="31876"/>
                    </a:cubicBezTo>
                    <a:cubicBezTo>
                      <a:pt x="2036" y="30094"/>
                      <a:pt x="636" y="27422"/>
                      <a:pt x="0" y="23923"/>
                    </a:cubicBezTo>
                    <a:close/>
                  </a:path>
                </a:pathLst>
              </a:custGeom>
              <a:solidFill>
                <a:srgbClr val="084F45"/>
              </a:solidFill>
              <a:ln w="6361" cap="flat">
                <a:noFill/>
                <a:prstDash val="solid"/>
                <a:miter/>
              </a:ln>
            </p:spPr>
            <p:txBody>
              <a:bodyPr rtlCol="0" anchor="ctr"/>
              <a:lstStyle/>
              <a:p>
                <a:endParaRPr lang="da-DK"/>
              </a:p>
            </p:txBody>
          </p:sp>
          <p:sp>
            <p:nvSpPr>
              <p:cNvPr id="51" name="Freeform: Shape 50">
                <a:extLst>
                  <a:ext uri="{FF2B5EF4-FFF2-40B4-BE49-F238E27FC236}">
                    <a16:creationId xmlns:a16="http://schemas.microsoft.com/office/drawing/2014/main" id="{01D03925-65ED-415C-AD8D-161566E60C26}"/>
                  </a:ext>
                </a:extLst>
              </p:cNvPr>
              <p:cNvSpPr/>
              <p:nvPr/>
            </p:nvSpPr>
            <p:spPr>
              <a:xfrm>
                <a:off x="1631701" y="3552112"/>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6044 w 30412"/>
                  <a:gd name="connsiteY16" fmla="*/ 13997 h 34484"/>
                  <a:gd name="connsiteX17" fmla="*/ 24432 w 30412"/>
                  <a:gd name="connsiteY17" fmla="*/ 13997 h 34484"/>
                  <a:gd name="connsiteX18" fmla="*/ 22332 w 30412"/>
                  <a:gd name="connsiteY18" fmla="*/ 7762 h 34484"/>
                  <a:gd name="connsiteX19" fmla="*/ 15397 w 30412"/>
                  <a:gd name="connsiteY19" fmla="*/ 4517 h 34484"/>
                  <a:gd name="connsiteX20" fmla="*/ 8907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2" y="29331"/>
                      <a:pt x="20996" y="28249"/>
                    </a:cubicBezTo>
                    <a:cubicBezTo>
                      <a:pt x="22396" y="27167"/>
                      <a:pt x="23541" y="25450"/>
                      <a:pt x="24368" y="23096"/>
                    </a:cubicBezTo>
                    <a:close/>
                    <a:moveTo>
                      <a:pt x="6044" y="13997"/>
                    </a:moveTo>
                    <a:lnTo>
                      <a:pt x="24432" y="13997"/>
                    </a:lnTo>
                    <a:cubicBezTo>
                      <a:pt x="24177" y="11198"/>
                      <a:pt x="23477" y="9162"/>
                      <a:pt x="22332" y="7762"/>
                    </a:cubicBezTo>
                    <a:cubicBezTo>
                      <a:pt x="20550" y="5599"/>
                      <a:pt x="18260" y="4517"/>
                      <a:pt x="15397" y="4517"/>
                    </a:cubicBezTo>
                    <a:cubicBezTo>
                      <a:pt x="12852" y="4517"/>
                      <a:pt x="10689" y="5408"/>
                      <a:pt x="8907" y="7126"/>
                    </a:cubicBezTo>
                    <a:cubicBezTo>
                      <a:pt x="7126"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52" name="Freeform: Shape 51">
                <a:extLst>
                  <a:ext uri="{FF2B5EF4-FFF2-40B4-BE49-F238E27FC236}">
                    <a16:creationId xmlns:a16="http://schemas.microsoft.com/office/drawing/2014/main" id="{D3F05160-4E0A-469B-AAAA-59E5ECEBE6E8}"/>
                  </a:ext>
                </a:extLst>
              </p:cNvPr>
              <p:cNvSpPr/>
              <p:nvPr/>
            </p:nvSpPr>
            <p:spPr>
              <a:xfrm>
                <a:off x="1668857" y="3552048"/>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544"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53" name="Freeform: Shape 52">
                <a:extLst>
                  <a:ext uri="{FF2B5EF4-FFF2-40B4-BE49-F238E27FC236}">
                    <a16:creationId xmlns:a16="http://schemas.microsoft.com/office/drawing/2014/main" id="{E0AFDA0A-A46C-40D1-8DDD-1E20115EAC7B}"/>
                  </a:ext>
                </a:extLst>
              </p:cNvPr>
              <p:cNvSpPr/>
              <p:nvPr/>
            </p:nvSpPr>
            <p:spPr>
              <a:xfrm>
                <a:off x="1688136" y="3579470"/>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sp>
            <p:nvSpPr>
              <p:cNvPr id="54" name="Freeform: Shape 53">
                <a:extLst>
                  <a:ext uri="{FF2B5EF4-FFF2-40B4-BE49-F238E27FC236}">
                    <a16:creationId xmlns:a16="http://schemas.microsoft.com/office/drawing/2014/main" id="{C5513A0D-0130-4B6D-B144-9606D16633D3}"/>
                  </a:ext>
                </a:extLst>
              </p:cNvPr>
              <p:cNvSpPr/>
              <p:nvPr/>
            </p:nvSpPr>
            <p:spPr>
              <a:xfrm>
                <a:off x="1202812" y="3622989"/>
                <a:ext cx="35883" cy="45554"/>
              </a:xfrm>
              <a:custGeom>
                <a:avLst/>
                <a:gdLst>
                  <a:gd name="connsiteX0" fmla="*/ 0 w 35883"/>
                  <a:gd name="connsiteY0" fmla="*/ 45555 h 45554"/>
                  <a:gd name="connsiteX1" fmla="*/ 0 w 35883"/>
                  <a:gd name="connsiteY1" fmla="*/ 0 h 45554"/>
                  <a:gd name="connsiteX2" fmla="*/ 6172 w 35883"/>
                  <a:gd name="connsiteY2" fmla="*/ 0 h 45554"/>
                  <a:gd name="connsiteX3" fmla="*/ 30094 w 35883"/>
                  <a:gd name="connsiteY3" fmla="*/ 35757 h 45554"/>
                  <a:gd name="connsiteX4" fmla="*/ 30094 w 35883"/>
                  <a:gd name="connsiteY4" fmla="*/ 0 h 45554"/>
                  <a:gd name="connsiteX5" fmla="*/ 35884 w 35883"/>
                  <a:gd name="connsiteY5" fmla="*/ 0 h 45554"/>
                  <a:gd name="connsiteX6" fmla="*/ 35884 w 35883"/>
                  <a:gd name="connsiteY6" fmla="*/ 45555 h 45554"/>
                  <a:gd name="connsiteX7" fmla="*/ 29712 w 35883"/>
                  <a:gd name="connsiteY7" fmla="*/ 45555 h 45554"/>
                  <a:gd name="connsiteX8" fmla="*/ 5790 w 35883"/>
                  <a:gd name="connsiteY8" fmla="*/ 9798 h 45554"/>
                  <a:gd name="connsiteX9" fmla="*/ 5790 w 35883"/>
                  <a:gd name="connsiteY9" fmla="*/ 45555 h 45554"/>
                  <a:gd name="connsiteX10" fmla="*/ 0 w 35883"/>
                  <a:gd name="connsiteY10"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883" h="45554">
                    <a:moveTo>
                      <a:pt x="0" y="45555"/>
                    </a:moveTo>
                    <a:lnTo>
                      <a:pt x="0" y="0"/>
                    </a:lnTo>
                    <a:lnTo>
                      <a:pt x="6172" y="0"/>
                    </a:lnTo>
                    <a:lnTo>
                      <a:pt x="30094" y="35757"/>
                    </a:lnTo>
                    <a:lnTo>
                      <a:pt x="30094" y="0"/>
                    </a:lnTo>
                    <a:lnTo>
                      <a:pt x="35884" y="0"/>
                    </a:lnTo>
                    <a:lnTo>
                      <a:pt x="35884" y="45555"/>
                    </a:lnTo>
                    <a:lnTo>
                      <a:pt x="29712" y="45555"/>
                    </a:lnTo>
                    <a:lnTo>
                      <a:pt x="5790" y="9798"/>
                    </a:lnTo>
                    <a:lnTo>
                      <a:pt x="5790" y="45555"/>
                    </a:lnTo>
                    <a:lnTo>
                      <a:pt x="0" y="45555"/>
                    </a:lnTo>
                    <a:close/>
                  </a:path>
                </a:pathLst>
              </a:custGeom>
              <a:solidFill>
                <a:srgbClr val="084F45"/>
              </a:solidFill>
              <a:ln w="6361" cap="flat">
                <a:noFill/>
                <a:prstDash val="solid"/>
                <a:miter/>
              </a:ln>
            </p:spPr>
            <p:txBody>
              <a:bodyPr rtlCol="0" anchor="ctr"/>
              <a:lstStyle/>
              <a:p>
                <a:endParaRPr lang="da-DK"/>
              </a:p>
            </p:txBody>
          </p:sp>
          <p:sp>
            <p:nvSpPr>
              <p:cNvPr id="55" name="Freeform: Shape 54">
                <a:extLst>
                  <a:ext uri="{FF2B5EF4-FFF2-40B4-BE49-F238E27FC236}">
                    <a16:creationId xmlns:a16="http://schemas.microsoft.com/office/drawing/2014/main" id="{2A9D6820-070B-4651-A6AE-C2B18E17C40B}"/>
                  </a:ext>
                </a:extLst>
              </p:cNvPr>
              <p:cNvSpPr/>
              <p:nvPr/>
            </p:nvSpPr>
            <p:spPr>
              <a:xfrm>
                <a:off x="1244931" y="3635523"/>
                <a:ext cx="30284" cy="46381"/>
              </a:xfrm>
              <a:custGeom>
                <a:avLst/>
                <a:gdLst>
                  <a:gd name="connsiteX0" fmla="*/ 2927 w 30284"/>
                  <a:gd name="connsiteY0" fmla="*/ 45682 h 46381"/>
                  <a:gd name="connsiteX1" fmla="*/ 2290 w 30284"/>
                  <a:gd name="connsiteY1" fmla="*/ 40401 h 46381"/>
                  <a:gd name="connsiteX2" fmla="*/ 5472 w 30284"/>
                  <a:gd name="connsiteY2" fmla="*/ 40910 h 46381"/>
                  <a:gd name="connsiteX3" fmla="*/ 8462 w 30284"/>
                  <a:gd name="connsiteY3" fmla="*/ 40274 h 46381"/>
                  <a:gd name="connsiteX4" fmla="*/ 10307 w 30284"/>
                  <a:gd name="connsiteY4" fmla="*/ 38556 h 46381"/>
                  <a:gd name="connsiteX5" fmla="*/ 12025 w 30284"/>
                  <a:gd name="connsiteY5" fmla="*/ 34421 h 46381"/>
                  <a:gd name="connsiteX6" fmla="*/ 12534 w 30284"/>
                  <a:gd name="connsiteY6" fmla="*/ 33085 h 46381"/>
                  <a:gd name="connsiteX7" fmla="*/ 0 w 30284"/>
                  <a:gd name="connsiteY7" fmla="*/ 0 h 46381"/>
                  <a:gd name="connsiteX8" fmla="*/ 6044 w 30284"/>
                  <a:gd name="connsiteY8" fmla="*/ 0 h 46381"/>
                  <a:gd name="connsiteX9" fmla="*/ 12916 w 30284"/>
                  <a:gd name="connsiteY9" fmla="*/ 19087 h 46381"/>
                  <a:gd name="connsiteX10" fmla="*/ 15333 w 30284"/>
                  <a:gd name="connsiteY10" fmla="*/ 26722 h 46381"/>
                  <a:gd name="connsiteX11" fmla="*/ 17624 w 30284"/>
                  <a:gd name="connsiteY11" fmla="*/ 19215 h 46381"/>
                  <a:gd name="connsiteX12" fmla="*/ 24686 w 30284"/>
                  <a:gd name="connsiteY12" fmla="*/ 0 h 46381"/>
                  <a:gd name="connsiteX13" fmla="*/ 30285 w 30284"/>
                  <a:gd name="connsiteY13" fmla="*/ 0 h 46381"/>
                  <a:gd name="connsiteX14" fmla="*/ 17751 w 30284"/>
                  <a:gd name="connsiteY14" fmla="*/ 33530 h 46381"/>
                  <a:gd name="connsiteX15" fmla="*/ 14633 w 30284"/>
                  <a:gd name="connsiteY15" fmla="*/ 41037 h 46381"/>
                  <a:gd name="connsiteX16" fmla="*/ 11198 w 30284"/>
                  <a:gd name="connsiteY16" fmla="*/ 45109 h 46381"/>
                  <a:gd name="connsiteX17" fmla="*/ 6617 w 30284"/>
                  <a:gd name="connsiteY17" fmla="*/ 46382 h 46381"/>
                  <a:gd name="connsiteX18" fmla="*/ 2927 w 30284"/>
                  <a:gd name="connsiteY18" fmla="*/ 45682 h 463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0284" h="46381">
                    <a:moveTo>
                      <a:pt x="2927" y="45682"/>
                    </a:moveTo>
                    <a:lnTo>
                      <a:pt x="2290" y="40401"/>
                    </a:lnTo>
                    <a:cubicBezTo>
                      <a:pt x="3499" y="40719"/>
                      <a:pt x="4581" y="40910"/>
                      <a:pt x="5472" y="40910"/>
                    </a:cubicBezTo>
                    <a:cubicBezTo>
                      <a:pt x="6744" y="40910"/>
                      <a:pt x="7698" y="40719"/>
                      <a:pt x="8462" y="40274"/>
                    </a:cubicBezTo>
                    <a:cubicBezTo>
                      <a:pt x="9225" y="39829"/>
                      <a:pt x="9798" y="39256"/>
                      <a:pt x="10307" y="38556"/>
                    </a:cubicBezTo>
                    <a:cubicBezTo>
                      <a:pt x="10625" y="37983"/>
                      <a:pt x="11198" y="36584"/>
                      <a:pt x="12025" y="34421"/>
                    </a:cubicBezTo>
                    <a:cubicBezTo>
                      <a:pt x="12152" y="34103"/>
                      <a:pt x="12279" y="33657"/>
                      <a:pt x="12534" y="33085"/>
                    </a:cubicBezTo>
                    <a:lnTo>
                      <a:pt x="0" y="0"/>
                    </a:lnTo>
                    <a:lnTo>
                      <a:pt x="6044" y="0"/>
                    </a:lnTo>
                    <a:lnTo>
                      <a:pt x="12916" y="19087"/>
                    </a:lnTo>
                    <a:cubicBezTo>
                      <a:pt x="13806" y="21505"/>
                      <a:pt x="14633" y="24050"/>
                      <a:pt x="15333" y="26722"/>
                    </a:cubicBezTo>
                    <a:cubicBezTo>
                      <a:pt x="15970" y="24177"/>
                      <a:pt x="16733" y="21632"/>
                      <a:pt x="17624" y="19215"/>
                    </a:cubicBezTo>
                    <a:lnTo>
                      <a:pt x="24686" y="0"/>
                    </a:lnTo>
                    <a:lnTo>
                      <a:pt x="30285" y="0"/>
                    </a:lnTo>
                    <a:lnTo>
                      <a:pt x="17751" y="33530"/>
                    </a:lnTo>
                    <a:cubicBezTo>
                      <a:pt x="16415" y="37156"/>
                      <a:pt x="15333" y="39638"/>
                      <a:pt x="14633" y="41037"/>
                    </a:cubicBezTo>
                    <a:cubicBezTo>
                      <a:pt x="13616" y="42883"/>
                      <a:pt x="12470" y="44219"/>
                      <a:pt x="11198" y="45109"/>
                    </a:cubicBezTo>
                    <a:cubicBezTo>
                      <a:pt x="9925" y="46000"/>
                      <a:pt x="8398" y="46382"/>
                      <a:pt x="6617" y="46382"/>
                    </a:cubicBezTo>
                    <a:cubicBezTo>
                      <a:pt x="5472" y="46382"/>
                      <a:pt x="4263" y="46127"/>
                      <a:pt x="2927" y="45682"/>
                    </a:cubicBezTo>
                    <a:close/>
                  </a:path>
                </a:pathLst>
              </a:custGeom>
              <a:solidFill>
                <a:srgbClr val="084F45"/>
              </a:solidFill>
              <a:ln w="6361" cap="flat">
                <a:noFill/>
                <a:prstDash val="solid"/>
                <a:miter/>
              </a:ln>
            </p:spPr>
            <p:txBody>
              <a:bodyPr rtlCol="0" anchor="ctr"/>
              <a:lstStyle/>
              <a:p>
                <a:endParaRPr lang="da-DK"/>
              </a:p>
            </p:txBody>
          </p:sp>
          <p:sp>
            <p:nvSpPr>
              <p:cNvPr id="56" name="Freeform: Shape 55">
                <a:extLst>
                  <a:ext uri="{FF2B5EF4-FFF2-40B4-BE49-F238E27FC236}">
                    <a16:creationId xmlns:a16="http://schemas.microsoft.com/office/drawing/2014/main" id="{85FAA57B-7CCE-4432-957E-B64AF61A6E9B}"/>
                  </a:ext>
                </a:extLst>
              </p:cNvPr>
              <p:cNvSpPr/>
              <p:nvPr/>
            </p:nvSpPr>
            <p:spPr>
              <a:xfrm>
                <a:off x="1278143" y="3634823"/>
                <a:ext cx="30412" cy="34484"/>
              </a:xfrm>
              <a:custGeom>
                <a:avLst/>
                <a:gdLst>
                  <a:gd name="connsiteX0" fmla="*/ 24368 w 30412"/>
                  <a:gd name="connsiteY0" fmla="*/ 23096 h 34484"/>
                  <a:gd name="connsiteX1" fmla="*/ 30158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412 w 30412"/>
                  <a:gd name="connsiteY10" fmla="*/ 18642 h 34484"/>
                  <a:gd name="connsiteX11" fmla="*/ 5790 w 30412"/>
                  <a:gd name="connsiteY11" fmla="*/ 18642 h 34484"/>
                  <a:gd name="connsiteX12" fmla="*/ 8844 w 30412"/>
                  <a:gd name="connsiteY12" fmla="*/ 26976 h 34484"/>
                  <a:gd name="connsiteX13" fmla="*/ 15715 w 30412"/>
                  <a:gd name="connsiteY13" fmla="*/ 29840 h 34484"/>
                  <a:gd name="connsiteX14" fmla="*/ 20996 w 30412"/>
                  <a:gd name="connsiteY14" fmla="*/ 28249 h 34484"/>
                  <a:gd name="connsiteX15" fmla="*/ 24368 w 30412"/>
                  <a:gd name="connsiteY15" fmla="*/ 23096 h 34484"/>
                  <a:gd name="connsiteX16" fmla="*/ 5981 w 30412"/>
                  <a:gd name="connsiteY16" fmla="*/ 13997 h 34484"/>
                  <a:gd name="connsiteX17" fmla="*/ 24368 w 30412"/>
                  <a:gd name="connsiteY17" fmla="*/ 13997 h 34484"/>
                  <a:gd name="connsiteX18" fmla="*/ 22268 w 30412"/>
                  <a:gd name="connsiteY18" fmla="*/ 7762 h 34484"/>
                  <a:gd name="connsiteX19" fmla="*/ 15333 w 30412"/>
                  <a:gd name="connsiteY19" fmla="*/ 4517 h 34484"/>
                  <a:gd name="connsiteX20" fmla="*/ 8844 w 30412"/>
                  <a:gd name="connsiteY20" fmla="*/ 7126 h 34484"/>
                  <a:gd name="connsiteX21" fmla="*/ 5981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368" y="23096"/>
                    </a:moveTo>
                    <a:lnTo>
                      <a:pt x="30158" y="23795"/>
                    </a:lnTo>
                    <a:cubicBezTo>
                      <a:pt x="29267" y="27167"/>
                      <a:pt x="27549"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412" y="18642"/>
                    </a:cubicBezTo>
                    <a:lnTo>
                      <a:pt x="5790" y="18642"/>
                    </a:lnTo>
                    <a:cubicBezTo>
                      <a:pt x="5981" y="22268"/>
                      <a:pt x="6999" y="25068"/>
                      <a:pt x="8844" y="26976"/>
                    </a:cubicBezTo>
                    <a:cubicBezTo>
                      <a:pt x="10689" y="28885"/>
                      <a:pt x="12979" y="29840"/>
                      <a:pt x="15715" y="29840"/>
                    </a:cubicBezTo>
                    <a:cubicBezTo>
                      <a:pt x="17751" y="29840"/>
                      <a:pt x="19533" y="29331"/>
                      <a:pt x="20996" y="28249"/>
                    </a:cubicBezTo>
                    <a:cubicBezTo>
                      <a:pt x="22396" y="27167"/>
                      <a:pt x="23541" y="25450"/>
                      <a:pt x="24368" y="23096"/>
                    </a:cubicBezTo>
                    <a:close/>
                    <a:moveTo>
                      <a:pt x="5981" y="13997"/>
                    </a:moveTo>
                    <a:lnTo>
                      <a:pt x="24368" y="13997"/>
                    </a:lnTo>
                    <a:cubicBezTo>
                      <a:pt x="24113" y="11198"/>
                      <a:pt x="23414" y="9162"/>
                      <a:pt x="22268" y="7762"/>
                    </a:cubicBezTo>
                    <a:cubicBezTo>
                      <a:pt x="20487" y="5599"/>
                      <a:pt x="18196" y="4517"/>
                      <a:pt x="15333" y="4517"/>
                    </a:cubicBezTo>
                    <a:cubicBezTo>
                      <a:pt x="12788" y="4517"/>
                      <a:pt x="10625" y="5408"/>
                      <a:pt x="8844" y="7126"/>
                    </a:cubicBezTo>
                    <a:cubicBezTo>
                      <a:pt x="7062" y="8844"/>
                      <a:pt x="6172" y="11134"/>
                      <a:pt x="5981" y="13997"/>
                    </a:cubicBezTo>
                    <a:close/>
                  </a:path>
                </a:pathLst>
              </a:custGeom>
              <a:solidFill>
                <a:srgbClr val="084F45"/>
              </a:solidFill>
              <a:ln w="6361" cap="flat">
                <a:noFill/>
                <a:prstDash val="solid"/>
                <a:miter/>
              </a:ln>
            </p:spPr>
            <p:txBody>
              <a:bodyPr rtlCol="0" anchor="ctr"/>
              <a:lstStyle/>
              <a:p>
                <a:endParaRPr lang="da-DK"/>
              </a:p>
            </p:txBody>
          </p:sp>
          <p:sp>
            <p:nvSpPr>
              <p:cNvPr id="57" name="Freeform: Shape 56">
                <a:extLst>
                  <a:ext uri="{FF2B5EF4-FFF2-40B4-BE49-F238E27FC236}">
                    <a16:creationId xmlns:a16="http://schemas.microsoft.com/office/drawing/2014/main" id="{6D33F593-9BE8-4A2B-ABC0-8535597D24E3}"/>
                  </a:ext>
                </a:extLst>
              </p:cNvPr>
              <p:cNvSpPr/>
              <p:nvPr/>
            </p:nvSpPr>
            <p:spPr>
              <a:xfrm>
                <a:off x="1332987" y="3634823"/>
                <a:ext cx="44727" cy="33784"/>
              </a:xfrm>
              <a:custGeom>
                <a:avLst/>
                <a:gdLst>
                  <a:gd name="connsiteX0" fmla="*/ 0 w 44727"/>
                  <a:gd name="connsiteY0" fmla="*/ 33721 h 33784"/>
                  <a:gd name="connsiteX1" fmla="*/ 0 w 44727"/>
                  <a:gd name="connsiteY1" fmla="*/ 700 h 33784"/>
                  <a:gd name="connsiteX2" fmla="*/ 5026 w 44727"/>
                  <a:gd name="connsiteY2" fmla="*/ 700 h 33784"/>
                  <a:gd name="connsiteX3" fmla="*/ 5026 w 44727"/>
                  <a:gd name="connsiteY3" fmla="*/ 5344 h 33784"/>
                  <a:gd name="connsiteX4" fmla="*/ 9162 w 44727"/>
                  <a:gd name="connsiteY4" fmla="*/ 1463 h 33784"/>
                  <a:gd name="connsiteX5" fmla="*/ 15015 w 44727"/>
                  <a:gd name="connsiteY5" fmla="*/ 0 h 33784"/>
                  <a:gd name="connsiteX6" fmla="*/ 21060 w 44727"/>
                  <a:gd name="connsiteY6" fmla="*/ 1527 h 33784"/>
                  <a:gd name="connsiteX7" fmla="*/ 24368 w 44727"/>
                  <a:gd name="connsiteY7" fmla="*/ 5790 h 33784"/>
                  <a:gd name="connsiteX8" fmla="*/ 34548 w 44727"/>
                  <a:gd name="connsiteY8" fmla="*/ 0 h 33784"/>
                  <a:gd name="connsiteX9" fmla="*/ 42119 w 44727"/>
                  <a:gd name="connsiteY9" fmla="*/ 2736 h 33784"/>
                  <a:gd name="connsiteX10" fmla="*/ 44728 w 44727"/>
                  <a:gd name="connsiteY10" fmla="*/ 11134 h 33784"/>
                  <a:gd name="connsiteX11" fmla="*/ 44728 w 44727"/>
                  <a:gd name="connsiteY11" fmla="*/ 33784 h 33784"/>
                  <a:gd name="connsiteX12" fmla="*/ 39192 w 44727"/>
                  <a:gd name="connsiteY12" fmla="*/ 33784 h 33784"/>
                  <a:gd name="connsiteX13" fmla="*/ 39192 w 44727"/>
                  <a:gd name="connsiteY13" fmla="*/ 12979 h 33784"/>
                  <a:gd name="connsiteX14" fmla="*/ 38620 w 44727"/>
                  <a:gd name="connsiteY14" fmla="*/ 8144 h 33784"/>
                  <a:gd name="connsiteX15" fmla="*/ 36647 w 44727"/>
                  <a:gd name="connsiteY15" fmla="*/ 5790 h 33784"/>
                  <a:gd name="connsiteX16" fmla="*/ 33275 w 44727"/>
                  <a:gd name="connsiteY16" fmla="*/ 4899 h 33784"/>
                  <a:gd name="connsiteX17" fmla="*/ 27486 w 44727"/>
                  <a:gd name="connsiteY17" fmla="*/ 7190 h 33784"/>
                  <a:gd name="connsiteX18" fmla="*/ 25195 w 44727"/>
                  <a:gd name="connsiteY18" fmla="*/ 14570 h 33784"/>
                  <a:gd name="connsiteX19" fmla="*/ 25195 w 44727"/>
                  <a:gd name="connsiteY19" fmla="*/ 33721 h 33784"/>
                  <a:gd name="connsiteX20" fmla="*/ 19596 w 44727"/>
                  <a:gd name="connsiteY20" fmla="*/ 33721 h 33784"/>
                  <a:gd name="connsiteX21" fmla="*/ 19596 w 44727"/>
                  <a:gd name="connsiteY21" fmla="*/ 12279 h 33784"/>
                  <a:gd name="connsiteX22" fmla="*/ 18260 w 44727"/>
                  <a:gd name="connsiteY22" fmla="*/ 6680 h 33784"/>
                  <a:gd name="connsiteX23" fmla="*/ 13806 w 44727"/>
                  <a:gd name="connsiteY23" fmla="*/ 4835 h 33784"/>
                  <a:gd name="connsiteX24" fmla="*/ 9416 w 44727"/>
                  <a:gd name="connsiteY24" fmla="*/ 6108 h 33784"/>
                  <a:gd name="connsiteX25" fmla="*/ 6490 w 44727"/>
                  <a:gd name="connsiteY25" fmla="*/ 9734 h 33784"/>
                  <a:gd name="connsiteX26" fmla="*/ 5599 w 44727"/>
                  <a:gd name="connsiteY26" fmla="*/ 16606 h 33784"/>
                  <a:gd name="connsiteX27" fmla="*/ 5599 w 44727"/>
                  <a:gd name="connsiteY27" fmla="*/ 33721 h 33784"/>
                  <a:gd name="connsiteX28" fmla="*/ 0 w 44727"/>
                  <a:gd name="connsiteY28"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4727" h="33784">
                    <a:moveTo>
                      <a:pt x="0" y="33721"/>
                    </a:moveTo>
                    <a:lnTo>
                      <a:pt x="0" y="700"/>
                    </a:lnTo>
                    <a:lnTo>
                      <a:pt x="5026" y="700"/>
                    </a:lnTo>
                    <a:lnTo>
                      <a:pt x="5026" y="5344"/>
                    </a:lnTo>
                    <a:cubicBezTo>
                      <a:pt x="6044" y="3754"/>
                      <a:pt x="7444" y="2418"/>
                      <a:pt x="9162" y="1463"/>
                    </a:cubicBezTo>
                    <a:cubicBezTo>
                      <a:pt x="10880" y="509"/>
                      <a:pt x="12852" y="0"/>
                      <a:pt x="15015" y="0"/>
                    </a:cubicBezTo>
                    <a:cubicBezTo>
                      <a:pt x="17433" y="0"/>
                      <a:pt x="19469" y="509"/>
                      <a:pt x="21060" y="1527"/>
                    </a:cubicBezTo>
                    <a:cubicBezTo>
                      <a:pt x="22650" y="2545"/>
                      <a:pt x="23732" y="3945"/>
                      <a:pt x="24368" y="5790"/>
                    </a:cubicBezTo>
                    <a:cubicBezTo>
                      <a:pt x="26977" y="1909"/>
                      <a:pt x="30349" y="0"/>
                      <a:pt x="34548" y="0"/>
                    </a:cubicBezTo>
                    <a:cubicBezTo>
                      <a:pt x="37793" y="0"/>
                      <a:pt x="40338" y="891"/>
                      <a:pt x="42119" y="2736"/>
                    </a:cubicBezTo>
                    <a:cubicBezTo>
                      <a:pt x="43901" y="4581"/>
                      <a:pt x="44728" y="7317"/>
                      <a:pt x="44728" y="11134"/>
                    </a:cubicBezTo>
                    <a:lnTo>
                      <a:pt x="44728" y="33784"/>
                    </a:lnTo>
                    <a:lnTo>
                      <a:pt x="39192" y="33784"/>
                    </a:lnTo>
                    <a:lnTo>
                      <a:pt x="39192" y="12979"/>
                    </a:lnTo>
                    <a:cubicBezTo>
                      <a:pt x="39192" y="10752"/>
                      <a:pt x="39001" y="9162"/>
                      <a:pt x="38620" y="8144"/>
                    </a:cubicBezTo>
                    <a:cubicBezTo>
                      <a:pt x="38238" y="7190"/>
                      <a:pt x="37602" y="6362"/>
                      <a:pt x="36647" y="5790"/>
                    </a:cubicBezTo>
                    <a:cubicBezTo>
                      <a:pt x="35693" y="5217"/>
                      <a:pt x="34548" y="4899"/>
                      <a:pt x="33275" y="4899"/>
                    </a:cubicBezTo>
                    <a:cubicBezTo>
                      <a:pt x="30985" y="4899"/>
                      <a:pt x="29013" y="5662"/>
                      <a:pt x="27486" y="7190"/>
                    </a:cubicBezTo>
                    <a:cubicBezTo>
                      <a:pt x="25959" y="8716"/>
                      <a:pt x="25195" y="11198"/>
                      <a:pt x="25195" y="14570"/>
                    </a:cubicBezTo>
                    <a:lnTo>
                      <a:pt x="25195" y="33721"/>
                    </a:lnTo>
                    <a:lnTo>
                      <a:pt x="19596" y="33721"/>
                    </a:lnTo>
                    <a:lnTo>
                      <a:pt x="19596" y="12279"/>
                    </a:lnTo>
                    <a:cubicBezTo>
                      <a:pt x="19596" y="9798"/>
                      <a:pt x="19151" y="7953"/>
                      <a:pt x="18260" y="6680"/>
                    </a:cubicBezTo>
                    <a:cubicBezTo>
                      <a:pt x="17369" y="5408"/>
                      <a:pt x="15842" y="4835"/>
                      <a:pt x="13806" y="4835"/>
                    </a:cubicBezTo>
                    <a:cubicBezTo>
                      <a:pt x="12216" y="4835"/>
                      <a:pt x="10752" y="5281"/>
                      <a:pt x="9416" y="6108"/>
                    </a:cubicBezTo>
                    <a:cubicBezTo>
                      <a:pt x="8080" y="6935"/>
                      <a:pt x="7126" y="8144"/>
                      <a:pt x="6490" y="9734"/>
                    </a:cubicBezTo>
                    <a:cubicBezTo>
                      <a:pt x="5917" y="11325"/>
                      <a:pt x="5599" y="13615"/>
                      <a:pt x="5599" y="16606"/>
                    </a:cubicBezTo>
                    <a:lnTo>
                      <a:pt x="5599" y="33721"/>
                    </a:lnTo>
                    <a:lnTo>
                      <a:pt x="0" y="33721"/>
                    </a:lnTo>
                    <a:close/>
                  </a:path>
                </a:pathLst>
              </a:custGeom>
              <a:solidFill>
                <a:srgbClr val="084F45"/>
              </a:solidFill>
              <a:ln w="6361" cap="flat">
                <a:noFill/>
                <a:prstDash val="solid"/>
                <a:miter/>
              </a:ln>
            </p:spPr>
            <p:txBody>
              <a:bodyPr rtlCol="0" anchor="ctr"/>
              <a:lstStyle/>
              <a:p>
                <a:endParaRPr lang="da-DK"/>
              </a:p>
            </p:txBody>
          </p:sp>
          <p:sp>
            <p:nvSpPr>
              <p:cNvPr id="58" name="Freeform: Shape 57">
                <a:extLst>
                  <a:ext uri="{FF2B5EF4-FFF2-40B4-BE49-F238E27FC236}">
                    <a16:creationId xmlns:a16="http://schemas.microsoft.com/office/drawing/2014/main" id="{802A53C9-5EC9-4B64-98E9-3ADB224B6428}"/>
                  </a:ext>
                </a:extLst>
              </p:cNvPr>
              <p:cNvSpPr/>
              <p:nvPr/>
            </p:nvSpPr>
            <p:spPr>
              <a:xfrm>
                <a:off x="1385858" y="3635586"/>
                <a:ext cx="26658" cy="33720"/>
              </a:xfrm>
              <a:custGeom>
                <a:avLst/>
                <a:gdLst>
                  <a:gd name="connsiteX0" fmla="*/ 21759 w 26658"/>
                  <a:gd name="connsiteY0" fmla="*/ 32957 h 33720"/>
                  <a:gd name="connsiteX1" fmla="*/ 21759 w 26658"/>
                  <a:gd name="connsiteY1" fmla="*/ 28122 h 33720"/>
                  <a:gd name="connsiteX2" fmla="*/ 11261 w 26658"/>
                  <a:gd name="connsiteY2" fmla="*/ 33721 h 33720"/>
                  <a:gd name="connsiteX3" fmla="*/ 5790 w 26658"/>
                  <a:gd name="connsiteY3" fmla="*/ 32575 h 33720"/>
                  <a:gd name="connsiteX4" fmla="*/ 2036 w 26658"/>
                  <a:gd name="connsiteY4" fmla="*/ 29776 h 33720"/>
                  <a:gd name="connsiteX5" fmla="*/ 318 w 26658"/>
                  <a:gd name="connsiteY5" fmla="*/ 25640 h 33720"/>
                  <a:gd name="connsiteX6" fmla="*/ 0 w 26658"/>
                  <a:gd name="connsiteY6" fmla="*/ 20423 h 33720"/>
                  <a:gd name="connsiteX7" fmla="*/ 0 w 26658"/>
                  <a:gd name="connsiteY7" fmla="*/ 0 h 33720"/>
                  <a:gd name="connsiteX8" fmla="*/ 5599 w 26658"/>
                  <a:gd name="connsiteY8" fmla="*/ 0 h 33720"/>
                  <a:gd name="connsiteX9" fmla="*/ 5599 w 26658"/>
                  <a:gd name="connsiteY9" fmla="*/ 18324 h 33720"/>
                  <a:gd name="connsiteX10" fmla="*/ 5917 w 26658"/>
                  <a:gd name="connsiteY10" fmla="*/ 24241 h 33720"/>
                  <a:gd name="connsiteX11" fmla="*/ 8144 w 26658"/>
                  <a:gd name="connsiteY11" fmla="*/ 27676 h 33720"/>
                  <a:gd name="connsiteX12" fmla="*/ 12343 w 26658"/>
                  <a:gd name="connsiteY12" fmla="*/ 28949 h 33720"/>
                  <a:gd name="connsiteX13" fmla="*/ 17051 w 26658"/>
                  <a:gd name="connsiteY13" fmla="*/ 27676 h 33720"/>
                  <a:gd name="connsiteX14" fmla="*/ 20169 w 26658"/>
                  <a:gd name="connsiteY14" fmla="*/ 24177 h 33720"/>
                  <a:gd name="connsiteX15" fmla="*/ 21059 w 26658"/>
                  <a:gd name="connsiteY15" fmla="*/ 17751 h 33720"/>
                  <a:gd name="connsiteX16" fmla="*/ 21059 w 26658"/>
                  <a:gd name="connsiteY16" fmla="*/ 64 h 33720"/>
                  <a:gd name="connsiteX17" fmla="*/ 26658 w 26658"/>
                  <a:gd name="connsiteY17" fmla="*/ 64 h 33720"/>
                  <a:gd name="connsiteX18" fmla="*/ 26658 w 26658"/>
                  <a:gd name="connsiteY18" fmla="*/ 33085 h 33720"/>
                  <a:gd name="connsiteX19" fmla="*/ 21759 w 26658"/>
                  <a:gd name="connsiteY19" fmla="*/ 33085 h 33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658" h="33720">
                    <a:moveTo>
                      <a:pt x="21759" y="32957"/>
                    </a:moveTo>
                    <a:lnTo>
                      <a:pt x="21759" y="28122"/>
                    </a:lnTo>
                    <a:cubicBezTo>
                      <a:pt x="19214" y="31876"/>
                      <a:pt x="15715" y="33721"/>
                      <a:pt x="11261" y="33721"/>
                    </a:cubicBezTo>
                    <a:cubicBezTo>
                      <a:pt x="9289" y="33721"/>
                      <a:pt x="7508" y="33339"/>
                      <a:pt x="5790" y="32575"/>
                    </a:cubicBezTo>
                    <a:cubicBezTo>
                      <a:pt x="4072" y="31812"/>
                      <a:pt x="2863" y="30921"/>
                      <a:pt x="2036" y="29776"/>
                    </a:cubicBezTo>
                    <a:cubicBezTo>
                      <a:pt x="1209" y="28631"/>
                      <a:pt x="636" y="27295"/>
                      <a:pt x="318" y="25640"/>
                    </a:cubicBezTo>
                    <a:cubicBezTo>
                      <a:pt x="64" y="24559"/>
                      <a:pt x="0" y="22777"/>
                      <a:pt x="0" y="20423"/>
                    </a:cubicBezTo>
                    <a:lnTo>
                      <a:pt x="0" y="0"/>
                    </a:lnTo>
                    <a:lnTo>
                      <a:pt x="5599" y="0"/>
                    </a:lnTo>
                    <a:lnTo>
                      <a:pt x="5599" y="18324"/>
                    </a:lnTo>
                    <a:cubicBezTo>
                      <a:pt x="5599" y="21250"/>
                      <a:pt x="5726" y="23223"/>
                      <a:pt x="5917" y="24241"/>
                    </a:cubicBezTo>
                    <a:cubicBezTo>
                      <a:pt x="6299" y="25704"/>
                      <a:pt x="6999" y="26849"/>
                      <a:pt x="8144" y="27676"/>
                    </a:cubicBezTo>
                    <a:cubicBezTo>
                      <a:pt x="9289" y="28504"/>
                      <a:pt x="10689" y="28949"/>
                      <a:pt x="12343" y="28949"/>
                    </a:cubicBezTo>
                    <a:cubicBezTo>
                      <a:pt x="13997" y="28949"/>
                      <a:pt x="15588" y="28504"/>
                      <a:pt x="17051" y="27676"/>
                    </a:cubicBezTo>
                    <a:cubicBezTo>
                      <a:pt x="18515" y="26849"/>
                      <a:pt x="19533" y="25640"/>
                      <a:pt x="20169" y="24177"/>
                    </a:cubicBezTo>
                    <a:cubicBezTo>
                      <a:pt x="20805" y="22714"/>
                      <a:pt x="21059" y="20551"/>
                      <a:pt x="21059" y="17751"/>
                    </a:cubicBezTo>
                    <a:lnTo>
                      <a:pt x="21059" y="64"/>
                    </a:lnTo>
                    <a:lnTo>
                      <a:pt x="26658" y="64"/>
                    </a:lnTo>
                    <a:lnTo>
                      <a:pt x="26658" y="33085"/>
                    </a:lnTo>
                    <a:lnTo>
                      <a:pt x="21759" y="33085"/>
                    </a:lnTo>
                    <a:close/>
                  </a:path>
                </a:pathLst>
              </a:custGeom>
              <a:solidFill>
                <a:srgbClr val="084F45"/>
              </a:solidFill>
              <a:ln w="6361" cap="flat">
                <a:noFill/>
                <a:prstDash val="solid"/>
                <a:miter/>
              </a:ln>
            </p:spPr>
            <p:txBody>
              <a:bodyPr rtlCol="0" anchor="ctr"/>
              <a:lstStyle/>
              <a:p>
                <a:endParaRPr lang="da-DK"/>
              </a:p>
            </p:txBody>
          </p:sp>
          <p:sp>
            <p:nvSpPr>
              <p:cNvPr id="59" name="Freeform: Shape 58">
                <a:extLst>
                  <a:ext uri="{FF2B5EF4-FFF2-40B4-BE49-F238E27FC236}">
                    <a16:creationId xmlns:a16="http://schemas.microsoft.com/office/drawing/2014/main" id="{095563D4-FF97-4E7E-A5EC-04C44C4B3277}"/>
                  </a:ext>
                </a:extLst>
              </p:cNvPr>
              <p:cNvSpPr/>
              <p:nvPr/>
            </p:nvSpPr>
            <p:spPr>
              <a:xfrm>
                <a:off x="1421233" y="3622989"/>
                <a:ext cx="5598" cy="45554"/>
              </a:xfrm>
              <a:custGeom>
                <a:avLst/>
                <a:gdLst>
                  <a:gd name="connsiteX0" fmla="*/ 0 w 5598"/>
                  <a:gd name="connsiteY0" fmla="*/ 45555 h 45554"/>
                  <a:gd name="connsiteX1" fmla="*/ 0 w 5598"/>
                  <a:gd name="connsiteY1" fmla="*/ 0 h 45554"/>
                  <a:gd name="connsiteX2" fmla="*/ 5599 w 5598"/>
                  <a:gd name="connsiteY2" fmla="*/ 0 h 45554"/>
                  <a:gd name="connsiteX3" fmla="*/ 5599 w 5598"/>
                  <a:gd name="connsiteY3" fmla="*/ 45555 h 45554"/>
                  <a:gd name="connsiteX4" fmla="*/ 0 w 5598"/>
                  <a:gd name="connsiteY4" fmla="*/ 45555 h 455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98" h="45554">
                    <a:moveTo>
                      <a:pt x="0" y="45555"/>
                    </a:moveTo>
                    <a:lnTo>
                      <a:pt x="0" y="0"/>
                    </a:lnTo>
                    <a:lnTo>
                      <a:pt x="5599" y="0"/>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60" name="Freeform: Shape 59">
                <a:extLst>
                  <a:ext uri="{FF2B5EF4-FFF2-40B4-BE49-F238E27FC236}">
                    <a16:creationId xmlns:a16="http://schemas.microsoft.com/office/drawing/2014/main" id="{6480FAD5-D4CE-4ECB-B119-C6D3CDD773BA}"/>
                  </a:ext>
                </a:extLst>
              </p:cNvPr>
              <p:cNvSpPr/>
              <p:nvPr/>
            </p:nvSpPr>
            <p:spPr>
              <a:xfrm>
                <a:off x="1435549" y="3622989"/>
                <a:ext cx="5598" cy="45554"/>
              </a:xfrm>
              <a:custGeom>
                <a:avLst/>
                <a:gdLst>
                  <a:gd name="connsiteX0" fmla="*/ 0 w 5598"/>
                  <a:gd name="connsiteY0" fmla="*/ 6426 h 45554"/>
                  <a:gd name="connsiteX1" fmla="*/ 0 w 5598"/>
                  <a:gd name="connsiteY1" fmla="*/ 0 h 45554"/>
                  <a:gd name="connsiteX2" fmla="*/ 5599 w 5598"/>
                  <a:gd name="connsiteY2" fmla="*/ 0 h 45554"/>
                  <a:gd name="connsiteX3" fmla="*/ 5599 w 5598"/>
                  <a:gd name="connsiteY3" fmla="*/ 6426 h 45554"/>
                  <a:gd name="connsiteX4" fmla="*/ 0 w 5598"/>
                  <a:gd name="connsiteY4" fmla="*/ 6426 h 45554"/>
                  <a:gd name="connsiteX5" fmla="*/ 0 w 5598"/>
                  <a:gd name="connsiteY5" fmla="*/ 45555 h 45554"/>
                  <a:gd name="connsiteX6" fmla="*/ 0 w 5598"/>
                  <a:gd name="connsiteY6" fmla="*/ 12534 h 45554"/>
                  <a:gd name="connsiteX7" fmla="*/ 5599 w 5598"/>
                  <a:gd name="connsiteY7" fmla="*/ 12534 h 45554"/>
                  <a:gd name="connsiteX8" fmla="*/ 5599 w 5598"/>
                  <a:gd name="connsiteY8" fmla="*/ 45555 h 45554"/>
                  <a:gd name="connsiteX9" fmla="*/ 0 w 5598"/>
                  <a:gd name="connsiteY9" fmla="*/ 45555 h 45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598" h="45554">
                    <a:moveTo>
                      <a:pt x="0" y="6426"/>
                    </a:moveTo>
                    <a:lnTo>
                      <a:pt x="0" y="0"/>
                    </a:lnTo>
                    <a:lnTo>
                      <a:pt x="5599" y="0"/>
                    </a:lnTo>
                    <a:lnTo>
                      <a:pt x="5599" y="6426"/>
                    </a:lnTo>
                    <a:lnTo>
                      <a:pt x="0" y="6426"/>
                    </a:lnTo>
                    <a:close/>
                    <a:moveTo>
                      <a:pt x="0" y="45555"/>
                    </a:moveTo>
                    <a:lnTo>
                      <a:pt x="0" y="12534"/>
                    </a:lnTo>
                    <a:lnTo>
                      <a:pt x="5599" y="12534"/>
                    </a:lnTo>
                    <a:lnTo>
                      <a:pt x="5599" y="45555"/>
                    </a:lnTo>
                    <a:lnTo>
                      <a:pt x="0" y="45555"/>
                    </a:lnTo>
                    <a:close/>
                  </a:path>
                </a:pathLst>
              </a:custGeom>
              <a:solidFill>
                <a:srgbClr val="084F45"/>
              </a:solidFill>
              <a:ln w="6361" cap="flat">
                <a:noFill/>
                <a:prstDash val="solid"/>
                <a:miter/>
              </a:ln>
            </p:spPr>
            <p:txBody>
              <a:bodyPr rtlCol="0" anchor="ctr"/>
              <a:lstStyle/>
              <a:p>
                <a:endParaRPr lang="da-DK"/>
              </a:p>
            </p:txBody>
          </p:sp>
          <p:sp>
            <p:nvSpPr>
              <p:cNvPr id="61" name="Freeform: Shape 60">
                <a:extLst>
                  <a:ext uri="{FF2B5EF4-FFF2-40B4-BE49-F238E27FC236}">
                    <a16:creationId xmlns:a16="http://schemas.microsoft.com/office/drawing/2014/main" id="{8B068AF5-D570-4E87-80BB-D7B2AB50233C}"/>
                  </a:ext>
                </a:extLst>
              </p:cNvPr>
              <p:cNvSpPr/>
              <p:nvPr/>
            </p:nvSpPr>
            <p:spPr>
              <a:xfrm>
                <a:off x="1447383" y="3634823"/>
                <a:ext cx="29076" cy="47145"/>
              </a:xfrm>
              <a:custGeom>
                <a:avLst/>
                <a:gdLst>
                  <a:gd name="connsiteX0" fmla="*/ 1209 w 29076"/>
                  <a:gd name="connsiteY0" fmla="*/ 36393 h 47145"/>
                  <a:gd name="connsiteX1" fmla="*/ 6617 w 29076"/>
                  <a:gd name="connsiteY1" fmla="*/ 37220 h 47145"/>
                  <a:gd name="connsiteX2" fmla="*/ 8526 w 29076"/>
                  <a:gd name="connsiteY2" fmla="*/ 40910 h 47145"/>
                  <a:gd name="connsiteX3" fmla="*/ 14188 w 29076"/>
                  <a:gd name="connsiteY3" fmla="*/ 42437 h 47145"/>
                  <a:gd name="connsiteX4" fmla="*/ 20169 w 29076"/>
                  <a:gd name="connsiteY4" fmla="*/ 40910 h 47145"/>
                  <a:gd name="connsiteX5" fmla="*/ 23032 w 29076"/>
                  <a:gd name="connsiteY5" fmla="*/ 36584 h 47145"/>
                  <a:gd name="connsiteX6" fmla="*/ 23414 w 29076"/>
                  <a:gd name="connsiteY6" fmla="*/ 29394 h 47145"/>
                  <a:gd name="connsiteX7" fmla="*/ 14252 w 29076"/>
                  <a:gd name="connsiteY7" fmla="*/ 33721 h 47145"/>
                  <a:gd name="connsiteX8" fmla="*/ 3754 w 29076"/>
                  <a:gd name="connsiteY8" fmla="*/ 28822 h 47145"/>
                  <a:gd name="connsiteX9" fmla="*/ 0 w 29076"/>
                  <a:gd name="connsiteY9" fmla="*/ 17051 h 47145"/>
                  <a:gd name="connsiteX10" fmla="*/ 1718 w 29076"/>
                  <a:gd name="connsiteY10" fmla="*/ 8335 h 47145"/>
                  <a:gd name="connsiteX11" fmla="*/ 6681 w 29076"/>
                  <a:gd name="connsiteY11" fmla="*/ 2163 h 47145"/>
                  <a:gd name="connsiteX12" fmla="*/ 14315 w 29076"/>
                  <a:gd name="connsiteY12" fmla="*/ 0 h 47145"/>
                  <a:gd name="connsiteX13" fmla="*/ 23923 w 29076"/>
                  <a:gd name="connsiteY13" fmla="*/ 4708 h 47145"/>
                  <a:gd name="connsiteX14" fmla="*/ 23923 w 29076"/>
                  <a:gd name="connsiteY14" fmla="*/ 763 h 47145"/>
                  <a:gd name="connsiteX15" fmla="*/ 29076 w 29076"/>
                  <a:gd name="connsiteY15" fmla="*/ 763 h 47145"/>
                  <a:gd name="connsiteX16" fmla="*/ 29076 w 29076"/>
                  <a:gd name="connsiteY16" fmla="*/ 29267 h 47145"/>
                  <a:gd name="connsiteX17" fmla="*/ 27485 w 29076"/>
                  <a:gd name="connsiteY17" fmla="*/ 40210 h 47145"/>
                  <a:gd name="connsiteX18" fmla="*/ 22523 w 29076"/>
                  <a:gd name="connsiteY18" fmla="*/ 45300 h 47145"/>
                  <a:gd name="connsiteX19" fmla="*/ 14125 w 29076"/>
                  <a:gd name="connsiteY19" fmla="*/ 47145 h 47145"/>
                  <a:gd name="connsiteX20" fmla="*/ 4581 w 29076"/>
                  <a:gd name="connsiteY20" fmla="*/ 44473 h 47145"/>
                  <a:gd name="connsiteX21" fmla="*/ 1209 w 29076"/>
                  <a:gd name="connsiteY21" fmla="*/ 36393 h 47145"/>
                  <a:gd name="connsiteX22" fmla="*/ 5853 w 29076"/>
                  <a:gd name="connsiteY22" fmla="*/ 16606 h 47145"/>
                  <a:gd name="connsiteX23" fmla="*/ 8462 w 29076"/>
                  <a:gd name="connsiteY23" fmla="*/ 26086 h 47145"/>
                  <a:gd name="connsiteX24" fmla="*/ 14952 w 29076"/>
                  <a:gd name="connsiteY24" fmla="*/ 29076 h 47145"/>
                  <a:gd name="connsiteX25" fmla="*/ 21441 w 29076"/>
                  <a:gd name="connsiteY25" fmla="*/ 26086 h 47145"/>
                  <a:gd name="connsiteX26" fmla="*/ 24050 w 29076"/>
                  <a:gd name="connsiteY26" fmla="*/ 16797 h 47145"/>
                  <a:gd name="connsiteX27" fmla="*/ 21378 w 29076"/>
                  <a:gd name="connsiteY27" fmla="*/ 7635 h 47145"/>
                  <a:gd name="connsiteX28" fmla="*/ 14888 w 29076"/>
                  <a:gd name="connsiteY28" fmla="*/ 4581 h 47145"/>
                  <a:gd name="connsiteX29" fmla="*/ 8526 w 29076"/>
                  <a:gd name="connsiteY29" fmla="*/ 7635 h 47145"/>
                  <a:gd name="connsiteX30" fmla="*/ 5853 w 29076"/>
                  <a:gd name="connsiteY30" fmla="*/ 16606 h 47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9076" h="47145">
                    <a:moveTo>
                      <a:pt x="1209" y="36393"/>
                    </a:moveTo>
                    <a:lnTo>
                      <a:pt x="6617" y="37220"/>
                    </a:lnTo>
                    <a:cubicBezTo>
                      <a:pt x="6871" y="38874"/>
                      <a:pt x="7508" y="40147"/>
                      <a:pt x="8526" y="40910"/>
                    </a:cubicBezTo>
                    <a:cubicBezTo>
                      <a:pt x="9925" y="41928"/>
                      <a:pt x="11834" y="42437"/>
                      <a:pt x="14188" y="42437"/>
                    </a:cubicBezTo>
                    <a:cubicBezTo>
                      <a:pt x="16797" y="42437"/>
                      <a:pt x="18769" y="41928"/>
                      <a:pt x="20169" y="40910"/>
                    </a:cubicBezTo>
                    <a:cubicBezTo>
                      <a:pt x="21569" y="39892"/>
                      <a:pt x="22523" y="38429"/>
                      <a:pt x="23032" y="36584"/>
                    </a:cubicBezTo>
                    <a:cubicBezTo>
                      <a:pt x="23286" y="35439"/>
                      <a:pt x="23477" y="33021"/>
                      <a:pt x="23414" y="29394"/>
                    </a:cubicBezTo>
                    <a:cubicBezTo>
                      <a:pt x="20996" y="32257"/>
                      <a:pt x="17942" y="33721"/>
                      <a:pt x="14252" y="33721"/>
                    </a:cubicBezTo>
                    <a:cubicBezTo>
                      <a:pt x="9734" y="33721"/>
                      <a:pt x="6235" y="32066"/>
                      <a:pt x="3754" y="28822"/>
                    </a:cubicBezTo>
                    <a:cubicBezTo>
                      <a:pt x="1272" y="25577"/>
                      <a:pt x="0" y="21632"/>
                      <a:pt x="0" y="17051"/>
                    </a:cubicBezTo>
                    <a:cubicBezTo>
                      <a:pt x="0" y="13934"/>
                      <a:pt x="573" y="11007"/>
                      <a:pt x="1718" y="8335"/>
                    </a:cubicBezTo>
                    <a:cubicBezTo>
                      <a:pt x="2863" y="5662"/>
                      <a:pt x="4517" y="3627"/>
                      <a:pt x="6681" y="2163"/>
                    </a:cubicBezTo>
                    <a:cubicBezTo>
                      <a:pt x="8844" y="700"/>
                      <a:pt x="11389" y="0"/>
                      <a:pt x="14315" y="0"/>
                    </a:cubicBezTo>
                    <a:cubicBezTo>
                      <a:pt x="18196" y="0"/>
                      <a:pt x="21441" y="1591"/>
                      <a:pt x="23923" y="4708"/>
                    </a:cubicBezTo>
                    <a:lnTo>
                      <a:pt x="23923" y="763"/>
                    </a:lnTo>
                    <a:lnTo>
                      <a:pt x="29076" y="763"/>
                    </a:lnTo>
                    <a:lnTo>
                      <a:pt x="29076" y="29267"/>
                    </a:lnTo>
                    <a:cubicBezTo>
                      <a:pt x="29076" y="34421"/>
                      <a:pt x="28567" y="38047"/>
                      <a:pt x="27485" y="40210"/>
                    </a:cubicBezTo>
                    <a:cubicBezTo>
                      <a:pt x="26404" y="42374"/>
                      <a:pt x="24813" y="44028"/>
                      <a:pt x="22523" y="45300"/>
                    </a:cubicBezTo>
                    <a:cubicBezTo>
                      <a:pt x="20232" y="46573"/>
                      <a:pt x="17497" y="47145"/>
                      <a:pt x="14125" y="47145"/>
                    </a:cubicBezTo>
                    <a:cubicBezTo>
                      <a:pt x="10180" y="47145"/>
                      <a:pt x="6999" y="46255"/>
                      <a:pt x="4581" y="44473"/>
                    </a:cubicBezTo>
                    <a:cubicBezTo>
                      <a:pt x="2290" y="42628"/>
                      <a:pt x="1145" y="39956"/>
                      <a:pt x="1209" y="36393"/>
                    </a:cubicBezTo>
                    <a:close/>
                    <a:moveTo>
                      <a:pt x="5853" y="16606"/>
                    </a:moveTo>
                    <a:cubicBezTo>
                      <a:pt x="5853" y="20932"/>
                      <a:pt x="6744" y="24114"/>
                      <a:pt x="8462" y="26086"/>
                    </a:cubicBezTo>
                    <a:cubicBezTo>
                      <a:pt x="10180" y="28058"/>
                      <a:pt x="12343" y="29076"/>
                      <a:pt x="14952" y="29076"/>
                    </a:cubicBezTo>
                    <a:cubicBezTo>
                      <a:pt x="17497" y="29076"/>
                      <a:pt x="19660" y="28058"/>
                      <a:pt x="21441" y="26086"/>
                    </a:cubicBezTo>
                    <a:cubicBezTo>
                      <a:pt x="23159" y="24114"/>
                      <a:pt x="24050" y="20996"/>
                      <a:pt x="24050" y="16797"/>
                    </a:cubicBezTo>
                    <a:cubicBezTo>
                      <a:pt x="24050" y="12788"/>
                      <a:pt x="23159" y="9734"/>
                      <a:pt x="21378" y="7635"/>
                    </a:cubicBezTo>
                    <a:cubicBezTo>
                      <a:pt x="19596" y="5535"/>
                      <a:pt x="17433" y="4581"/>
                      <a:pt x="14888" y="4581"/>
                    </a:cubicBezTo>
                    <a:cubicBezTo>
                      <a:pt x="12407" y="4581"/>
                      <a:pt x="10307" y="5599"/>
                      <a:pt x="8526" y="7635"/>
                    </a:cubicBezTo>
                    <a:cubicBezTo>
                      <a:pt x="6744" y="9607"/>
                      <a:pt x="5853" y="12597"/>
                      <a:pt x="5853" y="16606"/>
                    </a:cubicBezTo>
                    <a:close/>
                  </a:path>
                </a:pathLst>
              </a:custGeom>
              <a:solidFill>
                <a:srgbClr val="084F45"/>
              </a:solidFill>
              <a:ln w="6361" cap="flat">
                <a:noFill/>
                <a:prstDash val="solid"/>
                <a:miter/>
              </a:ln>
            </p:spPr>
            <p:txBody>
              <a:bodyPr rtlCol="0" anchor="ctr"/>
              <a:lstStyle/>
              <a:p>
                <a:endParaRPr lang="da-DK"/>
              </a:p>
            </p:txBody>
          </p:sp>
          <p:sp>
            <p:nvSpPr>
              <p:cNvPr id="62" name="Freeform: Shape 61">
                <a:extLst>
                  <a:ext uri="{FF2B5EF4-FFF2-40B4-BE49-F238E27FC236}">
                    <a16:creationId xmlns:a16="http://schemas.microsoft.com/office/drawing/2014/main" id="{3B43C07C-9280-457D-9334-7878B19EAF44}"/>
                  </a:ext>
                </a:extLst>
              </p:cNvPr>
              <p:cNvSpPr/>
              <p:nvPr/>
            </p:nvSpPr>
            <p:spPr>
              <a:xfrm>
                <a:off x="1485048" y="3622989"/>
                <a:ext cx="26849" cy="45618"/>
              </a:xfrm>
              <a:custGeom>
                <a:avLst/>
                <a:gdLst>
                  <a:gd name="connsiteX0" fmla="*/ 0 w 26849"/>
                  <a:gd name="connsiteY0" fmla="*/ 45555 h 45618"/>
                  <a:gd name="connsiteX1" fmla="*/ 0 w 26849"/>
                  <a:gd name="connsiteY1" fmla="*/ 0 h 45618"/>
                  <a:gd name="connsiteX2" fmla="*/ 5599 w 26849"/>
                  <a:gd name="connsiteY2" fmla="*/ 0 h 45618"/>
                  <a:gd name="connsiteX3" fmla="*/ 5599 w 26849"/>
                  <a:gd name="connsiteY3" fmla="*/ 16351 h 45618"/>
                  <a:gd name="connsiteX4" fmla="*/ 15461 w 26849"/>
                  <a:gd name="connsiteY4" fmla="*/ 11834 h 45618"/>
                  <a:gd name="connsiteX5" fmla="*/ 21823 w 26849"/>
                  <a:gd name="connsiteY5" fmla="*/ 13297 h 45618"/>
                  <a:gd name="connsiteX6" fmla="*/ 25704 w 26849"/>
                  <a:gd name="connsiteY6" fmla="*/ 17306 h 45618"/>
                  <a:gd name="connsiteX7" fmla="*/ 26849 w 26849"/>
                  <a:gd name="connsiteY7" fmla="*/ 24686 h 45618"/>
                  <a:gd name="connsiteX8" fmla="*/ 26849 w 26849"/>
                  <a:gd name="connsiteY8" fmla="*/ 45618 h 45618"/>
                  <a:gd name="connsiteX9" fmla="*/ 21250 w 26849"/>
                  <a:gd name="connsiteY9" fmla="*/ 45618 h 45618"/>
                  <a:gd name="connsiteX10" fmla="*/ 21250 w 26849"/>
                  <a:gd name="connsiteY10" fmla="*/ 24686 h 45618"/>
                  <a:gd name="connsiteX11" fmla="*/ 19405 w 26849"/>
                  <a:gd name="connsiteY11" fmla="*/ 18578 h 45618"/>
                  <a:gd name="connsiteX12" fmla="*/ 14252 w 26849"/>
                  <a:gd name="connsiteY12" fmla="*/ 16669 h 45618"/>
                  <a:gd name="connsiteX13" fmla="*/ 9607 w 26849"/>
                  <a:gd name="connsiteY13" fmla="*/ 17942 h 45618"/>
                  <a:gd name="connsiteX14" fmla="*/ 6490 w 26849"/>
                  <a:gd name="connsiteY14" fmla="*/ 21441 h 45618"/>
                  <a:gd name="connsiteX15" fmla="*/ 5535 w 26849"/>
                  <a:gd name="connsiteY15" fmla="*/ 27549 h 45618"/>
                  <a:gd name="connsiteX16" fmla="*/ 5535 w 26849"/>
                  <a:gd name="connsiteY16" fmla="*/ 45618 h 45618"/>
                  <a:gd name="connsiteX17" fmla="*/ 0 w 26849"/>
                  <a:gd name="connsiteY17" fmla="*/ 45618 h 456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6849" h="45618">
                    <a:moveTo>
                      <a:pt x="0" y="45555"/>
                    </a:moveTo>
                    <a:lnTo>
                      <a:pt x="0" y="0"/>
                    </a:lnTo>
                    <a:lnTo>
                      <a:pt x="5599" y="0"/>
                    </a:lnTo>
                    <a:lnTo>
                      <a:pt x="5599" y="16351"/>
                    </a:lnTo>
                    <a:cubicBezTo>
                      <a:pt x="8208" y="13297"/>
                      <a:pt x="11516" y="11834"/>
                      <a:pt x="15461" y="11834"/>
                    </a:cubicBezTo>
                    <a:cubicBezTo>
                      <a:pt x="17878" y="11834"/>
                      <a:pt x="20041" y="12343"/>
                      <a:pt x="21823" y="13297"/>
                    </a:cubicBezTo>
                    <a:cubicBezTo>
                      <a:pt x="23605" y="14252"/>
                      <a:pt x="24941" y="15588"/>
                      <a:pt x="25704" y="17306"/>
                    </a:cubicBezTo>
                    <a:cubicBezTo>
                      <a:pt x="26468" y="19024"/>
                      <a:pt x="26849" y="21441"/>
                      <a:pt x="26849" y="24686"/>
                    </a:cubicBezTo>
                    <a:lnTo>
                      <a:pt x="26849" y="45618"/>
                    </a:lnTo>
                    <a:lnTo>
                      <a:pt x="21250" y="45618"/>
                    </a:lnTo>
                    <a:lnTo>
                      <a:pt x="21250" y="24686"/>
                    </a:lnTo>
                    <a:cubicBezTo>
                      <a:pt x="21250" y="21887"/>
                      <a:pt x="20678" y="19851"/>
                      <a:pt x="19405" y="18578"/>
                    </a:cubicBezTo>
                    <a:cubicBezTo>
                      <a:pt x="18196" y="17306"/>
                      <a:pt x="16479" y="16669"/>
                      <a:pt x="14252" y="16669"/>
                    </a:cubicBezTo>
                    <a:cubicBezTo>
                      <a:pt x="12598" y="16669"/>
                      <a:pt x="11071" y="17115"/>
                      <a:pt x="9607" y="17942"/>
                    </a:cubicBezTo>
                    <a:cubicBezTo>
                      <a:pt x="8144" y="18769"/>
                      <a:pt x="7126" y="19978"/>
                      <a:pt x="6490" y="21441"/>
                    </a:cubicBezTo>
                    <a:cubicBezTo>
                      <a:pt x="5853" y="22905"/>
                      <a:pt x="5535" y="24941"/>
                      <a:pt x="5535" y="27549"/>
                    </a:cubicBezTo>
                    <a:lnTo>
                      <a:pt x="5535" y="45618"/>
                    </a:lnTo>
                    <a:lnTo>
                      <a:pt x="0" y="45618"/>
                    </a:lnTo>
                    <a:close/>
                  </a:path>
                </a:pathLst>
              </a:custGeom>
              <a:solidFill>
                <a:srgbClr val="084F45"/>
              </a:solidFill>
              <a:ln w="6361" cap="flat">
                <a:noFill/>
                <a:prstDash val="solid"/>
                <a:miter/>
              </a:ln>
            </p:spPr>
            <p:txBody>
              <a:bodyPr rtlCol="0" anchor="ctr"/>
              <a:lstStyle/>
              <a:p>
                <a:endParaRPr lang="da-DK"/>
              </a:p>
            </p:txBody>
          </p:sp>
          <p:sp>
            <p:nvSpPr>
              <p:cNvPr id="63" name="Freeform: Shape 62">
                <a:extLst>
                  <a:ext uri="{FF2B5EF4-FFF2-40B4-BE49-F238E27FC236}">
                    <a16:creationId xmlns:a16="http://schemas.microsoft.com/office/drawing/2014/main" id="{A84D6C52-10B9-4821-809F-7F4FE92B7E2D}"/>
                  </a:ext>
                </a:extLst>
              </p:cNvPr>
              <p:cNvSpPr/>
              <p:nvPr/>
            </p:nvSpPr>
            <p:spPr>
              <a:xfrm>
                <a:off x="151857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1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2"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1" y="29840"/>
                    </a:cubicBezTo>
                    <a:cubicBezTo>
                      <a:pt x="17687" y="29840"/>
                      <a:pt x="19469" y="29331"/>
                      <a:pt x="20869" y="28249"/>
                    </a:cubicBezTo>
                    <a:cubicBezTo>
                      <a:pt x="22396" y="27167"/>
                      <a:pt x="23541"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89"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64" name="Freeform: Shape 63">
                <a:extLst>
                  <a:ext uri="{FF2B5EF4-FFF2-40B4-BE49-F238E27FC236}">
                    <a16:creationId xmlns:a16="http://schemas.microsoft.com/office/drawing/2014/main" id="{0B63BC28-02FB-4C54-A31D-0C2488C29E50}"/>
                  </a:ext>
                </a:extLst>
              </p:cNvPr>
              <p:cNvSpPr/>
              <p:nvPr/>
            </p:nvSpPr>
            <p:spPr>
              <a:xfrm>
                <a:off x="1553698" y="3622989"/>
                <a:ext cx="28694" cy="46318"/>
              </a:xfrm>
              <a:custGeom>
                <a:avLst/>
                <a:gdLst>
                  <a:gd name="connsiteX0" fmla="*/ 23477 w 28694"/>
                  <a:gd name="connsiteY0" fmla="*/ 45555 h 46318"/>
                  <a:gd name="connsiteX1" fmla="*/ 23477 w 28694"/>
                  <a:gd name="connsiteY1" fmla="*/ 41419 h 46318"/>
                  <a:gd name="connsiteX2" fmla="*/ 14252 w 28694"/>
                  <a:gd name="connsiteY2" fmla="*/ 46318 h 46318"/>
                  <a:gd name="connsiteX3" fmla="*/ 6999 w 28694"/>
                  <a:gd name="connsiteY3" fmla="*/ 44155 h 46318"/>
                  <a:gd name="connsiteX4" fmla="*/ 1845 w 28694"/>
                  <a:gd name="connsiteY4" fmla="*/ 38111 h 46318"/>
                  <a:gd name="connsiteX5" fmla="*/ 0 w 28694"/>
                  <a:gd name="connsiteY5" fmla="*/ 29140 h 46318"/>
                  <a:gd name="connsiteX6" fmla="*/ 1654 w 28694"/>
                  <a:gd name="connsiteY6" fmla="*/ 20169 h 46318"/>
                  <a:gd name="connsiteX7" fmla="*/ 6617 w 28694"/>
                  <a:gd name="connsiteY7" fmla="*/ 13997 h 46318"/>
                  <a:gd name="connsiteX8" fmla="*/ 13997 w 28694"/>
                  <a:gd name="connsiteY8" fmla="*/ 11834 h 46318"/>
                  <a:gd name="connsiteX9" fmla="*/ 19278 w 28694"/>
                  <a:gd name="connsiteY9" fmla="*/ 13107 h 46318"/>
                  <a:gd name="connsiteX10" fmla="*/ 23095 w 28694"/>
                  <a:gd name="connsiteY10" fmla="*/ 16351 h 46318"/>
                  <a:gd name="connsiteX11" fmla="*/ 23095 w 28694"/>
                  <a:gd name="connsiteY11" fmla="*/ 0 h 46318"/>
                  <a:gd name="connsiteX12" fmla="*/ 28694 w 28694"/>
                  <a:gd name="connsiteY12" fmla="*/ 0 h 46318"/>
                  <a:gd name="connsiteX13" fmla="*/ 28694 w 28694"/>
                  <a:gd name="connsiteY13" fmla="*/ 45555 h 46318"/>
                  <a:gd name="connsiteX14" fmla="*/ 23477 w 28694"/>
                  <a:gd name="connsiteY14" fmla="*/ 45555 h 46318"/>
                  <a:gd name="connsiteX15" fmla="*/ 5790 w 28694"/>
                  <a:gd name="connsiteY15" fmla="*/ 29076 h 46318"/>
                  <a:gd name="connsiteX16" fmla="*/ 8462 w 28694"/>
                  <a:gd name="connsiteY16" fmla="*/ 38556 h 46318"/>
                  <a:gd name="connsiteX17" fmla="*/ 14761 w 28694"/>
                  <a:gd name="connsiteY17" fmla="*/ 41674 h 46318"/>
                  <a:gd name="connsiteX18" fmla="*/ 20996 w 28694"/>
                  <a:gd name="connsiteY18" fmla="*/ 38683 h 46318"/>
                  <a:gd name="connsiteX19" fmla="*/ 23541 w 28694"/>
                  <a:gd name="connsiteY19" fmla="*/ 29522 h 46318"/>
                  <a:gd name="connsiteX20" fmla="*/ 20932 w 28694"/>
                  <a:gd name="connsiteY20" fmla="*/ 19596 h 46318"/>
                  <a:gd name="connsiteX21" fmla="*/ 14506 w 28694"/>
                  <a:gd name="connsiteY21" fmla="*/ 16415 h 46318"/>
                  <a:gd name="connsiteX22" fmla="*/ 8271 w 28694"/>
                  <a:gd name="connsiteY22" fmla="*/ 19469 h 46318"/>
                  <a:gd name="connsiteX23" fmla="*/ 5790 w 28694"/>
                  <a:gd name="connsiteY23" fmla="*/ 29076 h 4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694" h="46318">
                    <a:moveTo>
                      <a:pt x="23477" y="45555"/>
                    </a:moveTo>
                    <a:lnTo>
                      <a:pt x="23477" y="41419"/>
                    </a:lnTo>
                    <a:cubicBezTo>
                      <a:pt x="21378" y="44664"/>
                      <a:pt x="18324" y="46318"/>
                      <a:pt x="14252" y="46318"/>
                    </a:cubicBezTo>
                    <a:cubicBezTo>
                      <a:pt x="11643" y="46318"/>
                      <a:pt x="9225" y="45618"/>
                      <a:pt x="6999" y="44155"/>
                    </a:cubicBezTo>
                    <a:cubicBezTo>
                      <a:pt x="4772" y="42692"/>
                      <a:pt x="3054" y="40656"/>
                      <a:pt x="1845" y="38111"/>
                    </a:cubicBezTo>
                    <a:cubicBezTo>
                      <a:pt x="636" y="35502"/>
                      <a:pt x="0" y="32512"/>
                      <a:pt x="0" y="29140"/>
                    </a:cubicBezTo>
                    <a:cubicBezTo>
                      <a:pt x="0" y="25831"/>
                      <a:pt x="573" y="22841"/>
                      <a:pt x="1654" y="20169"/>
                    </a:cubicBezTo>
                    <a:cubicBezTo>
                      <a:pt x="2736" y="17497"/>
                      <a:pt x="4390" y="15461"/>
                      <a:pt x="6617" y="13997"/>
                    </a:cubicBezTo>
                    <a:cubicBezTo>
                      <a:pt x="8844" y="12598"/>
                      <a:pt x="11261" y="11834"/>
                      <a:pt x="13997" y="11834"/>
                    </a:cubicBezTo>
                    <a:cubicBezTo>
                      <a:pt x="15970" y="11834"/>
                      <a:pt x="17751" y="12280"/>
                      <a:pt x="19278" y="13107"/>
                    </a:cubicBezTo>
                    <a:cubicBezTo>
                      <a:pt x="20805" y="13934"/>
                      <a:pt x="22077" y="15015"/>
                      <a:pt x="23095" y="16351"/>
                    </a:cubicBezTo>
                    <a:lnTo>
                      <a:pt x="23095" y="0"/>
                    </a:lnTo>
                    <a:lnTo>
                      <a:pt x="28694" y="0"/>
                    </a:lnTo>
                    <a:lnTo>
                      <a:pt x="28694" y="45555"/>
                    </a:lnTo>
                    <a:lnTo>
                      <a:pt x="23477" y="45555"/>
                    </a:lnTo>
                    <a:close/>
                    <a:moveTo>
                      <a:pt x="5790" y="29076"/>
                    </a:moveTo>
                    <a:cubicBezTo>
                      <a:pt x="5790" y="33275"/>
                      <a:pt x="6680" y="36457"/>
                      <a:pt x="8462" y="38556"/>
                    </a:cubicBezTo>
                    <a:cubicBezTo>
                      <a:pt x="10243" y="40656"/>
                      <a:pt x="12343" y="41674"/>
                      <a:pt x="14761" y="41674"/>
                    </a:cubicBezTo>
                    <a:cubicBezTo>
                      <a:pt x="17178" y="41674"/>
                      <a:pt x="19278" y="40656"/>
                      <a:pt x="20996" y="38683"/>
                    </a:cubicBezTo>
                    <a:cubicBezTo>
                      <a:pt x="22714" y="36711"/>
                      <a:pt x="23541" y="33657"/>
                      <a:pt x="23541" y="29522"/>
                    </a:cubicBezTo>
                    <a:cubicBezTo>
                      <a:pt x="23541" y="25004"/>
                      <a:pt x="22650" y="21696"/>
                      <a:pt x="20932" y="19596"/>
                    </a:cubicBezTo>
                    <a:cubicBezTo>
                      <a:pt x="19214" y="17497"/>
                      <a:pt x="17051" y="16415"/>
                      <a:pt x="14506" y="16415"/>
                    </a:cubicBezTo>
                    <a:cubicBezTo>
                      <a:pt x="12025" y="16415"/>
                      <a:pt x="9925" y="17433"/>
                      <a:pt x="8271" y="19469"/>
                    </a:cubicBezTo>
                    <a:cubicBezTo>
                      <a:pt x="6617" y="21505"/>
                      <a:pt x="5790" y="24686"/>
                      <a:pt x="5790" y="29076"/>
                    </a:cubicBezTo>
                    <a:close/>
                  </a:path>
                </a:pathLst>
              </a:custGeom>
              <a:solidFill>
                <a:srgbClr val="084F45"/>
              </a:solidFill>
              <a:ln w="6361" cap="flat">
                <a:noFill/>
                <a:prstDash val="solid"/>
                <a:miter/>
              </a:ln>
            </p:spPr>
            <p:txBody>
              <a:bodyPr rtlCol="0" anchor="ctr"/>
              <a:lstStyle/>
              <a:p>
                <a:endParaRPr lang="da-DK"/>
              </a:p>
            </p:txBody>
          </p:sp>
          <p:sp>
            <p:nvSpPr>
              <p:cNvPr id="65" name="Freeform: Shape 64">
                <a:extLst>
                  <a:ext uri="{FF2B5EF4-FFF2-40B4-BE49-F238E27FC236}">
                    <a16:creationId xmlns:a16="http://schemas.microsoft.com/office/drawing/2014/main" id="{0439BC68-3F99-4B8F-B0E9-F89455D7ACCA}"/>
                  </a:ext>
                </a:extLst>
              </p:cNvPr>
              <p:cNvSpPr/>
              <p:nvPr/>
            </p:nvSpPr>
            <p:spPr>
              <a:xfrm>
                <a:off x="1589328" y="3634823"/>
                <a:ext cx="30412" cy="34484"/>
              </a:xfrm>
              <a:custGeom>
                <a:avLst/>
                <a:gdLst>
                  <a:gd name="connsiteX0" fmla="*/ 24432 w 30412"/>
                  <a:gd name="connsiteY0" fmla="*/ 23096 h 34484"/>
                  <a:gd name="connsiteX1" fmla="*/ 30221 w 30412"/>
                  <a:gd name="connsiteY1" fmla="*/ 23795 h 34484"/>
                  <a:gd name="connsiteX2" fmla="*/ 25131 w 30412"/>
                  <a:gd name="connsiteY2" fmla="*/ 31685 h 34484"/>
                  <a:gd name="connsiteX3" fmla="*/ 15715 w 30412"/>
                  <a:gd name="connsiteY3" fmla="*/ 34484 h 34484"/>
                  <a:gd name="connsiteX4" fmla="*/ 4263 w 30412"/>
                  <a:gd name="connsiteY4" fmla="*/ 30030 h 34484"/>
                  <a:gd name="connsiteX5" fmla="*/ 0 w 30412"/>
                  <a:gd name="connsiteY5" fmla="*/ 17497 h 34484"/>
                  <a:gd name="connsiteX6" fmla="*/ 4263 w 30412"/>
                  <a:gd name="connsiteY6" fmla="*/ 4581 h 34484"/>
                  <a:gd name="connsiteX7" fmla="*/ 15397 w 30412"/>
                  <a:gd name="connsiteY7" fmla="*/ 0 h 34484"/>
                  <a:gd name="connsiteX8" fmla="*/ 26213 w 30412"/>
                  <a:gd name="connsiteY8" fmla="*/ 4517 h 34484"/>
                  <a:gd name="connsiteX9" fmla="*/ 30412 w 30412"/>
                  <a:gd name="connsiteY9" fmla="*/ 17178 h 34484"/>
                  <a:gd name="connsiteX10" fmla="*/ 30349 w 30412"/>
                  <a:gd name="connsiteY10" fmla="*/ 18642 h 34484"/>
                  <a:gd name="connsiteX11" fmla="*/ 5726 w 30412"/>
                  <a:gd name="connsiteY11" fmla="*/ 18642 h 34484"/>
                  <a:gd name="connsiteX12" fmla="*/ 8780 w 30412"/>
                  <a:gd name="connsiteY12" fmla="*/ 26976 h 34484"/>
                  <a:gd name="connsiteX13" fmla="*/ 15652 w 30412"/>
                  <a:gd name="connsiteY13" fmla="*/ 29840 h 34484"/>
                  <a:gd name="connsiteX14" fmla="*/ 20869 w 30412"/>
                  <a:gd name="connsiteY14" fmla="*/ 28249 h 34484"/>
                  <a:gd name="connsiteX15" fmla="*/ 24432 w 30412"/>
                  <a:gd name="connsiteY15" fmla="*/ 23096 h 34484"/>
                  <a:gd name="connsiteX16" fmla="*/ 6044 w 30412"/>
                  <a:gd name="connsiteY16" fmla="*/ 13997 h 34484"/>
                  <a:gd name="connsiteX17" fmla="*/ 24495 w 30412"/>
                  <a:gd name="connsiteY17" fmla="*/ 13997 h 34484"/>
                  <a:gd name="connsiteX18" fmla="*/ 22396 w 30412"/>
                  <a:gd name="connsiteY18" fmla="*/ 7762 h 34484"/>
                  <a:gd name="connsiteX19" fmla="*/ 15461 w 30412"/>
                  <a:gd name="connsiteY19" fmla="*/ 4517 h 34484"/>
                  <a:gd name="connsiteX20" fmla="*/ 8971 w 30412"/>
                  <a:gd name="connsiteY20" fmla="*/ 7126 h 34484"/>
                  <a:gd name="connsiteX21" fmla="*/ 6044 w 30412"/>
                  <a:gd name="connsiteY21" fmla="*/ 13997 h 34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0412" h="34484">
                    <a:moveTo>
                      <a:pt x="24432" y="23096"/>
                    </a:moveTo>
                    <a:lnTo>
                      <a:pt x="30221" y="23795"/>
                    </a:lnTo>
                    <a:cubicBezTo>
                      <a:pt x="29331" y="27167"/>
                      <a:pt x="27613" y="29776"/>
                      <a:pt x="25131" y="31685"/>
                    </a:cubicBezTo>
                    <a:cubicBezTo>
                      <a:pt x="22650" y="33530"/>
                      <a:pt x="19533" y="34484"/>
                      <a:pt x="15715" y="34484"/>
                    </a:cubicBezTo>
                    <a:cubicBezTo>
                      <a:pt x="10880" y="34484"/>
                      <a:pt x="7062" y="33021"/>
                      <a:pt x="4263" y="30030"/>
                    </a:cubicBezTo>
                    <a:cubicBezTo>
                      <a:pt x="1463" y="27040"/>
                      <a:pt x="0" y="22905"/>
                      <a:pt x="0" y="17497"/>
                    </a:cubicBezTo>
                    <a:cubicBezTo>
                      <a:pt x="0" y="11961"/>
                      <a:pt x="1400" y="7635"/>
                      <a:pt x="4263" y="4581"/>
                    </a:cubicBezTo>
                    <a:cubicBezTo>
                      <a:pt x="7126" y="1527"/>
                      <a:pt x="10816" y="0"/>
                      <a:pt x="15397" y="0"/>
                    </a:cubicBezTo>
                    <a:cubicBezTo>
                      <a:pt x="19787" y="0"/>
                      <a:pt x="23414" y="1527"/>
                      <a:pt x="26213" y="4517"/>
                    </a:cubicBezTo>
                    <a:cubicBezTo>
                      <a:pt x="29012" y="7508"/>
                      <a:pt x="30412" y="11770"/>
                      <a:pt x="30412" y="17178"/>
                    </a:cubicBezTo>
                    <a:cubicBezTo>
                      <a:pt x="30412" y="17497"/>
                      <a:pt x="30412" y="18005"/>
                      <a:pt x="30349" y="18642"/>
                    </a:cubicBezTo>
                    <a:lnTo>
                      <a:pt x="5726" y="18642"/>
                    </a:lnTo>
                    <a:cubicBezTo>
                      <a:pt x="5917" y="22268"/>
                      <a:pt x="6935" y="25068"/>
                      <a:pt x="8780" y="26976"/>
                    </a:cubicBezTo>
                    <a:cubicBezTo>
                      <a:pt x="10625" y="28885"/>
                      <a:pt x="12916" y="29840"/>
                      <a:pt x="15652" y="29840"/>
                    </a:cubicBezTo>
                    <a:cubicBezTo>
                      <a:pt x="17687" y="29840"/>
                      <a:pt x="19469" y="29331"/>
                      <a:pt x="20869" y="28249"/>
                    </a:cubicBezTo>
                    <a:cubicBezTo>
                      <a:pt x="22459" y="27167"/>
                      <a:pt x="23605" y="25450"/>
                      <a:pt x="24432" y="23096"/>
                    </a:cubicBezTo>
                    <a:close/>
                    <a:moveTo>
                      <a:pt x="6044" y="13997"/>
                    </a:moveTo>
                    <a:lnTo>
                      <a:pt x="24495" y="13997"/>
                    </a:lnTo>
                    <a:cubicBezTo>
                      <a:pt x="24241" y="11198"/>
                      <a:pt x="23541" y="9162"/>
                      <a:pt x="22396" y="7762"/>
                    </a:cubicBezTo>
                    <a:cubicBezTo>
                      <a:pt x="20614" y="5599"/>
                      <a:pt x="18324" y="4517"/>
                      <a:pt x="15461" y="4517"/>
                    </a:cubicBezTo>
                    <a:cubicBezTo>
                      <a:pt x="12916" y="4517"/>
                      <a:pt x="10752" y="5408"/>
                      <a:pt x="8971" y="7126"/>
                    </a:cubicBezTo>
                    <a:cubicBezTo>
                      <a:pt x="7190" y="8844"/>
                      <a:pt x="6235" y="11134"/>
                      <a:pt x="6044" y="13997"/>
                    </a:cubicBezTo>
                    <a:close/>
                  </a:path>
                </a:pathLst>
              </a:custGeom>
              <a:solidFill>
                <a:srgbClr val="084F45"/>
              </a:solidFill>
              <a:ln w="6361" cap="flat">
                <a:noFill/>
                <a:prstDash val="solid"/>
                <a:miter/>
              </a:ln>
            </p:spPr>
            <p:txBody>
              <a:bodyPr rtlCol="0" anchor="ctr"/>
              <a:lstStyle/>
              <a:p>
                <a:endParaRPr lang="da-DK"/>
              </a:p>
            </p:txBody>
          </p:sp>
          <p:sp>
            <p:nvSpPr>
              <p:cNvPr id="66" name="Freeform: Shape 65">
                <a:extLst>
                  <a:ext uri="{FF2B5EF4-FFF2-40B4-BE49-F238E27FC236}">
                    <a16:creationId xmlns:a16="http://schemas.microsoft.com/office/drawing/2014/main" id="{E1825460-CB7A-49EA-9123-4776C6B79774}"/>
                  </a:ext>
                </a:extLst>
              </p:cNvPr>
              <p:cNvSpPr/>
              <p:nvPr/>
            </p:nvSpPr>
            <p:spPr>
              <a:xfrm>
                <a:off x="1626484" y="3634759"/>
                <a:ext cx="17878" cy="33784"/>
              </a:xfrm>
              <a:custGeom>
                <a:avLst/>
                <a:gdLst>
                  <a:gd name="connsiteX0" fmla="*/ 0 w 17878"/>
                  <a:gd name="connsiteY0" fmla="*/ 33784 h 33784"/>
                  <a:gd name="connsiteX1" fmla="*/ 0 w 17878"/>
                  <a:gd name="connsiteY1" fmla="*/ 763 h 33784"/>
                  <a:gd name="connsiteX2" fmla="*/ 5026 w 17878"/>
                  <a:gd name="connsiteY2" fmla="*/ 763 h 33784"/>
                  <a:gd name="connsiteX3" fmla="*/ 5026 w 17878"/>
                  <a:gd name="connsiteY3" fmla="*/ 5790 h 33784"/>
                  <a:gd name="connsiteX4" fmla="*/ 8589 w 17878"/>
                  <a:gd name="connsiteY4" fmla="*/ 1145 h 33784"/>
                  <a:gd name="connsiteX5" fmla="*/ 12152 w 17878"/>
                  <a:gd name="connsiteY5" fmla="*/ 0 h 33784"/>
                  <a:gd name="connsiteX6" fmla="*/ 17878 w 17878"/>
                  <a:gd name="connsiteY6" fmla="*/ 1781 h 33784"/>
                  <a:gd name="connsiteX7" fmla="*/ 15970 w 17878"/>
                  <a:gd name="connsiteY7" fmla="*/ 6999 h 33784"/>
                  <a:gd name="connsiteX8" fmla="*/ 11898 w 17878"/>
                  <a:gd name="connsiteY8" fmla="*/ 5790 h 33784"/>
                  <a:gd name="connsiteX9" fmla="*/ 8589 w 17878"/>
                  <a:gd name="connsiteY9" fmla="*/ 6871 h 33784"/>
                  <a:gd name="connsiteX10" fmla="*/ 6490 w 17878"/>
                  <a:gd name="connsiteY10" fmla="*/ 9925 h 33784"/>
                  <a:gd name="connsiteX11" fmla="*/ 5535 w 17878"/>
                  <a:gd name="connsiteY11" fmla="*/ 16479 h 33784"/>
                  <a:gd name="connsiteX12" fmla="*/ 5535 w 17878"/>
                  <a:gd name="connsiteY12" fmla="*/ 33721 h 33784"/>
                  <a:gd name="connsiteX13" fmla="*/ 0 w 17878"/>
                  <a:gd name="connsiteY13" fmla="*/ 33721 h 33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7878" h="33784">
                    <a:moveTo>
                      <a:pt x="0" y="33784"/>
                    </a:moveTo>
                    <a:lnTo>
                      <a:pt x="0" y="763"/>
                    </a:lnTo>
                    <a:lnTo>
                      <a:pt x="5026" y="763"/>
                    </a:lnTo>
                    <a:lnTo>
                      <a:pt x="5026" y="5790"/>
                    </a:lnTo>
                    <a:cubicBezTo>
                      <a:pt x="6299" y="3436"/>
                      <a:pt x="7508" y="1909"/>
                      <a:pt x="8589" y="1145"/>
                    </a:cubicBezTo>
                    <a:cubicBezTo>
                      <a:pt x="9671" y="382"/>
                      <a:pt x="10880" y="0"/>
                      <a:pt x="12152" y="0"/>
                    </a:cubicBezTo>
                    <a:cubicBezTo>
                      <a:pt x="14061" y="0"/>
                      <a:pt x="15970" y="573"/>
                      <a:pt x="17878" y="1781"/>
                    </a:cubicBezTo>
                    <a:lnTo>
                      <a:pt x="15970" y="6999"/>
                    </a:lnTo>
                    <a:cubicBezTo>
                      <a:pt x="14634" y="6172"/>
                      <a:pt x="13234" y="5790"/>
                      <a:pt x="11898" y="5790"/>
                    </a:cubicBezTo>
                    <a:cubicBezTo>
                      <a:pt x="10689" y="5790"/>
                      <a:pt x="9607" y="6172"/>
                      <a:pt x="8589" y="6871"/>
                    </a:cubicBezTo>
                    <a:cubicBezTo>
                      <a:pt x="7635" y="7635"/>
                      <a:pt x="6935" y="8653"/>
                      <a:pt x="6490" y="9925"/>
                    </a:cubicBezTo>
                    <a:cubicBezTo>
                      <a:pt x="5853" y="11898"/>
                      <a:pt x="5535" y="14061"/>
                      <a:pt x="5535" y="16479"/>
                    </a:cubicBezTo>
                    <a:lnTo>
                      <a:pt x="5535" y="33721"/>
                    </a:lnTo>
                    <a:lnTo>
                      <a:pt x="0" y="33721"/>
                    </a:lnTo>
                    <a:close/>
                  </a:path>
                </a:pathLst>
              </a:custGeom>
              <a:solidFill>
                <a:srgbClr val="084F45"/>
              </a:solidFill>
              <a:ln w="6361" cap="flat">
                <a:noFill/>
                <a:prstDash val="solid"/>
                <a:miter/>
              </a:ln>
            </p:spPr>
            <p:txBody>
              <a:bodyPr rtlCol="0" anchor="ctr"/>
              <a:lstStyle/>
              <a:p>
                <a:endParaRPr lang="da-DK"/>
              </a:p>
            </p:txBody>
          </p:sp>
          <p:sp>
            <p:nvSpPr>
              <p:cNvPr id="67" name="Freeform: Shape 66">
                <a:extLst>
                  <a:ext uri="{FF2B5EF4-FFF2-40B4-BE49-F238E27FC236}">
                    <a16:creationId xmlns:a16="http://schemas.microsoft.com/office/drawing/2014/main" id="{77C24723-966F-492E-93CB-DD95F69208AF}"/>
                  </a:ext>
                </a:extLst>
              </p:cNvPr>
              <p:cNvSpPr/>
              <p:nvPr/>
            </p:nvSpPr>
            <p:spPr>
              <a:xfrm>
                <a:off x="1645826" y="3662181"/>
                <a:ext cx="6362" cy="6362"/>
              </a:xfrm>
              <a:custGeom>
                <a:avLst/>
                <a:gdLst>
                  <a:gd name="connsiteX0" fmla="*/ 0 w 6362"/>
                  <a:gd name="connsiteY0" fmla="*/ 6362 h 6362"/>
                  <a:gd name="connsiteX1" fmla="*/ 0 w 6362"/>
                  <a:gd name="connsiteY1" fmla="*/ 0 h 6362"/>
                  <a:gd name="connsiteX2" fmla="*/ 6362 w 6362"/>
                  <a:gd name="connsiteY2" fmla="*/ 0 h 6362"/>
                  <a:gd name="connsiteX3" fmla="*/ 6362 w 6362"/>
                  <a:gd name="connsiteY3" fmla="*/ 6362 h 6362"/>
                  <a:gd name="connsiteX4" fmla="*/ 0 w 6362"/>
                  <a:gd name="connsiteY4" fmla="*/ 6362 h 63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362" h="6362">
                    <a:moveTo>
                      <a:pt x="0" y="6362"/>
                    </a:moveTo>
                    <a:lnTo>
                      <a:pt x="0" y="0"/>
                    </a:lnTo>
                    <a:lnTo>
                      <a:pt x="6362" y="0"/>
                    </a:lnTo>
                    <a:lnTo>
                      <a:pt x="6362" y="6362"/>
                    </a:lnTo>
                    <a:lnTo>
                      <a:pt x="0" y="6362"/>
                    </a:lnTo>
                    <a:close/>
                  </a:path>
                </a:pathLst>
              </a:custGeom>
              <a:solidFill>
                <a:srgbClr val="084F45"/>
              </a:solidFill>
              <a:ln w="6361" cap="flat">
                <a:noFill/>
                <a:prstDash val="solid"/>
                <a:miter/>
              </a:ln>
            </p:spPr>
            <p:txBody>
              <a:bodyPr rtlCol="0" anchor="ctr"/>
              <a:lstStyle/>
              <a:p>
                <a:endParaRPr lang="da-DK"/>
              </a:p>
            </p:txBody>
          </p:sp>
        </p:grpSp>
        <p:grpSp>
          <p:nvGrpSpPr>
            <p:cNvPr id="11" name="Graphic 5">
              <a:extLst>
                <a:ext uri="{FF2B5EF4-FFF2-40B4-BE49-F238E27FC236}">
                  <a16:creationId xmlns:a16="http://schemas.microsoft.com/office/drawing/2014/main" id="{260E0AFB-C6C2-4E0F-A9E4-091434B5D4E2}"/>
                </a:ext>
              </a:extLst>
            </p:cNvPr>
            <p:cNvGrpSpPr/>
            <p:nvPr/>
          </p:nvGrpSpPr>
          <p:grpSpPr>
            <a:xfrm>
              <a:off x="632997" y="3239655"/>
              <a:ext cx="440022" cy="431242"/>
              <a:chOff x="632997" y="3239655"/>
              <a:chExt cx="440022" cy="431242"/>
            </a:xfrm>
            <a:solidFill>
              <a:srgbClr val="084F45"/>
            </a:solidFill>
          </p:grpSpPr>
          <p:sp>
            <p:nvSpPr>
              <p:cNvPr id="12" name="Freeform: Shape 11">
                <a:extLst>
                  <a:ext uri="{FF2B5EF4-FFF2-40B4-BE49-F238E27FC236}">
                    <a16:creationId xmlns:a16="http://schemas.microsoft.com/office/drawing/2014/main" id="{B242B2E6-E46E-4222-BD92-DDDAA8D73F52}"/>
                  </a:ext>
                </a:extLst>
              </p:cNvPr>
              <p:cNvSpPr/>
              <p:nvPr/>
            </p:nvSpPr>
            <p:spPr>
              <a:xfrm>
                <a:off x="809362" y="3239655"/>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3" name="Freeform: Shape 12">
                <a:extLst>
                  <a:ext uri="{FF2B5EF4-FFF2-40B4-BE49-F238E27FC236}">
                    <a16:creationId xmlns:a16="http://schemas.microsoft.com/office/drawing/2014/main" id="{C2427276-EFA3-403E-8F2C-EC9973E085AC}"/>
                  </a:ext>
                </a:extLst>
              </p:cNvPr>
              <p:cNvSpPr/>
              <p:nvPr/>
            </p:nvSpPr>
            <p:spPr>
              <a:xfrm>
                <a:off x="948380"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4" name="Freeform: Shape 13">
                <a:extLst>
                  <a:ext uri="{FF2B5EF4-FFF2-40B4-BE49-F238E27FC236}">
                    <a16:creationId xmlns:a16="http://schemas.microsoft.com/office/drawing/2014/main" id="{3369F7BC-CB8C-44ED-861C-A3FE3846B5D8}"/>
                  </a:ext>
                </a:extLst>
              </p:cNvPr>
              <p:cNvSpPr/>
              <p:nvPr/>
            </p:nvSpPr>
            <p:spPr>
              <a:xfrm>
                <a:off x="981401"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5" name="Freeform: Shape 14">
                <a:extLst>
                  <a:ext uri="{FF2B5EF4-FFF2-40B4-BE49-F238E27FC236}">
                    <a16:creationId xmlns:a16="http://schemas.microsoft.com/office/drawing/2014/main" id="{B4EF9BB6-E5D2-4B37-9984-202357168F33}"/>
                  </a:ext>
                </a:extLst>
              </p:cNvPr>
              <p:cNvSpPr/>
              <p:nvPr/>
            </p:nvSpPr>
            <p:spPr>
              <a:xfrm>
                <a:off x="883548"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6" name="Freeform: Shape 15">
                <a:extLst>
                  <a:ext uri="{FF2B5EF4-FFF2-40B4-BE49-F238E27FC236}">
                    <a16:creationId xmlns:a16="http://schemas.microsoft.com/office/drawing/2014/main" id="{E43A2249-DFBE-4CBC-97D8-FE89476E5017}"/>
                  </a:ext>
                </a:extLst>
              </p:cNvPr>
              <p:cNvSpPr/>
              <p:nvPr/>
            </p:nvSpPr>
            <p:spPr>
              <a:xfrm>
                <a:off x="728369" y="3579279"/>
                <a:ext cx="91618" cy="91618"/>
              </a:xfrm>
              <a:custGeom>
                <a:avLst/>
                <a:gdLst>
                  <a:gd name="connsiteX0" fmla="*/ 91618 w 91618"/>
                  <a:gd name="connsiteY0" fmla="*/ 45809 h 91618"/>
                  <a:gd name="connsiteX1" fmla="*/ 45809 w 91618"/>
                  <a:gd name="connsiteY1" fmla="*/ 91619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9"/>
                      <a:pt x="45809" y="91619"/>
                    </a:cubicBezTo>
                    <a:cubicBezTo>
                      <a:pt x="20509" y="91619"/>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7" name="Freeform: Shape 16">
                <a:extLst>
                  <a:ext uri="{FF2B5EF4-FFF2-40B4-BE49-F238E27FC236}">
                    <a16:creationId xmlns:a16="http://schemas.microsoft.com/office/drawing/2014/main" id="{26657FA2-97BC-4E8F-B3AE-87BBB932F288}"/>
                  </a:ext>
                </a:extLst>
              </p:cNvPr>
              <p:cNvSpPr/>
              <p:nvPr/>
            </p:nvSpPr>
            <p:spPr>
              <a:xfrm>
                <a:off x="632997" y="3457948"/>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10"/>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sp>
            <p:nvSpPr>
              <p:cNvPr id="18" name="Freeform: Shape 17">
                <a:extLst>
                  <a:ext uri="{FF2B5EF4-FFF2-40B4-BE49-F238E27FC236}">
                    <a16:creationId xmlns:a16="http://schemas.microsoft.com/office/drawing/2014/main" id="{53AB87FF-D40C-409C-99FA-7A915132F4C3}"/>
                  </a:ext>
                </a:extLst>
              </p:cNvPr>
              <p:cNvSpPr/>
              <p:nvPr/>
            </p:nvSpPr>
            <p:spPr>
              <a:xfrm>
                <a:off x="669135" y="3309577"/>
                <a:ext cx="91618" cy="91618"/>
              </a:xfrm>
              <a:custGeom>
                <a:avLst/>
                <a:gdLst>
                  <a:gd name="connsiteX0" fmla="*/ 91618 w 91618"/>
                  <a:gd name="connsiteY0" fmla="*/ 45809 h 91618"/>
                  <a:gd name="connsiteX1" fmla="*/ 45809 w 91618"/>
                  <a:gd name="connsiteY1" fmla="*/ 91618 h 91618"/>
                  <a:gd name="connsiteX2" fmla="*/ 0 w 91618"/>
                  <a:gd name="connsiteY2" fmla="*/ 45809 h 91618"/>
                  <a:gd name="connsiteX3" fmla="*/ 45809 w 91618"/>
                  <a:gd name="connsiteY3" fmla="*/ 0 h 91618"/>
                  <a:gd name="connsiteX4" fmla="*/ 91618 w 91618"/>
                  <a:gd name="connsiteY4" fmla="*/ 45809 h 9161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618" h="91618">
                    <a:moveTo>
                      <a:pt x="91618" y="45809"/>
                    </a:moveTo>
                    <a:cubicBezTo>
                      <a:pt x="91618" y="71109"/>
                      <a:pt x="71109" y="91618"/>
                      <a:pt x="45809" y="91618"/>
                    </a:cubicBezTo>
                    <a:cubicBezTo>
                      <a:pt x="20509" y="91618"/>
                      <a:pt x="0" y="71109"/>
                      <a:pt x="0" y="45809"/>
                    </a:cubicBezTo>
                    <a:cubicBezTo>
                      <a:pt x="0" y="20509"/>
                      <a:pt x="20509" y="0"/>
                      <a:pt x="45809" y="0"/>
                    </a:cubicBezTo>
                    <a:cubicBezTo>
                      <a:pt x="71109" y="0"/>
                      <a:pt x="91618" y="20509"/>
                      <a:pt x="91618" y="45809"/>
                    </a:cubicBezTo>
                    <a:close/>
                  </a:path>
                </a:pathLst>
              </a:custGeom>
              <a:solidFill>
                <a:srgbClr val="084F45"/>
              </a:solidFill>
              <a:ln w="6361" cap="flat">
                <a:noFill/>
                <a:prstDash val="solid"/>
                <a:miter/>
              </a:ln>
            </p:spPr>
            <p:txBody>
              <a:bodyPr rtlCol="0" anchor="ctr"/>
              <a:lstStyle/>
              <a:p>
                <a:endParaRPr lang="da-DK"/>
              </a:p>
            </p:txBody>
          </p:sp>
        </p:grpSp>
      </p:grpSp>
    </p:spTree>
    <p:extLst>
      <p:ext uri="{BB962C8B-B14F-4D97-AF65-F5344CB8AC3E}">
        <p14:creationId xmlns:p14="http://schemas.microsoft.com/office/powerpoint/2010/main" val="2093141518"/>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 id="2147483844" r:id="rId17"/>
    <p:sldLayoutId id="2147483845" r:id="rId18"/>
    <p:sldLayoutId id="2147483846" r:id="rId19"/>
    <p:sldLayoutId id="2147483847" r:id="rId20"/>
    <p:sldLayoutId id="2147483848" r:id="rId21"/>
  </p:sldLayoutIdLst>
  <p:hf hdr="0"/>
  <p:txStyles>
    <p:titleStyle>
      <a:lvl1pPr algn="l" defTabSz="914400" rtl="0" eaLnBrk="1" latinLnBrk="0" hangingPunct="1">
        <a:lnSpc>
          <a:spcPct val="90000"/>
        </a:lnSpc>
        <a:spcBef>
          <a:spcPct val="0"/>
        </a:spcBef>
        <a:buNone/>
        <a:defRPr sz="36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73.xml"/><Relationship Id="rId1" Type="http://schemas.openxmlformats.org/officeDocument/2006/relationships/tags" Target="../tags/tag4.xml"/><Relationship Id="rId5" Type="http://schemas.openxmlformats.org/officeDocument/2006/relationships/image" Target="../media/image18.png"/><Relationship Id="rId4" Type="http://schemas.openxmlformats.org/officeDocument/2006/relationships/image" Target="../media/image17.emf"/></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microsoft.com/office/2007/relationships/diagramDrawing" Target="../diagrams/drawing2.xml"/><Relationship Id="rId18" Type="http://schemas.openxmlformats.org/officeDocument/2006/relationships/image" Target="../media/image23.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diagramColors" Target="../diagrams/colors2.xml"/><Relationship Id="rId17" Type="http://schemas.openxmlformats.org/officeDocument/2006/relationships/image" Target="../media/image22.png"/><Relationship Id="rId2" Type="http://schemas.openxmlformats.org/officeDocument/2006/relationships/customXml" Target="../../customXml/item9.xml"/><Relationship Id="rId16" Type="http://schemas.openxmlformats.org/officeDocument/2006/relationships/image" Target="../media/image21.png"/><Relationship Id="rId1" Type="http://schemas.openxmlformats.org/officeDocument/2006/relationships/customXml" Target="../../customXml/item8.xml"/><Relationship Id="rId6" Type="http://schemas.openxmlformats.org/officeDocument/2006/relationships/tags" Target="../tags/tag8.xml"/><Relationship Id="rId11" Type="http://schemas.openxmlformats.org/officeDocument/2006/relationships/diagramQuickStyle" Target="../diagrams/quickStyle2.xml"/><Relationship Id="rId5" Type="http://schemas.openxmlformats.org/officeDocument/2006/relationships/tags" Target="../tags/tag7.xml"/><Relationship Id="rId15" Type="http://schemas.openxmlformats.org/officeDocument/2006/relationships/image" Target="../media/image20.png"/><Relationship Id="rId10" Type="http://schemas.openxmlformats.org/officeDocument/2006/relationships/diagramLayout" Target="../diagrams/layout2.xml"/><Relationship Id="rId4" Type="http://schemas.openxmlformats.org/officeDocument/2006/relationships/tags" Target="../tags/tag6.xml"/><Relationship Id="rId9" Type="http://schemas.openxmlformats.org/officeDocument/2006/relationships/diagramData" Target="../diagrams/data2.xml"/><Relationship Id="rId14" Type="http://schemas.openxmlformats.org/officeDocument/2006/relationships/image" Target="../media/image19.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3.xml"/><Relationship Id="rId1" Type="http://schemas.openxmlformats.org/officeDocument/2006/relationships/tags" Target="../tags/tag10.xml"/><Relationship Id="rId5" Type="http://schemas.openxmlformats.org/officeDocument/2006/relationships/image" Target="../media/image24.emf"/><Relationship Id="rId4"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63.xml"/></Relationships>
</file>

<file path=ppt/slides/_rels/slide1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png"/><Relationship Id="rId1" Type="http://schemas.openxmlformats.org/officeDocument/2006/relationships/slideLayout" Target="../slideLayouts/slideLayout59.xml"/></Relationships>
</file>

<file path=ppt/slides/_rels/slide1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2.xml"/></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63.xml"/></Relationships>
</file>

<file path=ppt/slides/_rels/slide1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3.xml"/></Relationships>
</file>

<file path=ppt/slides/_rels/slide1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3.xml"/></Relationships>
</file>

<file path=ppt/slides/_rels/slide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3.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6.xml"/><Relationship Id="rId4" Type="http://schemas.openxmlformats.org/officeDocument/2006/relationships/image" Target="../media/image7.jpeg"/></Relationships>
</file>

<file path=ppt/slides/_rels/slide20.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63.xml"/></Relationships>
</file>

<file path=ppt/slides/_rels/slide2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63.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33.png"/><Relationship Id="rId1" Type="http://schemas.openxmlformats.org/officeDocument/2006/relationships/slideLayout" Target="../slideLayouts/slideLayout63.xml"/><Relationship Id="rId4" Type="http://schemas.openxmlformats.org/officeDocument/2006/relationships/image" Target="../media/image26.jpeg"/></Relationships>
</file>

<file path=ppt/slides/_rels/slide2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2.png"/></Relationships>
</file>

<file path=ppt/slides/_rels/slide25.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53.svg"/><Relationship Id="rId18" Type="http://schemas.openxmlformats.org/officeDocument/2006/relationships/image" Target="../media/image58.svg"/><Relationship Id="rId3" Type="http://schemas.openxmlformats.org/officeDocument/2006/relationships/image" Target="../media/image43.png"/><Relationship Id="rId21" Type="http://schemas.openxmlformats.org/officeDocument/2006/relationships/image" Target="../media/image61.png"/><Relationship Id="rId7" Type="http://schemas.openxmlformats.org/officeDocument/2006/relationships/image" Target="../media/image47.png"/><Relationship Id="rId12" Type="http://schemas.openxmlformats.org/officeDocument/2006/relationships/image" Target="../media/image52.svg"/><Relationship Id="rId17" Type="http://schemas.openxmlformats.org/officeDocument/2006/relationships/image" Target="../media/image57.png"/><Relationship Id="rId2" Type="http://schemas.openxmlformats.org/officeDocument/2006/relationships/notesSlide" Target="../notesSlides/notesSlide6.xml"/><Relationship Id="rId16" Type="http://schemas.openxmlformats.org/officeDocument/2006/relationships/image" Target="../media/image56.svg"/><Relationship Id="rId20" Type="http://schemas.openxmlformats.org/officeDocument/2006/relationships/image" Target="../media/image60.svg"/><Relationship Id="rId1" Type="http://schemas.openxmlformats.org/officeDocument/2006/relationships/slideLayout" Target="../slideLayouts/slideLayout16.xml"/><Relationship Id="rId6" Type="http://schemas.openxmlformats.org/officeDocument/2006/relationships/image" Target="../media/image46.svg"/><Relationship Id="rId11" Type="http://schemas.openxmlformats.org/officeDocument/2006/relationships/image" Target="../media/image51.png"/><Relationship Id="rId5" Type="http://schemas.openxmlformats.org/officeDocument/2006/relationships/image" Target="../media/image45.png"/><Relationship Id="rId15" Type="http://schemas.openxmlformats.org/officeDocument/2006/relationships/image" Target="../media/image55.png"/><Relationship Id="rId10" Type="http://schemas.openxmlformats.org/officeDocument/2006/relationships/image" Target="../media/image50.svg"/><Relationship Id="rId19" Type="http://schemas.openxmlformats.org/officeDocument/2006/relationships/image" Target="../media/image59.png"/><Relationship Id="rId4" Type="http://schemas.openxmlformats.org/officeDocument/2006/relationships/image" Target="../media/image44.svg"/><Relationship Id="rId9" Type="http://schemas.openxmlformats.org/officeDocument/2006/relationships/image" Target="../media/image49.png"/><Relationship Id="rId14" Type="http://schemas.openxmlformats.org/officeDocument/2006/relationships/image" Target="../media/image54.png"/><Relationship Id="rId22" Type="http://schemas.openxmlformats.org/officeDocument/2006/relationships/image" Target="../media/image62.svg"/></Relationships>
</file>

<file path=ppt/slides/_rels/slide26.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image" Target="../media/image61.png"/><Relationship Id="rId3" Type="http://schemas.openxmlformats.org/officeDocument/2006/relationships/image" Target="../media/image63.png"/><Relationship Id="rId7" Type="http://schemas.openxmlformats.org/officeDocument/2006/relationships/image" Target="../media/image67.svg"/><Relationship Id="rId12" Type="http://schemas.openxmlformats.org/officeDocument/2006/relationships/image" Target="../media/image72.svg"/><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66.svg"/><Relationship Id="rId11" Type="http://schemas.openxmlformats.org/officeDocument/2006/relationships/image" Target="../media/image71.png"/><Relationship Id="rId5" Type="http://schemas.openxmlformats.org/officeDocument/2006/relationships/image" Target="../media/image65.png"/><Relationship Id="rId15" Type="http://schemas.openxmlformats.org/officeDocument/2006/relationships/image" Target="../media/image73.png"/><Relationship Id="rId10" Type="http://schemas.openxmlformats.org/officeDocument/2006/relationships/image" Target="../media/image70.svg"/><Relationship Id="rId4" Type="http://schemas.openxmlformats.org/officeDocument/2006/relationships/image" Target="../media/image64.svg"/><Relationship Id="rId9" Type="http://schemas.openxmlformats.org/officeDocument/2006/relationships/image" Target="../media/image69.png"/><Relationship Id="rId14" Type="http://schemas.openxmlformats.org/officeDocument/2006/relationships/image" Target="../media/image62.sv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slideLayout" Target="../slideLayouts/slideLayout8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34.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85.xml"/></Relationships>
</file>

<file path=ppt/slides/_rels/slide35.xml.rels><?xml version="1.0" encoding="UTF-8" standalone="yes"?>
<Relationships xmlns="http://schemas.openxmlformats.org/package/2006/relationships"><Relationship Id="rId2" Type="http://schemas.openxmlformats.org/officeDocument/2006/relationships/image" Target="../media/image82.jpeg"/><Relationship Id="rId1" Type="http://schemas.openxmlformats.org/officeDocument/2006/relationships/slideLayout" Target="../slideLayouts/slideLayout20.xml"/></Relationships>
</file>

<file path=ppt/slides/_rels/slide36.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image" Target="../media/image77.jpeg"/><Relationship Id="rId1" Type="http://schemas.openxmlformats.org/officeDocument/2006/relationships/slideLayout" Target="../slideLayouts/slideLayout26.xml"/></Relationships>
</file>

<file path=ppt/slides/_rels/slide3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9.jpeg"/><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67.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44.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21.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el 31">
            <a:extLst>
              <a:ext uri="{FF2B5EF4-FFF2-40B4-BE49-F238E27FC236}">
                <a16:creationId xmlns:a16="http://schemas.microsoft.com/office/drawing/2014/main" id="{A51DA613-011A-5841-A3FA-68B2D005A18D}"/>
              </a:ext>
            </a:extLst>
          </p:cNvPr>
          <p:cNvSpPr>
            <a:spLocks noGrp="1"/>
          </p:cNvSpPr>
          <p:nvPr>
            <p:ph type="ctrTitle"/>
          </p:nvPr>
        </p:nvSpPr>
        <p:spPr>
          <a:xfrm>
            <a:off x="349384" y="1474051"/>
            <a:ext cx="10069011" cy="4070408"/>
          </a:xfrm>
        </p:spPr>
        <p:txBody>
          <a:bodyPr/>
          <a:lstStyle/>
          <a:p>
            <a:r>
              <a:rPr lang="da-DK" sz="7200" dirty="0"/>
              <a:t>SDU SIS </a:t>
            </a:r>
            <a:br>
              <a:rPr lang="da-DK" sz="7200" dirty="0"/>
            </a:br>
            <a:r>
              <a:rPr lang="da-DK" sz="7200" dirty="0"/>
              <a:t>program</a:t>
            </a:r>
            <a:br>
              <a:rPr lang="da-DK" sz="7200" dirty="0"/>
            </a:br>
            <a:br>
              <a:rPr lang="da-DK" sz="7200" dirty="0"/>
            </a:br>
            <a:br>
              <a:rPr lang="da-DK" sz="7200" dirty="0"/>
            </a:br>
            <a:endParaRPr lang="da-DK" sz="4400" dirty="0"/>
          </a:p>
        </p:txBody>
      </p:sp>
      <p:sp>
        <p:nvSpPr>
          <p:cNvPr id="3" name="Date Placeholder 2">
            <a:extLst>
              <a:ext uri="{FF2B5EF4-FFF2-40B4-BE49-F238E27FC236}">
                <a16:creationId xmlns:a16="http://schemas.microsoft.com/office/drawing/2014/main" id="{98CF08C6-7869-42F2-829E-6683126F4D25}"/>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3C7CD7C-F7E2-4FF3-B441-BD5C13FCA230}" type="datetime1">
              <a:rPr kumimoji="0" lang="da-DK" sz="1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2-05-2025</a:t>
            </a:fld>
            <a:endParaRPr kumimoji="0" lang="da-DK" sz="100" b="0" i="0" u="none" strike="noStrike" kern="1200" cap="none" spc="0" normalizeH="0" baseline="0" noProof="0">
              <a:ln>
                <a:noFill/>
              </a:ln>
              <a:noFill/>
              <a:effectLst/>
              <a:uLnTx/>
              <a:uFillTx/>
              <a:latin typeface="Arial"/>
              <a:ea typeface="+mn-ea"/>
              <a:cs typeface="+mn-cs"/>
            </a:endParaRPr>
          </a:p>
        </p:txBody>
      </p:sp>
      <p:pic>
        <p:nvPicPr>
          <p:cNvPr id="6" name="Picture 5" descr="Seated person typing on laptop and writing in notepad, with elbow resting on stack of books">
            <a:extLst>
              <a:ext uri="{FF2B5EF4-FFF2-40B4-BE49-F238E27FC236}">
                <a16:creationId xmlns:a16="http://schemas.microsoft.com/office/drawing/2014/main" id="{9289B3EE-B93D-47F8-BD93-C57F2807502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92756" y="1638184"/>
            <a:ext cx="3272327" cy="2181551"/>
          </a:xfrm>
          <a:prstGeom prst="rect">
            <a:avLst/>
          </a:prstGeom>
        </p:spPr>
      </p:pic>
      <p:pic>
        <p:nvPicPr>
          <p:cNvPr id="8" name="Picture 7" descr="Friends studying outdoors">
            <a:extLst>
              <a:ext uri="{FF2B5EF4-FFF2-40B4-BE49-F238E27FC236}">
                <a16:creationId xmlns:a16="http://schemas.microsoft.com/office/drawing/2014/main" id="{C9CAAE41-B7B6-4865-8777-A62B1A80B97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16015" y="262889"/>
            <a:ext cx="3683816" cy="2466070"/>
          </a:xfrm>
          <a:prstGeom prst="rect">
            <a:avLst/>
          </a:prstGeom>
        </p:spPr>
      </p:pic>
      <p:pic>
        <p:nvPicPr>
          <p:cNvPr id="5122" name="Picture 2" descr="Travlhed og engagement i SDU's Nyt SIS-program">
            <a:extLst>
              <a:ext uri="{FF2B5EF4-FFF2-40B4-BE49-F238E27FC236}">
                <a16:creationId xmlns:a16="http://schemas.microsoft.com/office/drawing/2014/main" id="{70C622FE-898F-CD42-E62B-B8C81019742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212929" y="3754421"/>
            <a:ext cx="4761460" cy="2711538"/>
          </a:xfrm>
          <a:prstGeom prst="rect">
            <a:avLst/>
          </a:prstGeom>
          <a:noFill/>
          <a:extLst>
            <a:ext uri="{909E8E84-426E-40DD-AFC4-6F175D3DCCD1}">
              <a14:hiddenFill xmlns:a14="http://schemas.microsoft.com/office/drawing/2010/main">
                <a:solidFill>
                  <a:srgbClr val="FFFFFF"/>
                </a:solidFill>
              </a14:hiddenFill>
            </a:ext>
          </a:extLst>
        </p:spPr>
      </p:pic>
    </p:spTree>
    <p:custDataLst>
      <p:custData r:id="rId1"/>
      <p:custData r:id="rId2"/>
    </p:custDataLst>
    <p:extLst>
      <p:ext uri="{BB962C8B-B14F-4D97-AF65-F5344CB8AC3E}">
        <p14:creationId xmlns:p14="http://schemas.microsoft.com/office/powerpoint/2010/main" val="126127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C65197-A588-E0AB-23BE-01E24BCFFBA1}"/>
            </a:ext>
          </a:extLst>
        </p:cNvPr>
        <p:cNvGrpSpPr/>
        <p:nvPr/>
      </p:nvGrpSpPr>
      <p:grpSpPr>
        <a:xfrm>
          <a:off x="0" y="0"/>
          <a:ext cx="0" cy="0"/>
          <a:chOff x="0" y="0"/>
          <a:chExt cx="0" cy="0"/>
        </a:xfrm>
      </p:grpSpPr>
      <p:graphicFrame>
        <p:nvGraphicFramePr>
          <p:cNvPr id="70" name="think-cell data - do not delete" hidden="1">
            <a:extLst>
              <a:ext uri="{FF2B5EF4-FFF2-40B4-BE49-F238E27FC236}">
                <a16:creationId xmlns:a16="http://schemas.microsoft.com/office/drawing/2014/main" id="{E0C253AE-BB17-9138-CF54-39611EE72C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1" imgH="340" progId="TCLayout.ActiveDocument.1">
                  <p:embed/>
                </p:oleObj>
              </mc:Choice>
              <mc:Fallback>
                <p:oleObj name="think-cell Slide" r:id="rId3" imgW="341" imgH="340" progId="TCLayout.ActiveDocument.1">
                  <p:embed/>
                  <p:pic>
                    <p:nvPicPr>
                      <p:cNvPr id="70" name="think-cell data - do not delete" hidden="1">
                        <a:extLst>
                          <a:ext uri="{FF2B5EF4-FFF2-40B4-BE49-F238E27FC236}">
                            <a16:creationId xmlns:a16="http://schemas.microsoft.com/office/drawing/2014/main" id="{E0C253AE-BB17-9138-CF54-39611EE72C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5D479C62-C0C8-DC7D-EDD7-BA8A6653982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F810D-F77C-4BB2-BE6A-BDC67BB44902}" type="slidenum">
              <a:rPr kumimoji="0" lang="da-DK" sz="800" b="1" i="0" u="none" strike="noStrike" kern="1200" cap="none" spc="0" normalizeH="0" baseline="0" noProof="0" smtClean="0">
                <a:ln>
                  <a:noFill/>
                </a:ln>
                <a:solidFill>
                  <a:srgbClr val="7A604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a-DK" sz="800" b="1" i="0" u="none" strike="noStrike" kern="1200" cap="none" spc="0" normalizeH="0" baseline="0" noProof="0">
              <a:ln>
                <a:noFill/>
              </a:ln>
              <a:solidFill>
                <a:srgbClr val="7A6040"/>
              </a:solidFill>
              <a:effectLst/>
              <a:uLnTx/>
              <a:uFillTx/>
              <a:latin typeface="Arial"/>
              <a:ea typeface="+mn-ea"/>
              <a:cs typeface="+mn-cs"/>
            </a:endParaRPr>
          </a:p>
        </p:txBody>
      </p:sp>
      <p:sp>
        <p:nvSpPr>
          <p:cNvPr id="5" name="Date Placeholder 4">
            <a:extLst>
              <a:ext uri="{FF2B5EF4-FFF2-40B4-BE49-F238E27FC236}">
                <a16:creationId xmlns:a16="http://schemas.microsoft.com/office/drawing/2014/main" id="{A150750C-13A4-08BF-7C9C-7D397A907687}"/>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85D110-0B52-4CB9-8AE7-B495E4D5B418}" type="datetime1">
              <a:rPr kumimoji="0" lang="da-DK" sz="800" b="0" i="0" u="none" strike="noStrike" kern="1200" cap="none" spc="0" normalizeH="0" baseline="0" noProof="0" smtClean="0">
                <a:ln>
                  <a:noFill/>
                </a:ln>
                <a:solidFill>
                  <a:srgbClr val="000000"/>
                </a:solidFill>
                <a:effectLst/>
                <a:uLnTx/>
                <a:uFillTx/>
                <a:latin typeface="Arial"/>
                <a:cs typeface="Times New Roman" panose="02020603050405020304"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08-05-2025</a:t>
            </a:fld>
            <a:endParaRPr kumimoji="0" lang="da-DK" sz="800" b="0" i="0" u="none" strike="noStrike" kern="1200" cap="none" spc="0" normalizeH="0" baseline="0" noProof="0">
              <a:ln>
                <a:noFill/>
              </a:ln>
              <a:solidFill>
                <a:srgbClr val="000000"/>
              </a:solidFill>
              <a:effectLst/>
              <a:uLnTx/>
              <a:uFillTx/>
              <a:latin typeface="Arial"/>
              <a:cs typeface="Times New Roman" panose="02020603050405020304" pitchFamily="18" charset="0"/>
            </a:endParaRPr>
          </a:p>
        </p:txBody>
      </p:sp>
      <p:graphicFrame>
        <p:nvGraphicFramePr>
          <p:cNvPr id="405" name="Tabel 108">
            <a:extLst>
              <a:ext uri="{FF2B5EF4-FFF2-40B4-BE49-F238E27FC236}">
                <a16:creationId xmlns:a16="http://schemas.microsoft.com/office/drawing/2014/main" id="{A5DC8B33-8601-9BC8-01CA-D6531AE09CE3}"/>
              </a:ext>
            </a:extLst>
          </p:cNvPr>
          <p:cNvGraphicFramePr>
            <a:graphicFrameLocks/>
          </p:cNvGraphicFramePr>
          <p:nvPr/>
        </p:nvGraphicFramePr>
        <p:xfrm>
          <a:off x="1862269" y="1179363"/>
          <a:ext cx="8727687" cy="2091769"/>
        </p:xfrm>
        <a:graphic>
          <a:graphicData uri="http://schemas.openxmlformats.org/drawingml/2006/table">
            <a:tbl>
              <a:tblPr firstRow="1" bandRow="1">
                <a:tableStyleId>{5C22544A-7EE6-4342-B048-85BDC9FD1C3A}</a:tableStyleId>
              </a:tblPr>
              <a:tblGrid>
                <a:gridCol w="150472">
                  <a:extLst>
                    <a:ext uri="{9D8B030D-6E8A-4147-A177-3AD203B41FA5}">
                      <a16:colId xmlns:a16="http://schemas.microsoft.com/office/drawing/2014/main" val="2924432480"/>
                    </a:ext>
                  </a:extLst>
                </a:gridCol>
                <a:gridCol w="150472">
                  <a:extLst>
                    <a:ext uri="{9D8B030D-6E8A-4147-A177-3AD203B41FA5}">
                      <a16:colId xmlns:a16="http://schemas.microsoft.com/office/drawing/2014/main" val="1396939406"/>
                    </a:ext>
                  </a:extLst>
                </a:gridCol>
                <a:gridCol w="150472">
                  <a:extLst>
                    <a:ext uri="{9D8B030D-6E8A-4147-A177-3AD203B41FA5}">
                      <a16:colId xmlns:a16="http://schemas.microsoft.com/office/drawing/2014/main" val="2099240299"/>
                    </a:ext>
                  </a:extLst>
                </a:gridCol>
                <a:gridCol w="150472">
                  <a:extLst>
                    <a:ext uri="{9D8B030D-6E8A-4147-A177-3AD203B41FA5}">
                      <a16:colId xmlns:a16="http://schemas.microsoft.com/office/drawing/2014/main" val="1448060201"/>
                    </a:ext>
                  </a:extLst>
                </a:gridCol>
                <a:gridCol w="150472">
                  <a:extLst>
                    <a:ext uri="{9D8B030D-6E8A-4147-A177-3AD203B41FA5}">
                      <a16:colId xmlns:a16="http://schemas.microsoft.com/office/drawing/2014/main" val="821749116"/>
                    </a:ext>
                  </a:extLst>
                </a:gridCol>
                <a:gridCol w="150472">
                  <a:extLst>
                    <a:ext uri="{9D8B030D-6E8A-4147-A177-3AD203B41FA5}">
                      <a16:colId xmlns:a16="http://schemas.microsoft.com/office/drawing/2014/main" val="2082684361"/>
                    </a:ext>
                  </a:extLst>
                </a:gridCol>
                <a:gridCol w="150472">
                  <a:extLst>
                    <a:ext uri="{9D8B030D-6E8A-4147-A177-3AD203B41FA5}">
                      <a16:colId xmlns:a16="http://schemas.microsoft.com/office/drawing/2014/main" val="1962834866"/>
                    </a:ext>
                  </a:extLst>
                </a:gridCol>
                <a:gridCol w="150472">
                  <a:extLst>
                    <a:ext uri="{9D8B030D-6E8A-4147-A177-3AD203B41FA5}">
                      <a16:colId xmlns:a16="http://schemas.microsoft.com/office/drawing/2014/main" val="1344082002"/>
                    </a:ext>
                  </a:extLst>
                </a:gridCol>
                <a:gridCol w="150472">
                  <a:extLst>
                    <a:ext uri="{9D8B030D-6E8A-4147-A177-3AD203B41FA5}">
                      <a16:colId xmlns:a16="http://schemas.microsoft.com/office/drawing/2014/main" val="4195806889"/>
                    </a:ext>
                  </a:extLst>
                </a:gridCol>
                <a:gridCol w="150472">
                  <a:extLst>
                    <a:ext uri="{9D8B030D-6E8A-4147-A177-3AD203B41FA5}">
                      <a16:colId xmlns:a16="http://schemas.microsoft.com/office/drawing/2014/main" val="1688644687"/>
                    </a:ext>
                  </a:extLst>
                </a:gridCol>
                <a:gridCol w="150472">
                  <a:extLst>
                    <a:ext uri="{9D8B030D-6E8A-4147-A177-3AD203B41FA5}">
                      <a16:colId xmlns:a16="http://schemas.microsoft.com/office/drawing/2014/main" val="3144656600"/>
                    </a:ext>
                  </a:extLst>
                </a:gridCol>
                <a:gridCol w="150472">
                  <a:extLst>
                    <a:ext uri="{9D8B030D-6E8A-4147-A177-3AD203B41FA5}">
                      <a16:colId xmlns:a16="http://schemas.microsoft.com/office/drawing/2014/main" val="588067925"/>
                    </a:ext>
                  </a:extLst>
                </a:gridCol>
                <a:gridCol w="150472">
                  <a:extLst>
                    <a:ext uri="{9D8B030D-6E8A-4147-A177-3AD203B41FA5}">
                      <a16:colId xmlns:a16="http://schemas.microsoft.com/office/drawing/2014/main" val="992777325"/>
                    </a:ext>
                  </a:extLst>
                </a:gridCol>
                <a:gridCol w="150472">
                  <a:extLst>
                    <a:ext uri="{9D8B030D-6E8A-4147-A177-3AD203B41FA5}">
                      <a16:colId xmlns:a16="http://schemas.microsoft.com/office/drawing/2014/main" val="3624084395"/>
                    </a:ext>
                  </a:extLst>
                </a:gridCol>
                <a:gridCol w="150472">
                  <a:extLst>
                    <a:ext uri="{9D8B030D-6E8A-4147-A177-3AD203B41FA5}">
                      <a16:colId xmlns:a16="http://schemas.microsoft.com/office/drawing/2014/main" val="282836593"/>
                    </a:ext>
                  </a:extLst>
                </a:gridCol>
                <a:gridCol w="150472">
                  <a:extLst>
                    <a:ext uri="{9D8B030D-6E8A-4147-A177-3AD203B41FA5}">
                      <a16:colId xmlns:a16="http://schemas.microsoft.com/office/drawing/2014/main" val="3924484827"/>
                    </a:ext>
                  </a:extLst>
                </a:gridCol>
                <a:gridCol w="150472">
                  <a:extLst>
                    <a:ext uri="{9D8B030D-6E8A-4147-A177-3AD203B41FA5}">
                      <a16:colId xmlns:a16="http://schemas.microsoft.com/office/drawing/2014/main" val="324453350"/>
                    </a:ext>
                  </a:extLst>
                </a:gridCol>
                <a:gridCol w="150472">
                  <a:extLst>
                    <a:ext uri="{9D8B030D-6E8A-4147-A177-3AD203B41FA5}">
                      <a16:colId xmlns:a16="http://schemas.microsoft.com/office/drawing/2014/main" val="1470681282"/>
                    </a:ext>
                  </a:extLst>
                </a:gridCol>
                <a:gridCol w="150472">
                  <a:extLst>
                    <a:ext uri="{9D8B030D-6E8A-4147-A177-3AD203B41FA5}">
                      <a16:colId xmlns:a16="http://schemas.microsoft.com/office/drawing/2014/main" val="3566572529"/>
                    </a:ext>
                  </a:extLst>
                </a:gridCol>
                <a:gridCol w="150472">
                  <a:extLst>
                    <a:ext uri="{9D8B030D-6E8A-4147-A177-3AD203B41FA5}">
                      <a16:colId xmlns:a16="http://schemas.microsoft.com/office/drawing/2014/main" val="3839713143"/>
                    </a:ext>
                  </a:extLst>
                </a:gridCol>
                <a:gridCol w="150472">
                  <a:extLst>
                    <a:ext uri="{9D8B030D-6E8A-4147-A177-3AD203B41FA5}">
                      <a16:colId xmlns:a16="http://schemas.microsoft.com/office/drawing/2014/main" val="2926683937"/>
                    </a:ext>
                  </a:extLst>
                </a:gridCol>
                <a:gridCol w="150472">
                  <a:extLst>
                    <a:ext uri="{9D8B030D-6E8A-4147-A177-3AD203B41FA5}">
                      <a16:colId xmlns:a16="http://schemas.microsoft.com/office/drawing/2014/main" val="1579033401"/>
                    </a:ext>
                  </a:extLst>
                </a:gridCol>
                <a:gridCol w="150472">
                  <a:extLst>
                    <a:ext uri="{9D8B030D-6E8A-4147-A177-3AD203B41FA5}">
                      <a16:colId xmlns:a16="http://schemas.microsoft.com/office/drawing/2014/main" val="1697048550"/>
                    </a:ext>
                  </a:extLst>
                </a:gridCol>
                <a:gridCol w="150472">
                  <a:extLst>
                    <a:ext uri="{9D8B030D-6E8A-4147-A177-3AD203B41FA5}">
                      <a16:colId xmlns:a16="http://schemas.microsoft.com/office/drawing/2014/main" val="4287557255"/>
                    </a:ext>
                  </a:extLst>
                </a:gridCol>
                <a:gridCol w="150472">
                  <a:extLst>
                    <a:ext uri="{9D8B030D-6E8A-4147-A177-3AD203B41FA5}">
                      <a16:colId xmlns:a16="http://schemas.microsoft.com/office/drawing/2014/main" val="2276065208"/>
                    </a:ext>
                  </a:extLst>
                </a:gridCol>
                <a:gridCol w="150472">
                  <a:extLst>
                    <a:ext uri="{9D8B030D-6E8A-4147-A177-3AD203B41FA5}">
                      <a16:colId xmlns:a16="http://schemas.microsoft.com/office/drawing/2014/main" val="3568519413"/>
                    </a:ext>
                  </a:extLst>
                </a:gridCol>
                <a:gridCol w="150472">
                  <a:extLst>
                    <a:ext uri="{9D8B030D-6E8A-4147-A177-3AD203B41FA5}">
                      <a16:colId xmlns:a16="http://schemas.microsoft.com/office/drawing/2014/main" val="3508908622"/>
                    </a:ext>
                  </a:extLst>
                </a:gridCol>
                <a:gridCol w="150472">
                  <a:extLst>
                    <a:ext uri="{9D8B030D-6E8A-4147-A177-3AD203B41FA5}">
                      <a16:colId xmlns:a16="http://schemas.microsoft.com/office/drawing/2014/main" val="3238322789"/>
                    </a:ext>
                  </a:extLst>
                </a:gridCol>
                <a:gridCol w="150472">
                  <a:extLst>
                    <a:ext uri="{9D8B030D-6E8A-4147-A177-3AD203B41FA5}">
                      <a16:colId xmlns:a16="http://schemas.microsoft.com/office/drawing/2014/main" val="1851235184"/>
                    </a:ext>
                  </a:extLst>
                </a:gridCol>
                <a:gridCol w="150472">
                  <a:extLst>
                    <a:ext uri="{9D8B030D-6E8A-4147-A177-3AD203B41FA5}">
                      <a16:colId xmlns:a16="http://schemas.microsoft.com/office/drawing/2014/main" val="1610244907"/>
                    </a:ext>
                  </a:extLst>
                </a:gridCol>
                <a:gridCol w="150472">
                  <a:extLst>
                    <a:ext uri="{9D8B030D-6E8A-4147-A177-3AD203B41FA5}">
                      <a16:colId xmlns:a16="http://schemas.microsoft.com/office/drawing/2014/main" val="1366419406"/>
                    </a:ext>
                  </a:extLst>
                </a:gridCol>
                <a:gridCol w="150472">
                  <a:extLst>
                    <a:ext uri="{9D8B030D-6E8A-4147-A177-3AD203B41FA5}">
                      <a16:colId xmlns:a16="http://schemas.microsoft.com/office/drawing/2014/main" val="2844455277"/>
                    </a:ext>
                  </a:extLst>
                </a:gridCol>
                <a:gridCol w="150472">
                  <a:extLst>
                    <a:ext uri="{9D8B030D-6E8A-4147-A177-3AD203B41FA5}">
                      <a16:colId xmlns:a16="http://schemas.microsoft.com/office/drawing/2014/main" val="1646279108"/>
                    </a:ext>
                  </a:extLst>
                </a:gridCol>
                <a:gridCol w="150472">
                  <a:extLst>
                    <a:ext uri="{9D8B030D-6E8A-4147-A177-3AD203B41FA5}">
                      <a16:colId xmlns:a16="http://schemas.microsoft.com/office/drawing/2014/main" val="121150681"/>
                    </a:ext>
                  </a:extLst>
                </a:gridCol>
                <a:gridCol w="150472">
                  <a:extLst>
                    <a:ext uri="{9D8B030D-6E8A-4147-A177-3AD203B41FA5}">
                      <a16:colId xmlns:a16="http://schemas.microsoft.com/office/drawing/2014/main" val="2448373559"/>
                    </a:ext>
                  </a:extLst>
                </a:gridCol>
                <a:gridCol w="150472">
                  <a:extLst>
                    <a:ext uri="{9D8B030D-6E8A-4147-A177-3AD203B41FA5}">
                      <a16:colId xmlns:a16="http://schemas.microsoft.com/office/drawing/2014/main" val="1110507613"/>
                    </a:ext>
                  </a:extLst>
                </a:gridCol>
                <a:gridCol w="150472">
                  <a:extLst>
                    <a:ext uri="{9D8B030D-6E8A-4147-A177-3AD203B41FA5}">
                      <a16:colId xmlns:a16="http://schemas.microsoft.com/office/drawing/2014/main" val="4189347155"/>
                    </a:ext>
                  </a:extLst>
                </a:gridCol>
                <a:gridCol w="150472">
                  <a:extLst>
                    <a:ext uri="{9D8B030D-6E8A-4147-A177-3AD203B41FA5}">
                      <a16:colId xmlns:a16="http://schemas.microsoft.com/office/drawing/2014/main" val="284149967"/>
                    </a:ext>
                  </a:extLst>
                </a:gridCol>
                <a:gridCol w="150472">
                  <a:extLst>
                    <a:ext uri="{9D8B030D-6E8A-4147-A177-3AD203B41FA5}">
                      <a16:colId xmlns:a16="http://schemas.microsoft.com/office/drawing/2014/main" val="3343557818"/>
                    </a:ext>
                  </a:extLst>
                </a:gridCol>
                <a:gridCol w="150472">
                  <a:extLst>
                    <a:ext uri="{9D8B030D-6E8A-4147-A177-3AD203B41FA5}">
                      <a16:colId xmlns:a16="http://schemas.microsoft.com/office/drawing/2014/main" val="2013287288"/>
                    </a:ext>
                  </a:extLst>
                </a:gridCol>
                <a:gridCol w="150472">
                  <a:extLst>
                    <a:ext uri="{9D8B030D-6E8A-4147-A177-3AD203B41FA5}">
                      <a16:colId xmlns:a16="http://schemas.microsoft.com/office/drawing/2014/main" val="1961695426"/>
                    </a:ext>
                  </a:extLst>
                </a:gridCol>
                <a:gridCol w="150472">
                  <a:extLst>
                    <a:ext uri="{9D8B030D-6E8A-4147-A177-3AD203B41FA5}">
                      <a16:colId xmlns:a16="http://schemas.microsoft.com/office/drawing/2014/main" val="2569545481"/>
                    </a:ext>
                  </a:extLst>
                </a:gridCol>
                <a:gridCol w="150472">
                  <a:extLst>
                    <a:ext uri="{9D8B030D-6E8A-4147-A177-3AD203B41FA5}">
                      <a16:colId xmlns:a16="http://schemas.microsoft.com/office/drawing/2014/main" val="370926497"/>
                    </a:ext>
                  </a:extLst>
                </a:gridCol>
                <a:gridCol w="150472">
                  <a:extLst>
                    <a:ext uri="{9D8B030D-6E8A-4147-A177-3AD203B41FA5}">
                      <a16:colId xmlns:a16="http://schemas.microsoft.com/office/drawing/2014/main" val="1739912208"/>
                    </a:ext>
                  </a:extLst>
                </a:gridCol>
                <a:gridCol w="150472">
                  <a:extLst>
                    <a:ext uri="{9D8B030D-6E8A-4147-A177-3AD203B41FA5}">
                      <a16:colId xmlns:a16="http://schemas.microsoft.com/office/drawing/2014/main" val="2843812604"/>
                    </a:ext>
                  </a:extLst>
                </a:gridCol>
                <a:gridCol w="150472">
                  <a:extLst>
                    <a:ext uri="{9D8B030D-6E8A-4147-A177-3AD203B41FA5}">
                      <a16:colId xmlns:a16="http://schemas.microsoft.com/office/drawing/2014/main" val="3481596174"/>
                    </a:ext>
                  </a:extLst>
                </a:gridCol>
                <a:gridCol w="150472">
                  <a:extLst>
                    <a:ext uri="{9D8B030D-6E8A-4147-A177-3AD203B41FA5}">
                      <a16:colId xmlns:a16="http://schemas.microsoft.com/office/drawing/2014/main" val="3953554715"/>
                    </a:ext>
                  </a:extLst>
                </a:gridCol>
                <a:gridCol w="150472">
                  <a:extLst>
                    <a:ext uri="{9D8B030D-6E8A-4147-A177-3AD203B41FA5}">
                      <a16:colId xmlns:a16="http://schemas.microsoft.com/office/drawing/2014/main" val="866342025"/>
                    </a:ext>
                  </a:extLst>
                </a:gridCol>
                <a:gridCol w="150472">
                  <a:extLst>
                    <a:ext uri="{9D8B030D-6E8A-4147-A177-3AD203B41FA5}">
                      <a16:colId xmlns:a16="http://schemas.microsoft.com/office/drawing/2014/main" val="2371264260"/>
                    </a:ext>
                  </a:extLst>
                </a:gridCol>
                <a:gridCol w="150472">
                  <a:extLst>
                    <a:ext uri="{9D8B030D-6E8A-4147-A177-3AD203B41FA5}">
                      <a16:colId xmlns:a16="http://schemas.microsoft.com/office/drawing/2014/main" val="1921856382"/>
                    </a:ext>
                  </a:extLst>
                </a:gridCol>
                <a:gridCol w="150472">
                  <a:extLst>
                    <a:ext uri="{9D8B030D-6E8A-4147-A177-3AD203B41FA5}">
                      <a16:colId xmlns:a16="http://schemas.microsoft.com/office/drawing/2014/main" val="4096794350"/>
                    </a:ext>
                  </a:extLst>
                </a:gridCol>
                <a:gridCol w="150472">
                  <a:extLst>
                    <a:ext uri="{9D8B030D-6E8A-4147-A177-3AD203B41FA5}">
                      <a16:colId xmlns:a16="http://schemas.microsoft.com/office/drawing/2014/main" val="2411835788"/>
                    </a:ext>
                  </a:extLst>
                </a:gridCol>
                <a:gridCol w="150472">
                  <a:extLst>
                    <a:ext uri="{9D8B030D-6E8A-4147-A177-3AD203B41FA5}">
                      <a16:colId xmlns:a16="http://schemas.microsoft.com/office/drawing/2014/main" val="1947727184"/>
                    </a:ext>
                  </a:extLst>
                </a:gridCol>
                <a:gridCol w="150472">
                  <a:extLst>
                    <a:ext uri="{9D8B030D-6E8A-4147-A177-3AD203B41FA5}">
                      <a16:colId xmlns:a16="http://schemas.microsoft.com/office/drawing/2014/main" val="569886203"/>
                    </a:ext>
                  </a:extLst>
                </a:gridCol>
                <a:gridCol w="150472">
                  <a:extLst>
                    <a:ext uri="{9D8B030D-6E8A-4147-A177-3AD203B41FA5}">
                      <a16:colId xmlns:a16="http://schemas.microsoft.com/office/drawing/2014/main" val="3721629803"/>
                    </a:ext>
                  </a:extLst>
                </a:gridCol>
                <a:gridCol w="150783">
                  <a:extLst>
                    <a:ext uri="{9D8B030D-6E8A-4147-A177-3AD203B41FA5}">
                      <a16:colId xmlns:a16="http://schemas.microsoft.com/office/drawing/2014/main" val="2606377024"/>
                    </a:ext>
                  </a:extLst>
                </a:gridCol>
                <a:gridCol w="150472">
                  <a:extLst>
                    <a:ext uri="{9D8B030D-6E8A-4147-A177-3AD203B41FA5}">
                      <a16:colId xmlns:a16="http://schemas.microsoft.com/office/drawing/2014/main" val="882835426"/>
                    </a:ext>
                  </a:extLst>
                </a:gridCol>
                <a:gridCol w="150472">
                  <a:extLst>
                    <a:ext uri="{9D8B030D-6E8A-4147-A177-3AD203B41FA5}">
                      <a16:colId xmlns:a16="http://schemas.microsoft.com/office/drawing/2014/main" val="442675726"/>
                    </a:ext>
                  </a:extLst>
                </a:gridCol>
              </a:tblGrid>
              <a:tr h="2091769">
                <a:tc>
                  <a:txBody>
                    <a:bodyPr/>
                    <a:lstStyle/>
                    <a:p>
                      <a:pPr algn="ctr"/>
                      <a:endParaRPr lang="da-DK" sz="700"/>
                    </a:p>
                  </a:txBody>
                  <a:tcPr marL="60342" marR="60342" marT="30171" marB="30171">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18169951"/>
                  </a:ext>
                </a:extLst>
              </a:tr>
            </a:tbl>
          </a:graphicData>
        </a:graphic>
      </p:graphicFrame>
      <p:graphicFrame>
        <p:nvGraphicFramePr>
          <p:cNvPr id="406" name="Tabel 109">
            <a:extLst>
              <a:ext uri="{FF2B5EF4-FFF2-40B4-BE49-F238E27FC236}">
                <a16:creationId xmlns:a16="http://schemas.microsoft.com/office/drawing/2014/main" id="{FB15F795-06E9-F35A-BB56-B82FB43AE1C2}"/>
              </a:ext>
            </a:extLst>
          </p:cNvPr>
          <p:cNvGraphicFramePr>
            <a:graphicFrameLocks/>
          </p:cNvGraphicFramePr>
          <p:nvPr/>
        </p:nvGraphicFramePr>
        <p:xfrm>
          <a:off x="1864515" y="1085917"/>
          <a:ext cx="8725440" cy="326680"/>
        </p:xfrm>
        <a:graphic>
          <a:graphicData uri="http://schemas.openxmlformats.org/drawingml/2006/table">
            <a:tbl>
              <a:tblPr firstRow="1" bandRow="1">
                <a:tableStyleId>{5C22544A-7EE6-4342-B048-85BDC9FD1C3A}</a:tableStyleId>
              </a:tblPr>
              <a:tblGrid>
                <a:gridCol w="449504">
                  <a:extLst>
                    <a:ext uri="{9D8B030D-6E8A-4147-A177-3AD203B41FA5}">
                      <a16:colId xmlns:a16="http://schemas.microsoft.com/office/drawing/2014/main" val="3571197806"/>
                    </a:ext>
                  </a:extLst>
                </a:gridCol>
                <a:gridCol w="1805094">
                  <a:extLst>
                    <a:ext uri="{9D8B030D-6E8A-4147-A177-3AD203B41FA5}">
                      <a16:colId xmlns:a16="http://schemas.microsoft.com/office/drawing/2014/main" val="988235159"/>
                    </a:ext>
                  </a:extLst>
                </a:gridCol>
                <a:gridCol w="1803678">
                  <a:extLst>
                    <a:ext uri="{9D8B030D-6E8A-4147-A177-3AD203B41FA5}">
                      <a16:colId xmlns:a16="http://schemas.microsoft.com/office/drawing/2014/main" val="1907871685"/>
                    </a:ext>
                  </a:extLst>
                </a:gridCol>
                <a:gridCol w="1803678">
                  <a:extLst>
                    <a:ext uri="{9D8B030D-6E8A-4147-A177-3AD203B41FA5}">
                      <a16:colId xmlns:a16="http://schemas.microsoft.com/office/drawing/2014/main" val="4143803753"/>
                    </a:ext>
                  </a:extLst>
                </a:gridCol>
                <a:gridCol w="1803678">
                  <a:extLst>
                    <a:ext uri="{9D8B030D-6E8A-4147-A177-3AD203B41FA5}">
                      <a16:colId xmlns:a16="http://schemas.microsoft.com/office/drawing/2014/main" val="1432371263"/>
                    </a:ext>
                  </a:extLst>
                </a:gridCol>
                <a:gridCol w="1059808">
                  <a:extLst>
                    <a:ext uri="{9D8B030D-6E8A-4147-A177-3AD203B41FA5}">
                      <a16:colId xmlns:a16="http://schemas.microsoft.com/office/drawing/2014/main" val="3322113256"/>
                    </a:ext>
                  </a:extLst>
                </a:gridCol>
              </a:tblGrid>
              <a:tr h="326680">
                <a:tc>
                  <a:txBody>
                    <a:bodyPr/>
                    <a:lstStyle/>
                    <a:p>
                      <a:pPr algn="ctr"/>
                      <a:r>
                        <a:rPr lang="en-US" sz="900"/>
                        <a:t>2024</a:t>
                      </a:r>
                      <a:endParaRPr lang="da-DK" sz="900"/>
                    </a:p>
                  </a:txBody>
                  <a:tcPr anchor="ctr">
                    <a:solidFill>
                      <a:srgbClr val="4A8588"/>
                    </a:solidFill>
                  </a:tcPr>
                </a:tc>
                <a:tc>
                  <a:txBody>
                    <a:bodyPr/>
                    <a:lstStyle/>
                    <a:p>
                      <a:pPr algn="ctr"/>
                      <a:r>
                        <a:rPr lang="en-US" sz="900"/>
                        <a:t>2025</a:t>
                      </a:r>
                      <a:endParaRPr lang="da-DK" sz="900"/>
                    </a:p>
                  </a:txBody>
                  <a:tcPr anchor="ctr">
                    <a:solidFill>
                      <a:srgbClr val="4A8588"/>
                    </a:solidFill>
                  </a:tcPr>
                </a:tc>
                <a:tc>
                  <a:txBody>
                    <a:bodyPr/>
                    <a:lstStyle/>
                    <a:p>
                      <a:pPr algn="ctr"/>
                      <a:r>
                        <a:rPr lang="en-US" sz="900"/>
                        <a:t>2026</a:t>
                      </a:r>
                      <a:endParaRPr lang="da-DK" sz="900"/>
                    </a:p>
                  </a:txBody>
                  <a:tcPr anchor="ctr">
                    <a:solidFill>
                      <a:srgbClr val="4A8588"/>
                    </a:solidFill>
                  </a:tcPr>
                </a:tc>
                <a:tc>
                  <a:txBody>
                    <a:bodyPr/>
                    <a:lstStyle/>
                    <a:p>
                      <a:pPr algn="ctr"/>
                      <a:r>
                        <a:rPr lang="en-US" sz="900"/>
                        <a:t>2027</a:t>
                      </a:r>
                      <a:endParaRPr lang="da-DK" sz="900"/>
                    </a:p>
                  </a:txBody>
                  <a:tcPr anchor="ctr">
                    <a:solidFill>
                      <a:srgbClr val="4A8588"/>
                    </a:solidFill>
                  </a:tcPr>
                </a:tc>
                <a:tc>
                  <a:txBody>
                    <a:bodyPr/>
                    <a:lstStyle/>
                    <a:p>
                      <a:pPr algn="ctr"/>
                      <a:r>
                        <a:rPr lang="en-US" sz="900"/>
                        <a:t>2028</a:t>
                      </a:r>
                      <a:endParaRPr lang="da-DK" sz="900"/>
                    </a:p>
                  </a:txBody>
                  <a:tcPr anchor="ctr">
                    <a:solidFill>
                      <a:srgbClr val="4A8588"/>
                    </a:solidFill>
                  </a:tcPr>
                </a:tc>
                <a:tc>
                  <a:txBody>
                    <a:bodyPr/>
                    <a:lstStyle/>
                    <a:p>
                      <a:pPr algn="ctr"/>
                      <a:r>
                        <a:rPr lang="da-DK" sz="900"/>
                        <a:t>2029</a:t>
                      </a:r>
                    </a:p>
                  </a:txBody>
                  <a:tcPr anchor="ctr">
                    <a:solidFill>
                      <a:srgbClr val="4A8588"/>
                    </a:solidFill>
                  </a:tcPr>
                </a:tc>
                <a:extLst>
                  <a:ext uri="{0D108BD9-81ED-4DB2-BD59-A6C34878D82A}">
                    <a16:rowId xmlns:a16="http://schemas.microsoft.com/office/drawing/2014/main" val="2057819156"/>
                  </a:ext>
                </a:extLst>
              </a:tr>
            </a:tbl>
          </a:graphicData>
        </a:graphic>
      </p:graphicFrame>
      <p:pic>
        <p:nvPicPr>
          <p:cNvPr id="407" name="Billede 110">
            <a:extLst>
              <a:ext uri="{FF2B5EF4-FFF2-40B4-BE49-F238E27FC236}">
                <a16:creationId xmlns:a16="http://schemas.microsoft.com/office/drawing/2014/main" id="{422A44A4-FBAE-514E-E029-FC1772E37B47}"/>
              </a:ext>
            </a:extLst>
          </p:cNvPr>
          <p:cNvPicPr>
            <a:picLocks noChangeAspect="1"/>
          </p:cNvPicPr>
          <p:nvPr/>
        </p:nvPicPr>
        <p:blipFill>
          <a:blip r:embed="rId5"/>
          <a:stretch>
            <a:fillRect/>
          </a:stretch>
        </p:blipFill>
        <p:spPr>
          <a:xfrm>
            <a:off x="1836909" y="1402697"/>
            <a:ext cx="8780637" cy="194636"/>
          </a:xfrm>
          <a:prstGeom prst="rect">
            <a:avLst/>
          </a:prstGeom>
        </p:spPr>
      </p:pic>
      <p:sp>
        <p:nvSpPr>
          <p:cNvPr id="413" name="Rektangel: afrundede hjørner 114">
            <a:extLst>
              <a:ext uri="{FF2B5EF4-FFF2-40B4-BE49-F238E27FC236}">
                <a16:creationId xmlns:a16="http://schemas.microsoft.com/office/drawing/2014/main" id="{FD7308BF-5CA6-E91C-7296-48DBCCE22914}"/>
              </a:ext>
            </a:extLst>
          </p:cNvPr>
          <p:cNvSpPr>
            <a:spLocks/>
          </p:cNvSpPr>
          <p:nvPr/>
        </p:nvSpPr>
        <p:spPr>
          <a:xfrm>
            <a:off x="1858114" y="1709409"/>
            <a:ext cx="1956807" cy="155364"/>
          </a:xfrm>
          <a:prstGeom prst="flowChartProcess">
            <a:avLst/>
          </a:prstGeom>
          <a:solidFill>
            <a:srgbClr val="2061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Designfase</a:t>
            </a:r>
          </a:p>
        </p:txBody>
      </p:sp>
      <p:sp>
        <p:nvSpPr>
          <p:cNvPr id="415" name="Rektangel: afrundede hjørner 117">
            <a:extLst>
              <a:ext uri="{FF2B5EF4-FFF2-40B4-BE49-F238E27FC236}">
                <a16:creationId xmlns:a16="http://schemas.microsoft.com/office/drawing/2014/main" id="{2B2BF1AF-27CC-2112-2877-CC45292FCF7C}"/>
              </a:ext>
            </a:extLst>
          </p:cNvPr>
          <p:cNvSpPr>
            <a:spLocks/>
          </p:cNvSpPr>
          <p:nvPr/>
        </p:nvSpPr>
        <p:spPr>
          <a:xfrm>
            <a:off x="6528193" y="3097587"/>
            <a:ext cx="4050000" cy="136478"/>
          </a:xfrm>
          <a:prstGeom prst="homePlate">
            <a:avLst/>
          </a:prstGeom>
          <a:solidFill>
            <a:srgbClr val="2061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Driftsfase</a:t>
            </a:r>
          </a:p>
        </p:txBody>
      </p:sp>
      <p:sp>
        <p:nvSpPr>
          <p:cNvPr id="417" name="Rektangel: afrundede hjørner 119">
            <a:extLst>
              <a:ext uri="{FF2B5EF4-FFF2-40B4-BE49-F238E27FC236}">
                <a16:creationId xmlns:a16="http://schemas.microsoft.com/office/drawing/2014/main" id="{58FA83C8-C379-6662-7B6B-31FDA67077A9}"/>
              </a:ext>
            </a:extLst>
          </p:cNvPr>
          <p:cNvSpPr>
            <a:spLocks/>
          </p:cNvSpPr>
          <p:nvPr/>
        </p:nvSpPr>
        <p:spPr>
          <a:xfrm>
            <a:off x="4573402" y="2102862"/>
            <a:ext cx="1800000" cy="136478"/>
          </a:xfrm>
          <a:prstGeom prst="flowChartProcess">
            <a:avLst/>
          </a:prstGeom>
          <a:solidFill>
            <a:srgbClr val="2061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DTU</a:t>
            </a:r>
          </a:p>
        </p:txBody>
      </p:sp>
      <p:sp>
        <p:nvSpPr>
          <p:cNvPr id="418" name="Rektangel: afrundede hjørner 120">
            <a:extLst>
              <a:ext uri="{FF2B5EF4-FFF2-40B4-BE49-F238E27FC236}">
                <a16:creationId xmlns:a16="http://schemas.microsoft.com/office/drawing/2014/main" id="{6B3C6C92-F11E-3D8F-5A53-CEA9BD49C3E5}"/>
              </a:ext>
            </a:extLst>
          </p:cNvPr>
          <p:cNvSpPr>
            <a:spLocks/>
          </p:cNvSpPr>
          <p:nvPr/>
        </p:nvSpPr>
        <p:spPr>
          <a:xfrm>
            <a:off x="5628618" y="2450688"/>
            <a:ext cx="1796400" cy="136478"/>
          </a:xfrm>
          <a:prstGeom prst="flowChartProcess">
            <a:avLst/>
          </a:prstGeom>
          <a:solidFill>
            <a:srgbClr val="2061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CBS</a:t>
            </a:r>
          </a:p>
        </p:txBody>
      </p:sp>
      <p:sp>
        <p:nvSpPr>
          <p:cNvPr id="419" name="Rektangel: afrundede hjørner 121">
            <a:extLst>
              <a:ext uri="{FF2B5EF4-FFF2-40B4-BE49-F238E27FC236}">
                <a16:creationId xmlns:a16="http://schemas.microsoft.com/office/drawing/2014/main" id="{BFD9F5D1-A47B-7068-F420-D2BC0A8B9EFD}"/>
              </a:ext>
            </a:extLst>
          </p:cNvPr>
          <p:cNvSpPr>
            <a:spLocks/>
          </p:cNvSpPr>
          <p:nvPr/>
        </p:nvSpPr>
        <p:spPr>
          <a:xfrm>
            <a:off x="6380772" y="2624601"/>
            <a:ext cx="1800000" cy="136478"/>
          </a:xfrm>
          <a:prstGeom prst="flowChartProcess">
            <a:avLst/>
          </a:prstGeom>
          <a:solidFill>
            <a:srgbClr val="2061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SDU</a:t>
            </a:r>
          </a:p>
        </p:txBody>
      </p:sp>
      <p:sp>
        <p:nvSpPr>
          <p:cNvPr id="420" name="Rektangel: afrundede hjørner 121">
            <a:extLst>
              <a:ext uri="{FF2B5EF4-FFF2-40B4-BE49-F238E27FC236}">
                <a16:creationId xmlns:a16="http://schemas.microsoft.com/office/drawing/2014/main" id="{34368F50-0262-4717-6D42-27942E240573}"/>
              </a:ext>
            </a:extLst>
          </p:cNvPr>
          <p:cNvSpPr>
            <a:spLocks/>
          </p:cNvSpPr>
          <p:nvPr/>
        </p:nvSpPr>
        <p:spPr>
          <a:xfrm>
            <a:off x="7432092" y="2798516"/>
            <a:ext cx="1800000" cy="136478"/>
          </a:xfrm>
          <a:prstGeom prst="flowChartProcess">
            <a:avLst/>
          </a:prstGeom>
          <a:solidFill>
            <a:srgbClr val="2061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RUC, AAU &amp; ITU</a:t>
            </a:r>
          </a:p>
        </p:txBody>
      </p:sp>
      <p:sp>
        <p:nvSpPr>
          <p:cNvPr id="421" name="TextBox 1086">
            <a:extLst>
              <a:ext uri="{FF2B5EF4-FFF2-40B4-BE49-F238E27FC236}">
                <a16:creationId xmlns:a16="http://schemas.microsoft.com/office/drawing/2014/main" id="{37656773-EB8B-DF6B-1F4C-712834111BE1}"/>
              </a:ext>
            </a:extLst>
          </p:cNvPr>
          <p:cNvSpPr txBox="1">
            <a:spLocks/>
          </p:cNvSpPr>
          <p:nvPr/>
        </p:nvSpPr>
        <p:spPr>
          <a:xfrm>
            <a:off x="4590379" y="1889079"/>
            <a:ext cx="4752000" cy="180000"/>
          </a:xfrm>
          <a:prstGeom prst="roundRect">
            <a:avLst/>
          </a:prstGeom>
          <a:solidFill>
            <a:schemeClr val="bg1"/>
          </a:solidFill>
        </p:spPr>
        <p:txBody>
          <a:bodyPr vert="horz" lIns="0" tIns="18000" rIns="0" bIns="18000" rtlCol="0">
            <a:noAutofit/>
          </a:bodyPr>
          <a:lstStyle>
            <a:lvl1pPr marL="0" indent="0" algn="l" defTabSz="203892" rtl="0" eaLnBrk="1" latinLnBrk="0" hangingPunct="1">
              <a:lnSpc>
                <a:spcPct val="100000"/>
              </a:lnSpc>
              <a:spcBef>
                <a:spcPts val="0"/>
              </a:spcBef>
              <a:spcAft>
                <a:spcPts val="1200"/>
              </a:spcAft>
              <a:buClrTx/>
              <a:buFont typeface="Arial" panose="020B0604020202020204" pitchFamily="34" charset="0"/>
              <a:buNone/>
              <a:defRPr sz="1400" b="1" kern="1200" cap="none" baseline="0">
                <a:solidFill>
                  <a:schemeClr val="accent1"/>
                </a:solidFill>
                <a:latin typeface="+mn-lt"/>
                <a:ea typeface="+mn-ea"/>
                <a:cs typeface="+mn-cs"/>
              </a:defRPr>
            </a:lvl1pPr>
            <a:lvl2pPr marL="0" indent="0" algn="l" defTabSz="203892" rtl="0" eaLnBrk="1" latinLnBrk="0" hangingPunct="1">
              <a:lnSpc>
                <a:spcPct val="100000"/>
              </a:lnSpc>
              <a:spcBef>
                <a:spcPts val="0"/>
              </a:spcBef>
              <a:spcAft>
                <a:spcPts val="600"/>
              </a:spcAft>
              <a:buClrTx/>
              <a:buFont typeface="Arial" panose="020B0604020202020204" pitchFamily="34" charset="0"/>
              <a:buNone/>
              <a:defRPr sz="1200" b="1" kern="1200" cap="none" baseline="0">
                <a:solidFill>
                  <a:schemeClr val="accent1"/>
                </a:solidFill>
                <a:latin typeface="+mn-lt"/>
                <a:ea typeface="+mn-ea"/>
                <a:cs typeface="+mn-cs"/>
              </a:defRPr>
            </a:lvl2pPr>
            <a:lvl3pPr marL="0" indent="0" algn="l" defTabSz="203892" rtl="0" eaLnBrk="1" latinLnBrk="0" hangingPunct="1">
              <a:lnSpc>
                <a:spcPct val="100000"/>
              </a:lnSpc>
              <a:spcBef>
                <a:spcPts val="0"/>
              </a:spcBef>
              <a:spcAft>
                <a:spcPts val="600"/>
              </a:spcAft>
              <a:buFont typeface="Arial" panose="020B0604020202020204" pitchFamily="34" charset="0"/>
              <a:buNone/>
              <a:defRPr sz="1100" kern="1200">
                <a:solidFill>
                  <a:schemeClr val="accent3"/>
                </a:solidFill>
                <a:latin typeface="+mn-lt"/>
                <a:ea typeface="+mn-ea"/>
                <a:cs typeface="+mn-cs"/>
              </a:defRPr>
            </a:lvl3pPr>
            <a:lvl4pPr marL="180000" indent="-180000" algn="l" defTabSz="203892" rtl="0" eaLnBrk="1" latinLnBrk="0" hangingPunct="1">
              <a:lnSpc>
                <a:spcPct val="100000"/>
              </a:lnSpc>
              <a:spcBef>
                <a:spcPts val="0"/>
              </a:spcBef>
              <a:spcAft>
                <a:spcPts val="600"/>
              </a:spcAft>
              <a:buClr>
                <a:srgbClr val="F62B44"/>
              </a:buClr>
              <a:buFont typeface="Arial" panose="020B0604020202020204" pitchFamily="34" charset="0"/>
              <a:buChar char="•"/>
              <a:defRPr sz="1100" kern="1200">
                <a:solidFill>
                  <a:schemeClr val="accent3"/>
                </a:solidFill>
                <a:latin typeface="+mn-lt"/>
                <a:ea typeface="+mn-ea"/>
                <a:cs typeface="+mn-cs"/>
              </a:defRPr>
            </a:lvl4pPr>
            <a:lvl5pPr marL="360000" indent="-180000" algn="l" defTabSz="203892" rtl="0" eaLnBrk="1" latinLnBrk="0" hangingPunct="1">
              <a:lnSpc>
                <a:spcPct val="100000"/>
              </a:lnSpc>
              <a:spcBef>
                <a:spcPts val="0"/>
              </a:spcBef>
              <a:spcAft>
                <a:spcPts val="600"/>
              </a:spcAft>
              <a:buClr>
                <a:srgbClr val="F62B44"/>
              </a:buClr>
              <a:buSzPct val="100000"/>
              <a:buFont typeface="Arial" panose="020B0604020202020204" pitchFamily="34" charset="0"/>
              <a:buChar char="-"/>
              <a:defRPr sz="1100" kern="1200">
                <a:solidFill>
                  <a:schemeClr val="accent3"/>
                </a:solidFill>
                <a:latin typeface="+mn-lt"/>
                <a:ea typeface="+mn-ea"/>
                <a:cs typeface="+mn-cs"/>
              </a:defRPr>
            </a:lvl5pPr>
            <a:lvl6pPr marL="540000" indent="-180000" algn="l" defTabSz="203892" rtl="0" eaLnBrk="1" latinLnBrk="0" hangingPunct="1">
              <a:lnSpc>
                <a:spcPct val="100000"/>
              </a:lnSpc>
              <a:spcBef>
                <a:spcPts val="0"/>
              </a:spcBef>
              <a:spcAft>
                <a:spcPts val="600"/>
              </a:spcAft>
              <a:buClr>
                <a:srgbClr val="F62B44"/>
              </a:buClr>
              <a:buSzPct val="100000"/>
              <a:buFont typeface="Arial" panose="020B0604020202020204" pitchFamily="34" charset="0"/>
              <a:buChar char="•"/>
              <a:defRPr sz="1100" kern="1200">
                <a:solidFill>
                  <a:schemeClr val="accent3"/>
                </a:solidFill>
                <a:latin typeface="+mn-lt"/>
                <a:ea typeface="+mn-ea"/>
                <a:cs typeface="+mn-cs"/>
              </a:defRPr>
            </a:lvl6pPr>
            <a:lvl7pPr marL="225425" indent="-225425" algn="l" defTabSz="203892" rtl="0" eaLnBrk="1" latinLnBrk="0" hangingPunct="1">
              <a:lnSpc>
                <a:spcPct val="100000"/>
              </a:lnSpc>
              <a:spcBef>
                <a:spcPts val="0"/>
              </a:spcBef>
              <a:spcAft>
                <a:spcPts val="600"/>
              </a:spcAft>
              <a:buClr>
                <a:srgbClr val="F62B44"/>
              </a:buClr>
              <a:buFont typeface="+mj-lt"/>
              <a:buAutoNum type="arabicPeriod"/>
              <a:defRPr sz="1100" kern="1200">
                <a:solidFill>
                  <a:schemeClr val="accent3"/>
                </a:solidFill>
                <a:latin typeface="+mn-lt"/>
                <a:ea typeface="+mn-ea"/>
                <a:cs typeface="+mn-cs"/>
              </a:defRPr>
            </a:lvl7pPr>
            <a:lvl8pPr marL="449263" indent="-215900" algn="l" defTabSz="203892" rtl="0" eaLnBrk="1" latinLnBrk="0" hangingPunct="1">
              <a:lnSpc>
                <a:spcPct val="100000"/>
              </a:lnSpc>
              <a:spcBef>
                <a:spcPts val="0"/>
              </a:spcBef>
              <a:spcAft>
                <a:spcPts val="600"/>
              </a:spcAft>
              <a:buClr>
                <a:srgbClr val="F62B44"/>
              </a:buClr>
              <a:buFont typeface="+mj-lt"/>
              <a:buAutoNum type="alphaLcParenR"/>
              <a:defRPr sz="1100" kern="1200">
                <a:solidFill>
                  <a:schemeClr val="accent3"/>
                </a:solidFill>
                <a:latin typeface="+mn-lt"/>
                <a:ea typeface="+mn-ea"/>
                <a:cs typeface="+mn-cs"/>
              </a:defRPr>
            </a:lvl8pPr>
            <a:lvl9pPr marL="630238" indent="-180975" algn="l" defTabSz="203892" rtl="0" eaLnBrk="1" latinLnBrk="0" hangingPunct="1">
              <a:lnSpc>
                <a:spcPct val="100000"/>
              </a:lnSpc>
              <a:spcBef>
                <a:spcPts val="0"/>
              </a:spcBef>
              <a:spcAft>
                <a:spcPts val="600"/>
              </a:spcAft>
              <a:buClr>
                <a:srgbClr val="F62B44"/>
              </a:buClr>
              <a:buSzPct val="100000"/>
              <a:buFont typeface="+mj-lt"/>
              <a:buAutoNum type="romanLcPeriod"/>
              <a:defRPr sz="1100" kern="1200">
                <a:solidFill>
                  <a:schemeClr val="accent3"/>
                </a:solidFill>
                <a:latin typeface="+mn-lt"/>
                <a:ea typeface="+mn-ea"/>
                <a:cs typeface="+mn-cs"/>
              </a:defRPr>
            </a:lvl9pPr>
          </a:lstStyle>
          <a:p>
            <a:pPr marL="0" marR="0" lvl="0" indent="0" algn="ctr" defTabSz="203892" rtl="0" eaLnBrk="1" fontAlgn="auto" latinLnBrk="0" hangingPunct="1">
              <a:lnSpc>
                <a:spcPct val="100000"/>
              </a:lnSpc>
              <a:spcBef>
                <a:spcPts val="0"/>
              </a:spcBef>
              <a:spcAft>
                <a:spcPts val="1200"/>
              </a:spcAft>
              <a:buClrTx/>
              <a:buSzTx/>
              <a:buFont typeface="Arial" panose="020B0604020202020204" pitchFamily="34" charset="0"/>
              <a:buNone/>
              <a:tabLst/>
              <a:defRPr/>
            </a:pPr>
            <a:r>
              <a:rPr kumimoji="0" lang="da-DK" sz="900" b="1" i="0" u="none" strike="noStrike" kern="1200" cap="none" spc="0" normalizeH="0" baseline="0" noProof="0">
                <a:ln>
                  <a:noFill/>
                </a:ln>
                <a:solidFill>
                  <a:srgbClr val="4A8588"/>
                </a:solidFill>
                <a:effectLst/>
                <a:uLnTx/>
                <a:uFillTx/>
                <a:latin typeface="Arial" panose="020B0604020202020204"/>
                <a:ea typeface="+mn-ea"/>
                <a:cs typeface="+mn-cs"/>
              </a:rPr>
              <a:t>Implementeringsfase</a:t>
            </a:r>
          </a:p>
        </p:txBody>
      </p:sp>
      <p:sp>
        <p:nvSpPr>
          <p:cNvPr id="422" name="Rektangel: afrundede hjørner 116">
            <a:extLst>
              <a:ext uri="{FF2B5EF4-FFF2-40B4-BE49-F238E27FC236}">
                <a16:creationId xmlns:a16="http://schemas.microsoft.com/office/drawing/2014/main" id="{B442A6A7-6498-F71D-FB44-DC66601F52B7}"/>
              </a:ext>
            </a:extLst>
          </p:cNvPr>
          <p:cNvSpPr>
            <a:spLocks/>
          </p:cNvSpPr>
          <p:nvPr/>
        </p:nvSpPr>
        <p:spPr>
          <a:xfrm>
            <a:off x="4570298" y="1894293"/>
            <a:ext cx="4806000" cy="1116000"/>
          </a:xfrm>
          <a:prstGeom prst="roundRect">
            <a:avLst/>
          </a:prstGeom>
          <a:noFill/>
          <a:ln w="19050">
            <a:solidFill>
              <a:srgbClr val="4A85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1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23" name="Tekstfelt 78">
            <a:extLst>
              <a:ext uri="{FF2B5EF4-FFF2-40B4-BE49-F238E27FC236}">
                <a16:creationId xmlns:a16="http://schemas.microsoft.com/office/drawing/2014/main" id="{4B28B9AC-CD60-97F6-DBF9-8AF639A897AE}"/>
              </a:ext>
            </a:extLst>
          </p:cNvPr>
          <p:cNvSpPr txBox="1"/>
          <p:nvPr/>
        </p:nvSpPr>
        <p:spPr>
          <a:xfrm>
            <a:off x="1797331" y="778140"/>
            <a:ext cx="1826141" cy="307777"/>
          </a:xfrm>
          <a:prstGeom prst="rect">
            <a:avLst/>
          </a:prstGeom>
          <a:noFill/>
        </p:spPr>
        <p:txBody>
          <a:bodyPr wrap="none" rtlCol="0">
            <a:spAutoFit/>
          </a:bodyPr>
          <a:lstStyle/>
          <a:p>
            <a:pPr marL="0" marR="0" lvl="0" indent="0" algn="l" defTabSz="914583"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prstClr val="black"/>
                </a:solidFill>
                <a:effectLst/>
                <a:uLnTx/>
                <a:uFillTx/>
                <a:latin typeface="Arial" panose="020B0604020202020204"/>
                <a:ea typeface="+mn-ea"/>
                <a:cs typeface="+mn-cs"/>
              </a:rPr>
              <a:t>Fælles SIS tidsplan</a:t>
            </a:r>
          </a:p>
        </p:txBody>
      </p:sp>
      <p:sp>
        <p:nvSpPr>
          <p:cNvPr id="414" name="Rektangel: afrundede hjørner 115">
            <a:extLst>
              <a:ext uri="{FF2B5EF4-FFF2-40B4-BE49-F238E27FC236}">
                <a16:creationId xmlns:a16="http://schemas.microsoft.com/office/drawing/2014/main" id="{E0191601-40DD-A00E-BB5D-AD4D599B30EA}"/>
              </a:ext>
            </a:extLst>
          </p:cNvPr>
          <p:cNvSpPr>
            <a:spLocks/>
          </p:cNvSpPr>
          <p:nvPr/>
        </p:nvSpPr>
        <p:spPr>
          <a:xfrm>
            <a:off x="3818198" y="1887298"/>
            <a:ext cx="756000" cy="136478"/>
          </a:xfrm>
          <a:prstGeom prst="flowChartProcess">
            <a:avLst/>
          </a:prstGeom>
          <a:solidFill>
            <a:srgbClr val="2061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Pilotfase</a:t>
            </a:r>
          </a:p>
        </p:txBody>
      </p:sp>
      <p:sp>
        <p:nvSpPr>
          <p:cNvPr id="416" name="Rektangel: afrundede hjørner 118">
            <a:extLst>
              <a:ext uri="{FF2B5EF4-FFF2-40B4-BE49-F238E27FC236}">
                <a16:creationId xmlns:a16="http://schemas.microsoft.com/office/drawing/2014/main" id="{8BA3D38B-75E9-9740-03FF-02983C13E794}"/>
              </a:ext>
            </a:extLst>
          </p:cNvPr>
          <p:cNvSpPr>
            <a:spLocks/>
          </p:cNvSpPr>
          <p:nvPr/>
        </p:nvSpPr>
        <p:spPr>
          <a:xfrm>
            <a:off x="5028103" y="2276775"/>
            <a:ext cx="2400300" cy="136478"/>
          </a:xfrm>
          <a:prstGeom prst="flowChartProcess">
            <a:avLst/>
          </a:prstGeom>
          <a:solidFill>
            <a:srgbClr val="20615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KU</a:t>
            </a:r>
          </a:p>
        </p:txBody>
      </p:sp>
      <p:graphicFrame>
        <p:nvGraphicFramePr>
          <p:cNvPr id="2" name="Tabel 108">
            <a:extLst>
              <a:ext uri="{FF2B5EF4-FFF2-40B4-BE49-F238E27FC236}">
                <a16:creationId xmlns:a16="http://schemas.microsoft.com/office/drawing/2014/main" id="{C32031D8-CC31-0C60-0EB4-4061C8907AE1}"/>
              </a:ext>
            </a:extLst>
          </p:cNvPr>
          <p:cNvGraphicFramePr>
            <a:graphicFrameLocks/>
          </p:cNvGraphicFramePr>
          <p:nvPr/>
        </p:nvGraphicFramePr>
        <p:xfrm>
          <a:off x="1889859" y="3826654"/>
          <a:ext cx="8727687" cy="2091769"/>
        </p:xfrm>
        <a:graphic>
          <a:graphicData uri="http://schemas.openxmlformats.org/drawingml/2006/table">
            <a:tbl>
              <a:tblPr firstRow="1" bandRow="1">
                <a:tableStyleId>{5C22544A-7EE6-4342-B048-85BDC9FD1C3A}</a:tableStyleId>
              </a:tblPr>
              <a:tblGrid>
                <a:gridCol w="150472">
                  <a:extLst>
                    <a:ext uri="{9D8B030D-6E8A-4147-A177-3AD203B41FA5}">
                      <a16:colId xmlns:a16="http://schemas.microsoft.com/office/drawing/2014/main" val="2924432480"/>
                    </a:ext>
                  </a:extLst>
                </a:gridCol>
                <a:gridCol w="150472">
                  <a:extLst>
                    <a:ext uri="{9D8B030D-6E8A-4147-A177-3AD203B41FA5}">
                      <a16:colId xmlns:a16="http://schemas.microsoft.com/office/drawing/2014/main" val="1396939406"/>
                    </a:ext>
                  </a:extLst>
                </a:gridCol>
                <a:gridCol w="150472">
                  <a:extLst>
                    <a:ext uri="{9D8B030D-6E8A-4147-A177-3AD203B41FA5}">
                      <a16:colId xmlns:a16="http://schemas.microsoft.com/office/drawing/2014/main" val="2099240299"/>
                    </a:ext>
                  </a:extLst>
                </a:gridCol>
                <a:gridCol w="150472">
                  <a:extLst>
                    <a:ext uri="{9D8B030D-6E8A-4147-A177-3AD203B41FA5}">
                      <a16:colId xmlns:a16="http://schemas.microsoft.com/office/drawing/2014/main" val="1448060201"/>
                    </a:ext>
                  </a:extLst>
                </a:gridCol>
                <a:gridCol w="150472">
                  <a:extLst>
                    <a:ext uri="{9D8B030D-6E8A-4147-A177-3AD203B41FA5}">
                      <a16:colId xmlns:a16="http://schemas.microsoft.com/office/drawing/2014/main" val="821749116"/>
                    </a:ext>
                  </a:extLst>
                </a:gridCol>
                <a:gridCol w="150472">
                  <a:extLst>
                    <a:ext uri="{9D8B030D-6E8A-4147-A177-3AD203B41FA5}">
                      <a16:colId xmlns:a16="http://schemas.microsoft.com/office/drawing/2014/main" val="2082684361"/>
                    </a:ext>
                  </a:extLst>
                </a:gridCol>
                <a:gridCol w="150472">
                  <a:extLst>
                    <a:ext uri="{9D8B030D-6E8A-4147-A177-3AD203B41FA5}">
                      <a16:colId xmlns:a16="http://schemas.microsoft.com/office/drawing/2014/main" val="1962834866"/>
                    </a:ext>
                  </a:extLst>
                </a:gridCol>
                <a:gridCol w="150472">
                  <a:extLst>
                    <a:ext uri="{9D8B030D-6E8A-4147-A177-3AD203B41FA5}">
                      <a16:colId xmlns:a16="http://schemas.microsoft.com/office/drawing/2014/main" val="1344082002"/>
                    </a:ext>
                  </a:extLst>
                </a:gridCol>
                <a:gridCol w="150472">
                  <a:extLst>
                    <a:ext uri="{9D8B030D-6E8A-4147-A177-3AD203B41FA5}">
                      <a16:colId xmlns:a16="http://schemas.microsoft.com/office/drawing/2014/main" val="4195806889"/>
                    </a:ext>
                  </a:extLst>
                </a:gridCol>
                <a:gridCol w="150472">
                  <a:extLst>
                    <a:ext uri="{9D8B030D-6E8A-4147-A177-3AD203B41FA5}">
                      <a16:colId xmlns:a16="http://schemas.microsoft.com/office/drawing/2014/main" val="1688644687"/>
                    </a:ext>
                  </a:extLst>
                </a:gridCol>
                <a:gridCol w="150472">
                  <a:extLst>
                    <a:ext uri="{9D8B030D-6E8A-4147-A177-3AD203B41FA5}">
                      <a16:colId xmlns:a16="http://schemas.microsoft.com/office/drawing/2014/main" val="3144656600"/>
                    </a:ext>
                  </a:extLst>
                </a:gridCol>
                <a:gridCol w="150472">
                  <a:extLst>
                    <a:ext uri="{9D8B030D-6E8A-4147-A177-3AD203B41FA5}">
                      <a16:colId xmlns:a16="http://schemas.microsoft.com/office/drawing/2014/main" val="588067925"/>
                    </a:ext>
                  </a:extLst>
                </a:gridCol>
                <a:gridCol w="150472">
                  <a:extLst>
                    <a:ext uri="{9D8B030D-6E8A-4147-A177-3AD203B41FA5}">
                      <a16:colId xmlns:a16="http://schemas.microsoft.com/office/drawing/2014/main" val="992777325"/>
                    </a:ext>
                  </a:extLst>
                </a:gridCol>
                <a:gridCol w="150472">
                  <a:extLst>
                    <a:ext uri="{9D8B030D-6E8A-4147-A177-3AD203B41FA5}">
                      <a16:colId xmlns:a16="http://schemas.microsoft.com/office/drawing/2014/main" val="3624084395"/>
                    </a:ext>
                  </a:extLst>
                </a:gridCol>
                <a:gridCol w="150472">
                  <a:extLst>
                    <a:ext uri="{9D8B030D-6E8A-4147-A177-3AD203B41FA5}">
                      <a16:colId xmlns:a16="http://schemas.microsoft.com/office/drawing/2014/main" val="282836593"/>
                    </a:ext>
                  </a:extLst>
                </a:gridCol>
                <a:gridCol w="150472">
                  <a:extLst>
                    <a:ext uri="{9D8B030D-6E8A-4147-A177-3AD203B41FA5}">
                      <a16:colId xmlns:a16="http://schemas.microsoft.com/office/drawing/2014/main" val="3924484827"/>
                    </a:ext>
                  </a:extLst>
                </a:gridCol>
                <a:gridCol w="150472">
                  <a:extLst>
                    <a:ext uri="{9D8B030D-6E8A-4147-A177-3AD203B41FA5}">
                      <a16:colId xmlns:a16="http://schemas.microsoft.com/office/drawing/2014/main" val="324453350"/>
                    </a:ext>
                  </a:extLst>
                </a:gridCol>
                <a:gridCol w="150472">
                  <a:extLst>
                    <a:ext uri="{9D8B030D-6E8A-4147-A177-3AD203B41FA5}">
                      <a16:colId xmlns:a16="http://schemas.microsoft.com/office/drawing/2014/main" val="1470681282"/>
                    </a:ext>
                  </a:extLst>
                </a:gridCol>
                <a:gridCol w="150472">
                  <a:extLst>
                    <a:ext uri="{9D8B030D-6E8A-4147-A177-3AD203B41FA5}">
                      <a16:colId xmlns:a16="http://schemas.microsoft.com/office/drawing/2014/main" val="3566572529"/>
                    </a:ext>
                  </a:extLst>
                </a:gridCol>
                <a:gridCol w="150472">
                  <a:extLst>
                    <a:ext uri="{9D8B030D-6E8A-4147-A177-3AD203B41FA5}">
                      <a16:colId xmlns:a16="http://schemas.microsoft.com/office/drawing/2014/main" val="3839713143"/>
                    </a:ext>
                  </a:extLst>
                </a:gridCol>
                <a:gridCol w="150472">
                  <a:extLst>
                    <a:ext uri="{9D8B030D-6E8A-4147-A177-3AD203B41FA5}">
                      <a16:colId xmlns:a16="http://schemas.microsoft.com/office/drawing/2014/main" val="2926683937"/>
                    </a:ext>
                  </a:extLst>
                </a:gridCol>
                <a:gridCol w="150472">
                  <a:extLst>
                    <a:ext uri="{9D8B030D-6E8A-4147-A177-3AD203B41FA5}">
                      <a16:colId xmlns:a16="http://schemas.microsoft.com/office/drawing/2014/main" val="1579033401"/>
                    </a:ext>
                  </a:extLst>
                </a:gridCol>
                <a:gridCol w="150472">
                  <a:extLst>
                    <a:ext uri="{9D8B030D-6E8A-4147-A177-3AD203B41FA5}">
                      <a16:colId xmlns:a16="http://schemas.microsoft.com/office/drawing/2014/main" val="1697048550"/>
                    </a:ext>
                  </a:extLst>
                </a:gridCol>
                <a:gridCol w="150472">
                  <a:extLst>
                    <a:ext uri="{9D8B030D-6E8A-4147-A177-3AD203B41FA5}">
                      <a16:colId xmlns:a16="http://schemas.microsoft.com/office/drawing/2014/main" val="4287557255"/>
                    </a:ext>
                  </a:extLst>
                </a:gridCol>
                <a:gridCol w="150472">
                  <a:extLst>
                    <a:ext uri="{9D8B030D-6E8A-4147-A177-3AD203B41FA5}">
                      <a16:colId xmlns:a16="http://schemas.microsoft.com/office/drawing/2014/main" val="2276065208"/>
                    </a:ext>
                  </a:extLst>
                </a:gridCol>
                <a:gridCol w="150472">
                  <a:extLst>
                    <a:ext uri="{9D8B030D-6E8A-4147-A177-3AD203B41FA5}">
                      <a16:colId xmlns:a16="http://schemas.microsoft.com/office/drawing/2014/main" val="3568519413"/>
                    </a:ext>
                  </a:extLst>
                </a:gridCol>
                <a:gridCol w="150472">
                  <a:extLst>
                    <a:ext uri="{9D8B030D-6E8A-4147-A177-3AD203B41FA5}">
                      <a16:colId xmlns:a16="http://schemas.microsoft.com/office/drawing/2014/main" val="3508908622"/>
                    </a:ext>
                  </a:extLst>
                </a:gridCol>
                <a:gridCol w="150472">
                  <a:extLst>
                    <a:ext uri="{9D8B030D-6E8A-4147-A177-3AD203B41FA5}">
                      <a16:colId xmlns:a16="http://schemas.microsoft.com/office/drawing/2014/main" val="3238322789"/>
                    </a:ext>
                  </a:extLst>
                </a:gridCol>
                <a:gridCol w="150472">
                  <a:extLst>
                    <a:ext uri="{9D8B030D-6E8A-4147-A177-3AD203B41FA5}">
                      <a16:colId xmlns:a16="http://schemas.microsoft.com/office/drawing/2014/main" val="1851235184"/>
                    </a:ext>
                  </a:extLst>
                </a:gridCol>
                <a:gridCol w="150472">
                  <a:extLst>
                    <a:ext uri="{9D8B030D-6E8A-4147-A177-3AD203B41FA5}">
                      <a16:colId xmlns:a16="http://schemas.microsoft.com/office/drawing/2014/main" val="1610244907"/>
                    </a:ext>
                  </a:extLst>
                </a:gridCol>
                <a:gridCol w="150472">
                  <a:extLst>
                    <a:ext uri="{9D8B030D-6E8A-4147-A177-3AD203B41FA5}">
                      <a16:colId xmlns:a16="http://schemas.microsoft.com/office/drawing/2014/main" val="1366419406"/>
                    </a:ext>
                  </a:extLst>
                </a:gridCol>
                <a:gridCol w="150472">
                  <a:extLst>
                    <a:ext uri="{9D8B030D-6E8A-4147-A177-3AD203B41FA5}">
                      <a16:colId xmlns:a16="http://schemas.microsoft.com/office/drawing/2014/main" val="2844455277"/>
                    </a:ext>
                  </a:extLst>
                </a:gridCol>
                <a:gridCol w="150472">
                  <a:extLst>
                    <a:ext uri="{9D8B030D-6E8A-4147-A177-3AD203B41FA5}">
                      <a16:colId xmlns:a16="http://schemas.microsoft.com/office/drawing/2014/main" val="1646279108"/>
                    </a:ext>
                  </a:extLst>
                </a:gridCol>
                <a:gridCol w="150472">
                  <a:extLst>
                    <a:ext uri="{9D8B030D-6E8A-4147-A177-3AD203B41FA5}">
                      <a16:colId xmlns:a16="http://schemas.microsoft.com/office/drawing/2014/main" val="121150681"/>
                    </a:ext>
                  </a:extLst>
                </a:gridCol>
                <a:gridCol w="150472">
                  <a:extLst>
                    <a:ext uri="{9D8B030D-6E8A-4147-A177-3AD203B41FA5}">
                      <a16:colId xmlns:a16="http://schemas.microsoft.com/office/drawing/2014/main" val="2448373559"/>
                    </a:ext>
                  </a:extLst>
                </a:gridCol>
                <a:gridCol w="150472">
                  <a:extLst>
                    <a:ext uri="{9D8B030D-6E8A-4147-A177-3AD203B41FA5}">
                      <a16:colId xmlns:a16="http://schemas.microsoft.com/office/drawing/2014/main" val="1110507613"/>
                    </a:ext>
                  </a:extLst>
                </a:gridCol>
                <a:gridCol w="150472">
                  <a:extLst>
                    <a:ext uri="{9D8B030D-6E8A-4147-A177-3AD203B41FA5}">
                      <a16:colId xmlns:a16="http://schemas.microsoft.com/office/drawing/2014/main" val="4189347155"/>
                    </a:ext>
                  </a:extLst>
                </a:gridCol>
                <a:gridCol w="150472">
                  <a:extLst>
                    <a:ext uri="{9D8B030D-6E8A-4147-A177-3AD203B41FA5}">
                      <a16:colId xmlns:a16="http://schemas.microsoft.com/office/drawing/2014/main" val="284149967"/>
                    </a:ext>
                  </a:extLst>
                </a:gridCol>
                <a:gridCol w="150472">
                  <a:extLst>
                    <a:ext uri="{9D8B030D-6E8A-4147-A177-3AD203B41FA5}">
                      <a16:colId xmlns:a16="http://schemas.microsoft.com/office/drawing/2014/main" val="3343557818"/>
                    </a:ext>
                  </a:extLst>
                </a:gridCol>
                <a:gridCol w="150472">
                  <a:extLst>
                    <a:ext uri="{9D8B030D-6E8A-4147-A177-3AD203B41FA5}">
                      <a16:colId xmlns:a16="http://schemas.microsoft.com/office/drawing/2014/main" val="2013287288"/>
                    </a:ext>
                  </a:extLst>
                </a:gridCol>
                <a:gridCol w="150472">
                  <a:extLst>
                    <a:ext uri="{9D8B030D-6E8A-4147-A177-3AD203B41FA5}">
                      <a16:colId xmlns:a16="http://schemas.microsoft.com/office/drawing/2014/main" val="1961695426"/>
                    </a:ext>
                  </a:extLst>
                </a:gridCol>
                <a:gridCol w="150472">
                  <a:extLst>
                    <a:ext uri="{9D8B030D-6E8A-4147-A177-3AD203B41FA5}">
                      <a16:colId xmlns:a16="http://schemas.microsoft.com/office/drawing/2014/main" val="2569545481"/>
                    </a:ext>
                  </a:extLst>
                </a:gridCol>
                <a:gridCol w="150472">
                  <a:extLst>
                    <a:ext uri="{9D8B030D-6E8A-4147-A177-3AD203B41FA5}">
                      <a16:colId xmlns:a16="http://schemas.microsoft.com/office/drawing/2014/main" val="370926497"/>
                    </a:ext>
                  </a:extLst>
                </a:gridCol>
                <a:gridCol w="150472">
                  <a:extLst>
                    <a:ext uri="{9D8B030D-6E8A-4147-A177-3AD203B41FA5}">
                      <a16:colId xmlns:a16="http://schemas.microsoft.com/office/drawing/2014/main" val="1739912208"/>
                    </a:ext>
                  </a:extLst>
                </a:gridCol>
                <a:gridCol w="150472">
                  <a:extLst>
                    <a:ext uri="{9D8B030D-6E8A-4147-A177-3AD203B41FA5}">
                      <a16:colId xmlns:a16="http://schemas.microsoft.com/office/drawing/2014/main" val="2843812604"/>
                    </a:ext>
                  </a:extLst>
                </a:gridCol>
                <a:gridCol w="150472">
                  <a:extLst>
                    <a:ext uri="{9D8B030D-6E8A-4147-A177-3AD203B41FA5}">
                      <a16:colId xmlns:a16="http://schemas.microsoft.com/office/drawing/2014/main" val="3481596174"/>
                    </a:ext>
                  </a:extLst>
                </a:gridCol>
                <a:gridCol w="150472">
                  <a:extLst>
                    <a:ext uri="{9D8B030D-6E8A-4147-A177-3AD203B41FA5}">
                      <a16:colId xmlns:a16="http://schemas.microsoft.com/office/drawing/2014/main" val="3953554715"/>
                    </a:ext>
                  </a:extLst>
                </a:gridCol>
                <a:gridCol w="150472">
                  <a:extLst>
                    <a:ext uri="{9D8B030D-6E8A-4147-A177-3AD203B41FA5}">
                      <a16:colId xmlns:a16="http://schemas.microsoft.com/office/drawing/2014/main" val="866342025"/>
                    </a:ext>
                  </a:extLst>
                </a:gridCol>
                <a:gridCol w="150472">
                  <a:extLst>
                    <a:ext uri="{9D8B030D-6E8A-4147-A177-3AD203B41FA5}">
                      <a16:colId xmlns:a16="http://schemas.microsoft.com/office/drawing/2014/main" val="2371264260"/>
                    </a:ext>
                  </a:extLst>
                </a:gridCol>
                <a:gridCol w="150472">
                  <a:extLst>
                    <a:ext uri="{9D8B030D-6E8A-4147-A177-3AD203B41FA5}">
                      <a16:colId xmlns:a16="http://schemas.microsoft.com/office/drawing/2014/main" val="1921856382"/>
                    </a:ext>
                  </a:extLst>
                </a:gridCol>
                <a:gridCol w="150472">
                  <a:extLst>
                    <a:ext uri="{9D8B030D-6E8A-4147-A177-3AD203B41FA5}">
                      <a16:colId xmlns:a16="http://schemas.microsoft.com/office/drawing/2014/main" val="4096794350"/>
                    </a:ext>
                  </a:extLst>
                </a:gridCol>
                <a:gridCol w="150472">
                  <a:extLst>
                    <a:ext uri="{9D8B030D-6E8A-4147-A177-3AD203B41FA5}">
                      <a16:colId xmlns:a16="http://schemas.microsoft.com/office/drawing/2014/main" val="2411835788"/>
                    </a:ext>
                  </a:extLst>
                </a:gridCol>
                <a:gridCol w="150472">
                  <a:extLst>
                    <a:ext uri="{9D8B030D-6E8A-4147-A177-3AD203B41FA5}">
                      <a16:colId xmlns:a16="http://schemas.microsoft.com/office/drawing/2014/main" val="1947727184"/>
                    </a:ext>
                  </a:extLst>
                </a:gridCol>
                <a:gridCol w="150472">
                  <a:extLst>
                    <a:ext uri="{9D8B030D-6E8A-4147-A177-3AD203B41FA5}">
                      <a16:colId xmlns:a16="http://schemas.microsoft.com/office/drawing/2014/main" val="569886203"/>
                    </a:ext>
                  </a:extLst>
                </a:gridCol>
                <a:gridCol w="150472">
                  <a:extLst>
                    <a:ext uri="{9D8B030D-6E8A-4147-A177-3AD203B41FA5}">
                      <a16:colId xmlns:a16="http://schemas.microsoft.com/office/drawing/2014/main" val="3721629803"/>
                    </a:ext>
                  </a:extLst>
                </a:gridCol>
                <a:gridCol w="150783">
                  <a:extLst>
                    <a:ext uri="{9D8B030D-6E8A-4147-A177-3AD203B41FA5}">
                      <a16:colId xmlns:a16="http://schemas.microsoft.com/office/drawing/2014/main" val="2606377024"/>
                    </a:ext>
                  </a:extLst>
                </a:gridCol>
                <a:gridCol w="150472">
                  <a:extLst>
                    <a:ext uri="{9D8B030D-6E8A-4147-A177-3AD203B41FA5}">
                      <a16:colId xmlns:a16="http://schemas.microsoft.com/office/drawing/2014/main" val="882835426"/>
                    </a:ext>
                  </a:extLst>
                </a:gridCol>
                <a:gridCol w="150472">
                  <a:extLst>
                    <a:ext uri="{9D8B030D-6E8A-4147-A177-3AD203B41FA5}">
                      <a16:colId xmlns:a16="http://schemas.microsoft.com/office/drawing/2014/main" val="442675726"/>
                    </a:ext>
                  </a:extLst>
                </a:gridCol>
              </a:tblGrid>
              <a:tr h="2091769">
                <a:tc>
                  <a:txBody>
                    <a:bodyPr/>
                    <a:lstStyle/>
                    <a:p>
                      <a:pPr algn="ctr"/>
                      <a:endParaRPr lang="da-DK" sz="700"/>
                    </a:p>
                  </a:txBody>
                  <a:tcPr marL="60342" marR="60342" marT="30171" marB="30171">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tc>
                  <a:txBody>
                    <a:bodyPr/>
                    <a:lstStyle/>
                    <a:p>
                      <a:pPr algn="ctr"/>
                      <a:endParaRPr lang="da-DK" sz="700"/>
                    </a:p>
                  </a:txBody>
                  <a:tcPr marL="60342" marR="60342" marT="30171" marB="30171">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noFill/>
                  </a:tcPr>
                </a:tc>
                <a:extLst>
                  <a:ext uri="{0D108BD9-81ED-4DB2-BD59-A6C34878D82A}">
                    <a16:rowId xmlns:a16="http://schemas.microsoft.com/office/drawing/2014/main" val="118169951"/>
                  </a:ext>
                </a:extLst>
              </a:tr>
            </a:tbl>
          </a:graphicData>
        </a:graphic>
      </p:graphicFrame>
      <p:graphicFrame>
        <p:nvGraphicFramePr>
          <p:cNvPr id="6" name="Tabel 109">
            <a:extLst>
              <a:ext uri="{FF2B5EF4-FFF2-40B4-BE49-F238E27FC236}">
                <a16:creationId xmlns:a16="http://schemas.microsoft.com/office/drawing/2014/main" id="{54ABDFCD-4422-7A02-3E11-B40FABBDFA75}"/>
              </a:ext>
            </a:extLst>
          </p:cNvPr>
          <p:cNvGraphicFramePr>
            <a:graphicFrameLocks/>
          </p:cNvGraphicFramePr>
          <p:nvPr/>
        </p:nvGraphicFramePr>
        <p:xfrm>
          <a:off x="1892105" y="3733208"/>
          <a:ext cx="8725440" cy="326680"/>
        </p:xfrm>
        <a:graphic>
          <a:graphicData uri="http://schemas.openxmlformats.org/drawingml/2006/table">
            <a:tbl>
              <a:tblPr firstRow="1" bandRow="1">
                <a:tableStyleId>{5C22544A-7EE6-4342-B048-85BDC9FD1C3A}</a:tableStyleId>
              </a:tblPr>
              <a:tblGrid>
                <a:gridCol w="449504">
                  <a:extLst>
                    <a:ext uri="{9D8B030D-6E8A-4147-A177-3AD203B41FA5}">
                      <a16:colId xmlns:a16="http://schemas.microsoft.com/office/drawing/2014/main" val="3571197806"/>
                    </a:ext>
                  </a:extLst>
                </a:gridCol>
                <a:gridCol w="1805094">
                  <a:extLst>
                    <a:ext uri="{9D8B030D-6E8A-4147-A177-3AD203B41FA5}">
                      <a16:colId xmlns:a16="http://schemas.microsoft.com/office/drawing/2014/main" val="988235159"/>
                    </a:ext>
                  </a:extLst>
                </a:gridCol>
                <a:gridCol w="1803678">
                  <a:extLst>
                    <a:ext uri="{9D8B030D-6E8A-4147-A177-3AD203B41FA5}">
                      <a16:colId xmlns:a16="http://schemas.microsoft.com/office/drawing/2014/main" val="1907871685"/>
                    </a:ext>
                  </a:extLst>
                </a:gridCol>
                <a:gridCol w="1803678">
                  <a:extLst>
                    <a:ext uri="{9D8B030D-6E8A-4147-A177-3AD203B41FA5}">
                      <a16:colId xmlns:a16="http://schemas.microsoft.com/office/drawing/2014/main" val="4143803753"/>
                    </a:ext>
                  </a:extLst>
                </a:gridCol>
                <a:gridCol w="1803678">
                  <a:extLst>
                    <a:ext uri="{9D8B030D-6E8A-4147-A177-3AD203B41FA5}">
                      <a16:colId xmlns:a16="http://schemas.microsoft.com/office/drawing/2014/main" val="1432371263"/>
                    </a:ext>
                  </a:extLst>
                </a:gridCol>
                <a:gridCol w="1059808">
                  <a:extLst>
                    <a:ext uri="{9D8B030D-6E8A-4147-A177-3AD203B41FA5}">
                      <a16:colId xmlns:a16="http://schemas.microsoft.com/office/drawing/2014/main" val="3322113256"/>
                    </a:ext>
                  </a:extLst>
                </a:gridCol>
              </a:tblGrid>
              <a:tr h="326680">
                <a:tc>
                  <a:txBody>
                    <a:bodyPr/>
                    <a:lstStyle/>
                    <a:p>
                      <a:pPr algn="ctr"/>
                      <a:r>
                        <a:rPr lang="en-US" sz="900"/>
                        <a:t>2024</a:t>
                      </a:r>
                      <a:endParaRPr lang="da-DK" sz="900"/>
                    </a:p>
                  </a:txBody>
                  <a:tcPr anchor="ctr">
                    <a:solidFill>
                      <a:srgbClr val="4A8588"/>
                    </a:solidFill>
                  </a:tcPr>
                </a:tc>
                <a:tc>
                  <a:txBody>
                    <a:bodyPr/>
                    <a:lstStyle/>
                    <a:p>
                      <a:pPr algn="ctr"/>
                      <a:r>
                        <a:rPr lang="en-US" sz="900"/>
                        <a:t>2025</a:t>
                      </a:r>
                      <a:endParaRPr lang="da-DK" sz="900"/>
                    </a:p>
                  </a:txBody>
                  <a:tcPr anchor="ctr">
                    <a:solidFill>
                      <a:srgbClr val="4A8588"/>
                    </a:solidFill>
                  </a:tcPr>
                </a:tc>
                <a:tc>
                  <a:txBody>
                    <a:bodyPr/>
                    <a:lstStyle/>
                    <a:p>
                      <a:pPr algn="ctr"/>
                      <a:r>
                        <a:rPr lang="en-US" sz="900"/>
                        <a:t>2026</a:t>
                      </a:r>
                      <a:endParaRPr lang="da-DK" sz="900"/>
                    </a:p>
                  </a:txBody>
                  <a:tcPr anchor="ctr">
                    <a:solidFill>
                      <a:srgbClr val="4A8588"/>
                    </a:solidFill>
                  </a:tcPr>
                </a:tc>
                <a:tc>
                  <a:txBody>
                    <a:bodyPr/>
                    <a:lstStyle/>
                    <a:p>
                      <a:pPr algn="ctr"/>
                      <a:r>
                        <a:rPr lang="en-US" sz="900"/>
                        <a:t>2027</a:t>
                      </a:r>
                      <a:endParaRPr lang="da-DK" sz="900"/>
                    </a:p>
                  </a:txBody>
                  <a:tcPr anchor="ctr">
                    <a:solidFill>
                      <a:srgbClr val="4A8588"/>
                    </a:solidFill>
                  </a:tcPr>
                </a:tc>
                <a:tc>
                  <a:txBody>
                    <a:bodyPr/>
                    <a:lstStyle/>
                    <a:p>
                      <a:pPr algn="ctr"/>
                      <a:r>
                        <a:rPr lang="en-US" sz="900"/>
                        <a:t>2028</a:t>
                      </a:r>
                      <a:endParaRPr lang="da-DK" sz="900"/>
                    </a:p>
                  </a:txBody>
                  <a:tcPr anchor="ctr">
                    <a:solidFill>
                      <a:srgbClr val="4A8588"/>
                    </a:solidFill>
                  </a:tcPr>
                </a:tc>
                <a:tc>
                  <a:txBody>
                    <a:bodyPr/>
                    <a:lstStyle/>
                    <a:p>
                      <a:pPr algn="ctr"/>
                      <a:r>
                        <a:rPr lang="da-DK" sz="900"/>
                        <a:t>2029</a:t>
                      </a:r>
                    </a:p>
                  </a:txBody>
                  <a:tcPr anchor="ctr">
                    <a:solidFill>
                      <a:srgbClr val="4A8588"/>
                    </a:solidFill>
                  </a:tcPr>
                </a:tc>
                <a:extLst>
                  <a:ext uri="{0D108BD9-81ED-4DB2-BD59-A6C34878D82A}">
                    <a16:rowId xmlns:a16="http://schemas.microsoft.com/office/drawing/2014/main" val="2057819156"/>
                  </a:ext>
                </a:extLst>
              </a:tr>
            </a:tbl>
          </a:graphicData>
        </a:graphic>
      </p:graphicFrame>
      <p:pic>
        <p:nvPicPr>
          <p:cNvPr id="7" name="Billede 110">
            <a:extLst>
              <a:ext uri="{FF2B5EF4-FFF2-40B4-BE49-F238E27FC236}">
                <a16:creationId xmlns:a16="http://schemas.microsoft.com/office/drawing/2014/main" id="{F57C56A4-E1AD-F1CF-F0F6-48553F13A4A5}"/>
              </a:ext>
            </a:extLst>
          </p:cNvPr>
          <p:cNvPicPr>
            <a:picLocks noChangeAspect="1"/>
          </p:cNvPicPr>
          <p:nvPr/>
        </p:nvPicPr>
        <p:blipFill>
          <a:blip r:embed="rId5"/>
          <a:stretch>
            <a:fillRect/>
          </a:stretch>
        </p:blipFill>
        <p:spPr>
          <a:xfrm>
            <a:off x="1864499" y="4049988"/>
            <a:ext cx="8780637" cy="194636"/>
          </a:xfrm>
          <a:prstGeom prst="rect">
            <a:avLst/>
          </a:prstGeom>
        </p:spPr>
      </p:pic>
      <p:grpSp>
        <p:nvGrpSpPr>
          <p:cNvPr id="12" name="Group 11">
            <a:extLst>
              <a:ext uri="{FF2B5EF4-FFF2-40B4-BE49-F238E27FC236}">
                <a16:creationId xmlns:a16="http://schemas.microsoft.com/office/drawing/2014/main" id="{B2CFA1E1-58AD-4FA9-EDD4-55E72714F568}"/>
              </a:ext>
            </a:extLst>
          </p:cNvPr>
          <p:cNvGrpSpPr/>
          <p:nvPr/>
        </p:nvGrpSpPr>
        <p:grpSpPr>
          <a:xfrm>
            <a:off x="1885705" y="4376668"/>
            <a:ext cx="3995792" cy="423478"/>
            <a:chOff x="677238" y="1543347"/>
            <a:chExt cx="3995792" cy="382893"/>
          </a:xfrm>
        </p:grpSpPr>
        <p:sp>
          <p:nvSpPr>
            <p:cNvPr id="13" name="Rektangel: afrundede hjørner 114">
              <a:extLst>
                <a:ext uri="{FF2B5EF4-FFF2-40B4-BE49-F238E27FC236}">
                  <a16:creationId xmlns:a16="http://schemas.microsoft.com/office/drawing/2014/main" id="{5F992395-0CEE-2533-D736-D018ADBED9D8}"/>
                </a:ext>
              </a:extLst>
            </p:cNvPr>
            <p:cNvSpPr>
              <a:spLocks/>
            </p:cNvSpPr>
            <p:nvPr/>
          </p:nvSpPr>
          <p:spPr>
            <a:xfrm>
              <a:off x="677238" y="1543347"/>
              <a:ext cx="2239280" cy="178214"/>
            </a:xfrm>
            <a:prstGeom prst="flowChartProcess">
              <a:avLst/>
            </a:prstGeom>
            <a:solidFill>
              <a:srgbClr val="5D697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Design af Fælles løsning og </a:t>
              </a:r>
              <a:r>
                <a:rPr kumimoji="0" lang="da-DK" sz="800" b="1" i="0" u="none" strike="noStrike" kern="1200" cap="none" spc="0" normalizeH="0" baseline="0" noProof="0" err="1">
                  <a:ln>
                    <a:noFill/>
                  </a:ln>
                  <a:solidFill>
                    <a:prstClr val="white"/>
                  </a:solidFill>
                  <a:effectLst/>
                  <a:uLnTx/>
                  <a:uFillTx/>
                  <a:latin typeface="Arial" panose="020B0604020202020204"/>
                  <a:ea typeface="+mn-ea"/>
                  <a:cs typeface="+mn-cs"/>
                </a:rPr>
                <a:t>impl</a:t>
              </a: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a:t>
              </a:r>
            </a:p>
          </p:txBody>
        </p:sp>
        <p:sp>
          <p:nvSpPr>
            <p:cNvPr id="14" name="Rektangel: afrundede hjørner 115">
              <a:extLst>
                <a:ext uri="{FF2B5EF4-FFF2-40B4-BE49-F238E27FC236}">
                  <a16:creationId xmlns:a16="http://schemas.microsoft.com/office/drawing/2014/main" id="{C51071F9-F68E-0A0A-20B4-A7B5C99255C5}"/>
                </a:ext>
              </a:extLst>
            </p:cNvPr>
            <p:cNvSpPr>
              <a:spLocks/>
            </p:cNvSpPr>
            <p:nvPr/>
          </p:nvSpPr>
          <p:spPr>
            <a:xfrm>
              <a:off x="2916518" y="1748026"/>
              <a:ext cx="1756512" cy="178214"/>
            </a:xfrm>
            <a:prstGeom prst="flowChartProcess">
              <a:avLst/>
            </a:prstGeom>
            <a:solidFill>
              <a:srgbClr val="5D697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To </a:t>
              </a:r>
              <a:r>
                <a:rPr kumimoji="0" lang="da-DK" sz="800" b="1" i="0" u="none" strike="noStrike" kern="1200" cap="none" spc="0" normalizeH="0" baseline="0" noProof="0" err="1">
                  <a:ln>
                    <a:noFill/>
                  </a:ln>
                  <a:solidFill>
                    <a:prstClr val="white"/>
                  </a:solidFill>
                  <a:effectLst/>
                  <a:uLnTx/>
                  <a:uFillTx/>
                  <a:latin typeface="Arial" panose="020B0604020202020204"/>
                  <a:ea typeface="+mn-ea"/>
                  <a:cs typeface="+mn-cs"/>
                </a:rPr>
                <a:t>be</a:t>
              </a: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 procesdesign</a:t>
              </a:r>
            </a:p>
          </p:txBody>
        </p:sp>
      </p:grpSp>
      <p:sp>
        <p:nvSpPr>
          <p:cNvPr id="15" name="Rektangel: afrundede hjørner 117">
            <a:extLst>
              <a:ext uri="{FF2B5EF4-FFF2-40B4-BE49-F238E27FC236}">
                <a16:creationId xmlns:a16="http://schemas.microsoft.com/office/drawing/2014/main" id="{8845C332-FF92-F311-254E-2EFBE4AF76F3}"/>
              </a:ext>
            </a:extLst>
          </p:cNvPr>
          <p:cNvSpPr>
            <a:spLocks/>
          </p:cNvSpPr>
          <p:nvPr/>
        </p:nvSpPr>
        <p:spPr>
          <a:xfrm>
            <a:off x="8163795" y="5587274"/>
            <a:ext cx="2425005" cy="163945"/>
          </a:xfrm>
          <a:prstGeom prst="homePlate">
            <a:avLst/>
          </a:prstGeom>
          <a:solidFill>
            <a:srgbClr val="5D697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Drift</a:t>
            </a:r>
          </a:p>
        </p:txBody>
      </p:sp>
      <p:sp>
        <p:nvSpPr>
          <p:cNvPr id="19" name="Rektangel: afrundede hjørner 121">
            <a:extLst>
              <a:ext uri="{FF2B5EF4-FFF2-40B4-BE49-F238E27FC236}">
                <a16:creationId xmlns:a16="http://schemas.microsoft.com/office/drawing/2014/main" id="{E6FB3DDE-F21C-F627-A069-3684B258E45B}"/>
              </a:ext>
            </a:extLst>
          </p:cNvPr>
          <p:cNvSpPr>
            <a:spLocks/>
          </p:cNvSpPr>
          <p:nvPr/>
        </p:nvSpPr>
        <p:spPr>
          <a:xfrm>
            <a:off x="5431539" y="4843917"/>
            <a:ext cx="941863" cy="219033"/>
          </a:xfrm>
          <a:prstGeom prst="flowChartProcess">
            <a:avLst/>
          </a:prstGeom>
          <a:solidFill>
            <a:srgbClr val="5D697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Forberedelse</a:t>
            </a:r>
          </a:p>
        </p:txBody>
      </p:sp>
      <p:sp>
        <p:nvSpPr>
          <p:cNvPr id="25" name="Rektangel: afrundede hjørner 121">
            <a:extLst>
              <a:ext uri="{FF2B5EF4-FFF2-40B4-BE49-F238E27FC236}">
                <a16:creationId xmlns:a16="http://schemas.microsoft.com/office/drawing/2014/main" id="{94EFF039-0D69-179E-AD2D-2D7AE3501442}"/>
              </a:ext>
            </a:extLst>
          </p:cNvPr>
          <p:cNvSpPr>
            <a:spLocks/>
          </p:cNvSpPr>
          <p:nvPr/>
        </p:nvSpPr>
        <p:spPr>
          <a:xfrm>
            <a:off x="6380772" y="5062951"/>
            <a:ext cx="1885404" cy="204095"/>
          </a:xfrm>
          <a:prstGeom prst="flowChartProcess">
            <a:avLst/>
          </a:prstGeom>
          <a:solidFill>
            <a:srgbClr val="5D697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Implementering</a:t>
            </a:r>
          </a:p>
        </p:txBody>
      </p:sp>
      <p:sp>
        <p:nvSpPr>
          <p:cNvPr id="26" name="Rektangel: afrundede hjørner 121">
            <a:extLst>
              <a:ext uri="{FF2B5EF4-FFF2-40B4-BE49-F238E27FC236}">
                <a16:creationId xmlns:a16="http://schemas.microsoft.com/office/drawing/2014/main" id="{7C27800B-24C4-05A5-9683-219BDBB6DDF8}"/>
              </a:ext>
            </a:extLst>
          </p:cNvPr>
          <p:cNvSpPr>
            <a:spLocks/>
          </p:cNvSpPr>
          <p:nvPr/>
        </p:nvSpPr>
        <p:spPr>
          <a:xfrm>
            <a:off x="8180772" y="5297965"/>
            <a:ext cx="716340" cy="227308"/>
          </a:xfrm>
          <a:prstGeom prst="flowChartProcess">
            <a:avLst/>
          </a:prstGeom>
          <a:solidFill>
            <a:srgbClr val="5D6977"/>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err="1">
                <a:ln>
                  <a:noFill/>
                </a:ln>
                <a:solidFill>
                  <a:prstClr val="white"/>
                </a:solidFill>
                <a:effectLst/>
                <a:uLnTx/>
                <a:uFillTx/>
                <a:latin typeface="Arial" panose="020B0604020202020204"/>
                <a:ea typeface="+mn-ea"/>
                <a:cs typeface="+mn-cs"/>
              </a:rPr>
              <a:t>Hypercare</a:t>
            </a:r>
            <a:endParaRPr kumimoji="0" lang="da-DK" sz="8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Tekstfelt 78">
            <a:extLst>
              <a:ext uri="{FF2B5EF4-FFF2-40B4-BE49-F238E27FC236}">
                <a16:creationId xmlns:a16="http://schemas.microsoft.com/office/drawing/2014/main" id="{333BA948-EC88-E533-C9A6-527A3FD2F1E4}"/>
              </a:ext>
            </a:extLst>
          </p:cNvPr>
          <p:cNvSpPr txBox="1"/>
          <p:nvPr/>
        </p:nvSpPr>
        <p:spPr>
          <a:xfrm>
            <a:off x="1858291" y="3390276"/>
            <a:ext cx="1638590" cy="307777"/>
          </a:xfrm>
          <a:prstGeom prst="rect">
            <a:avLst/>
          </a:prstGeom>
          <a:noFill/>
        </p:spPr>
        <p:txBody>
          <a:bodyPr wrap="none" rtlCol="0">
            <a:spAutoFit/>
          </a:bodyPr>
          <a:lstStyle/>
          <a:p>
            <a:pPr marL="0" marR="0" lvl="0" indent="0" algn="l" defTabSz="914583"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prstClr val="black"/>
                </a:solidFill>
                <a:effectLst/>
                <a:uLnTx/>
                <a:uFillTx/>
                <a:latin typeface="Arial" panose="020B0604020202020204"/>
                <a:ea typeface="+mn-ea"/>
                <a:cs typeface="+mn-cs"/>
              </a:rPr>
              <a:t>SDU SIS tidsplan</a:t>
            </a:r>
          </a:p>
        </p:txBody>
      </p:sp>
      <p:cxnSp>
        <p:nvCxnSpPr>
          <p:cNvPr id="28" name="Straight Connector 27">
            <a:extLst>
              <a:ext uri="{FF2B5EF4-FFF2-40B4-BE49-F238E27FC236}">
                <a16:creationId xmlns:a16="http://schemas.microsoft.com/office/drawing/2014/main" id="{A7354720-F001-FE6F-3C25-0071873C4FAF}"/>
              </a:ext>
            </a:extLst>
          </p:cNvPr>
          <p:cNvCxnSpPr>
            <a:cxnSpLocks/>
          </p:cNvCxnSpPr>
          <p:nvPr/>
        </p:nvCxnSpPr>
        <p:spPr>
          <a:xfrm>
            <a:off x="4124985" y="4376668"/>
            <a:ext cx="0" cy="1621796"/>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B8A6D95E-80A7-C0C9-9368-2F01A044402E}"/>
              </a:ext>
            </a:extLst>
          </p:cNvPr>
          <p:cNvSpPr txBox="1"/>
          <p:nvPr/>
        </p:nvSpPr>
        <p:spPr>
          <a:xfrm>
            <a:off x="3746548" y="6061397"/>
            <a:ext cx="1312860"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rgbClr val="D05A57">
                    <a:lumMod val="75000"/>
                  </a:srgbClr>
                </a:solidFill>
                <a:effectLst/>
                <a:uLnTx/>
                <a:uFillTx/>
                <a:latin typeface="Arial"/>
                <a:ea typeface="+mn-ea"/>
                <a:cs typeface="+mn-cs"/>
              </a:rPr>
              <a:t>Trin 1: jan 2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D05A57">
                    <a:lumMod val="75000"/>
                  </a:srgbClr>
                </a:solidFill>
                <a:effectLst/>
                <a:uLnTx/>
                <a:uFillTx/>
                <a:latin typeface="Arial"/>
                <a:ea typeface="+mn-ea"/>
                <a:cs typeface="+mn-cs"/>
              </a:rPr>
              <a:t>Løsning kendt</a:t>
            </a:r>
          </a:p>
        </p:txBody>
      </p:sp>
      <p:cxnSp>
        <p:nvCxnSpPr>
          <p:cNvPr id="462" name="Straight Connector 461">
            <a:extLst>
              <a:ext uri="{FF2B5EF4-FFF2-40B4-BE49-F238E27FC236}">
                <a16:creationId xmlns:a16="http://schemas.microsoft.com/office/drawing/2014/main" id="{A0C8A753-C3CE-F515-86CD-3A4038BF259F}"/>
              </a:ext>
            </a:extLst>
          </p:cNvPr>
          <p:cNvCxnSpPr>
            <a:cxnSpLocks/>
          </p:cNvCxnSpPr>
          <p:nvPr/>
        </p:nvCxnSpPr>
        <p:spPr>
          <a:xfrm>
            <a:off x="8245881" y="5068564"/>
            <a:ext cx="0" cy="939044"/>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9" name="Straight Connector 478">
            <a:extLst>
              <a:ext uri="{FF2B5EF4-FFF2-40B4-BE49-F238E27FC236}">
                <a16:creationId xmlns:a16="http://schemas.microsoft.com/office/drawing/2014/main" id="{2C4EF0E1-37B0-DBCB-1792-6EB19D830C08}"/>
              </a:ext>
            </a:extLst>
          </p:cNvPr>
          <p:cNvCxnSpPr>
            <a:cxnSpLocks/>
          </p:cNvCxnSpPr>
          <p:nvPr/>
        </p:nvCxnSpPr>
        <p:spPr>
          <a:xfrm>
            <a:off x="6403149" y="5068564"/>
            <a:ext cx="0" cy="939044"/>
          </a:xfrm>
          <a:prstGeom prst="line">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64" name="TextBox 63">
            <a:extLst>
              <a:ext uri="{FF2B5EF4-FFF2-40B4-BE49-F238E27FC236}">
                <a16:creationId xmlns:a16="http://schemas.microsoft.com/office/drawing/2014/main" id="{C97EA419-3BCF-DD53-DADC-4089BB3AE147}"/>
              </a:ext>
            </a:extLst>
          </p:cNvPr>
          <p:cNvSpPr txBox="1"/>
          <p:nvPr/>
        </p:nvSpPr>
        <p:spPr>
          <a:xfrm>
            <a:off x="6119232" y="6061397"/>
            <a:ext cx="1312860" cy="64633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rgbClr val="D05A57">
                    <a:lumMod val="75000"/>
                  </a:srgbClr>
                </a:solidFill>
                <a:effectLst/>
                <a:uLnTx/>
                <a:uFillTx/>
                <a:latin typeface="Arial"/>
                <a:ea typeface="+mn-ea"/>
                <a:cs typeface="+mn-cs"/>
              </a:rPr>
              <a:t>Trin 2: april 2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D05A57">
                    <a:lumMod val="75000"/>
                  </a:srgbClr>
                </a:solidFill>
                <a:effectLst/>
                <a:uLnTx/>
                <a:uFillTx/>
                <a:latin typeface="Arial"/>
                <a:ea typeface="+mn-ea"/>
                <a:cs typeface="+mn-cs"/>
              </a:rPr>
              <a:t>SDU forløb planlagt</a:t>
            </a:r>
          </a:p>
        </p:txBody>
      </p:sp>
      <p:sp>
        <p:nvSpPr>
          <p:cNvPr id="65" name="TextBox 64">
            <a:extLst>
              <a:ext uri="{FF2B5EF4-FFF2-40B4-BE49-F238E27FC236}">
                <a16:creationId xmlns:a16="http://schemas.microsoft.com/office/drawing/2014/main" id="{928A189A-978E-8B47-9D2C-61E6F79D1B06}"/>
              </a:ext>
            </a:extLst>
          </p:cNvPr>
          <p:cNvSpPr txBox="1"/>
          <p:nvPr/>
        </p:nvSpPr>
        <p:spPr>
          <a:xfrm>
            <a:off x="7992409" y="6061397"/>
            <a:ext cx="1312860"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a:ln>
                  <a:noFill/>
                </a:ln>
                <a:solidFill>
                  <a:srgbClr val="D05A57">
                    <a:lumMod val="75000"/>
                  </a:srgbClr>
                </a:solidFill>
                <a:effectLst/>
                <a:uLnTx/>
                <a:uFillTx/>
                <a:latin typeface="Arial"/>
                <a:ea typeface="+mn-ea"/>
                <a:cs typeface="+mn-cs"/>
              </a:rPr>
              <a:t>Trin 3: april 28</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D05A57">
                    <a:lumMod val="75000"/>
                  </a:srgbClr>
                </a:solidFill>
                <a:effectLst/>
                <a:uLnTx/>
                <a:uFillTx/>
                <a:latin typeface="Arial"/>
                <a:ea typeface="+mn-ea"/>
                <a:cs typeface="+mn-cs"/>
              </a:rPr>
              <a:t>Overgang til drift</a:t>
            </a:r>
          </a:p>
        </p:txBody>
      </p:sp>
    </p:spTree>
    <p:extLst>
      <p:ext uri="{BB962C8B-B14F-4D97-AF65-F5344CB8AC3E}">
        <p14:creationId xmlns:p14="http://schemas.microsoft.com/office/powerpoint/2010/main" val="387740830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15974B8-4B20-405D-B781-EB5823AF182B}"/>
              </a:ext>
            </a:extLst>
          </p:cNvPr>
          <p:cNvSpPr>
            <a:spLocks noGrp="1"/>
          </p:cNvSpPr>
          <p:nvPr>
            <p:ph type="dt" sz="half" idx="4294967295"/>
          </p:nvPr>
        </p:nvSpPr>
        <p:spPr>
          <a:xfrm>
            <a:off x="0" y="6911975"/>
            <a:ext cx="0" cy="0"/>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69FB771-6015-457D-8CBD-634E18D4B19E}" type="datetime1">
              <a:rPr kumimoji="0" lang="da-DK" sz="1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05-2025</a:t>
            </a:fld>
            <a:endParaRPr kumimoji="0" lang="da-DK" sz="100" b="0" i="0" u="none" strike="noStrike" kern="1200" cap="none" spc="0" normalizeH="0" baseline="0" noProof="0">
              <a:ln>
                <a:noFill/>
              </a:ln>
              <a:noFill/>
              <a:effectLst/>
              <a:uLnTx/>
              <a:uFillTx/>
              <a:latin typeface="Arial"/>
              <a:ea typeface="+mn-ea"/>
              <a:cs typeface="+mn-cs"/>
            </a:endParaRPr>
          </a:p>
        </p:txBody>
      </p:sp>
      <p:sp>
        <p:nvSpPr>
          <p:cNvPr id="24" name="Tekstfelt 23">
            <a:extLst>
              <a:ext uri="{FF2B5EF4-FFF2-40B4-BE49-F238E27FC236}">
                <a16:creationId xmlns:a16="http://schemas.microsoft.com/office/drawing/2014/main" id="{32C0F0DB-4D61-1978-15C2-64FBB6EC7CA5}"/>
              </a:ext>
            </a:extLst>
          </p:cNvPr>
          <p:cNvSpPr txBox="1"/>
          <p:nvPr/>
        </p:nvSpPr>
        <p:spPr>
          <a:xfrm>
            <a:off x="1530663" y="303860"/>
            <a:ext cx="7804188" cy="68223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1000"/>
              </a:spcAft>
              <a:buClrTx/>
              <a:buSzTx/>
              <a:buFontTx/>
              <a:buNone/>
              <a:tabLst/>
              <a:defRPr/>
            </a:pPr>
            <a:r>
              <a:rPr kumimoji="0" lang="da-DK"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Bølgeplan for SDU SIS Programmet</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200" b="0" i="0" u="none" strike="noStrike" kern="1200" cap="none" spc="0" normalizeH="0" baseline="0" noProof="0" dirty="0">
                <a:ln>
                  <a:noFill/>
                </a:ln>
                <a:solidFill>
                  <a:srgbClr val="000000"/>
                </a:solidFill>
                <a:effectLst/>
                <a:uLnTx/>
                <a:uFillTx/>
                <a:latin typeface="Calibri" panose="020F0502020204030204" pitchFamily="34" charset="0"/>
                <a:ea typeface="Calibri" panose="020F0502020204030204" pitchFamily="34" charset="0"/>
                <a:cs typeface="Calibri" panose="020F0502020204030204" pitchFamily="34" charset="0"/>
              </a:rPr>
              <a:t>Overblik over leverancer for hhv. det fælles program og SDU. Hvad skal være på plads inden overgangen til den næste fase? </a:t>
            </a:r>
          </a:p>
        </p:txBody>
      </p:sp>
      <p:sp>
        <p:nvSpPr>
          <p:cNvPr id="39" name="Tekstfelt 38">
            <a:extLst>
              <a:ext uri="{FF2B5EF4-FFF2-40B4-BE49-F238E27FC236}">
                <a16:creationId xmlns:a16="http://schemas.microsoft.com/office/drawing/2014/main" id="{8313FEBA-8DCF-8A2C-73E1-25C4898F4684}"/>
              </a:ext>
            </a:extLst>
          </p:cNvPr>
          <p:cNvSpPr txBox="1"/>
          <p:nvPr/>
        </p:nvSpPr>
        <p:spPr>
          <a:xfrm>
            <a:off x="1276208" y="2762679"/>
            <a:ext cx="1953553" cy="25545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200" b="0" i="0" u="sng"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DU-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pbygge viden om Fælles løsning og Fælles implement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Forberedelsesprojekter – fx studenterkommunikation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Brugerrejs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ataoprydning + Arkivdesig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ntegrationsplatform og løskobling </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o Be-landskab for SDU-systemer samt transitionsplan.</a:t>
            </a:r>
            <a:endParaRPr kumimoji="0" lang="da-DK" sz="11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0" name="Tekstfelt 39">
            <a:extLst>
              <a:ext uri="{FF2B5EF4-FFF2-40B4-BE49-F238E27FC236}">
                <a16:creationId xmlns:a16="http://schemas.microsoft.com/office/drawing/2014/main" id="{9B649203-0B81-F018-1239-4931C76C3296}"/>
              </a:ext>
            </a:extLst>
          </p:cNvPr>
          <p:cNvSpPr txBox="1"/>
          <p:nvPr/>
        </p:nvSpPr>
        <p:spPr>
          <a:xfrm>
            <a:off x="3259271" y="2797990"/>
            <a:ext cx="1953553" cy="23852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200" b="0" i="0" u="sng"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DU-aktivitet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Udvikling af integrationer </a:t>
            </a:r>
            <a:b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b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il kommende 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esign af To Be-process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o Be-brugerrejser for</a:t>
            </a:r>
            <a:b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b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dm. ansatte + studerend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Forandringsanalys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mplementering af begrebs- og informationsmodel</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trategier for test, data-migrering, teknisk implementering og transition til drift.</a:t>
            </a:r>
            <a:endParaRPr kumimoji="0" lang="da-DK" sz="1100" b="0" i="0" u="sng"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41" name="Tekstfelt 40">
            <a:extLst>
              <a:ext uri="{FF2B5EF4-FFF2-40B4-BE49-F238E27FC236}">
                <a16:creationId xmlns:a16="http://schemas.microsoft.com/office/drawing/2014/main" id="{9B97AE8B-8F6A-4860-BD8A-7D5E56EA5A6F}"/>
              </a:ext>
            </a:extLst>
          </p:cNvPr>
          <p:cNvSpPr txBox="1"/>
          <p:nvPr/>
        </p:nvSpPr>
        <p:spPr>
          <a:xfrm>
            <a:off x="7392534" y="2797990"/>
            <a:ext cx="2194572" cy="255454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200" b="0" i="0" u="sng"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DU-aktiviteter</a:t>
            </a:r>
            <a:r>
              <a:rPr kumimoji="0" lang="da-DK"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psætning af de 8 hoved-procesområder i Fælles løsning til SDU organis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psætning af fælles + lokale integration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a:ea typeface="+mn-ea"/>
                <a:cs typeface="Calibri"/>
              </a:rPr>
              <a:t>Teknisk implementer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a:ea typeface="+mn-ea"/>
                <a:cs typeface="Calibri"/>
              </a:rPr>
              <a:t>Datamigrering </a:t>
            </a:r>
            <a:endParaRPr kumimoji="0" lang="da-DK" sz="1800" b="0" i="0" u="none" strike="noStrike" kern="1200" cap="none" spc="0" normalizeH="0" baseline="0" noProof="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vertagelsestes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Cut-over – Teknisk overgangspla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Go-live – Plan for idriftsættel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ræning i anvendelse af 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Etablering af driftsorganisation.</a:t>
            </a:r>
          </a:p>
        </p:txBody>
      </p:sp>
      <p:sp>
        <p:nvSpPr>
          <p:cNvPr id="42" name="Tekstfelt 41">
            <a:extLst>
              <a:ext uri="{FF2B5EF4-FFF2-40B4-BE49-F238E27FC236}">
                <a16:creationId xmlns:a16="http://schemas.microsoft.com/office/drawing/2014/main" id="{0D50B9D0-1985-AF91-3D87-B2810C991602}"/>
              </a:ext>
            </a:extLst>
          </p:cNvPr>
          <p:cNvSpPr txBox="1">
            <a:spLocks/>
          </p:cNvSpPr>
          <p:nvPr/>
        </p:nvSpPr>
        <p:spPr>
          <a:xfrm>
            <a:off x="9481482" y="2827168"/>
            <a:ext cx="1809264" cy="229293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200" b="0" i="0" u="sng"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DU-aktivitet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riftsprøve m. leverandøren (efter de første 40 da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pfølgning på anvendels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Netvær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Overdragelse fra program til drif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 Udfasning af systeme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 Gevinstrealiseringspla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     - Programafslutning</a:t>
            </a:r>
          </a:p>
        </p:txBody>
      </p:sp>
      <p:graphicFrame>
        <p:nvGraphicFramePr>
          <p:cNvPr id="6" name="Diagram 5">
            <a:extLst>
              <a:ext uri="{FF2B5EF4-FFF2-40B4-BE49-F238E27FC236}">
                <a16:creationId xmlns:a16="http://schemas.microsoft.com/office/drawing/2014/main" id="{B4C7B241-45DF-BD5E-DAE6-989CF382EC54}"/>
              </a:ext>
            </a:extLst>
          </p:cNvPr>
          <p:cNvGraphicFramePr>
            <a:graphicFrameLocks/>
          </p:cNvGraphicFramePr>
          <p:nvPr/>
        </p:nvGraphicFramePr>
        <p:xfrm>
          <a:off x="1276209" y="1899250"/>
          <a:ext cx="9670989" cy="86302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12" name="Rektangel: afrundede hjørner 11">
            <a:extLst>
              <a:ext uri="{FF2B5EF4-FFF2-40B4-BE49-F238E27FC236}">
                <a16:creationId xmlns:a16="http://schemas.microsoft.com/office/drawing/2014/main" id="{3283802F-508E-B93C-AE93-B0544DF04F33}"/>
              </a:ext>
            </a:extLst>
          </p:cNvPr>
          <p:cNvSpPr>
            <a:spLocks noGrp="1" noRot="1" noMove="1" noResize="1" noEditPoints="1" noAdjustHandles="1" noChangeArrowheads="1" noChangeShapeType="1"/>
          </p:cNvSpPr>
          <p:nvPr/>
        </p:nvSpPr>
        <p:spPr>
          <a:xfrm>
            <a:off x="10895179" y="1669956"/>
            <a:ext cx="791135" cy="235499"/>
          </a:xfrm>
          <a:prstGeom prst="round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000000"/>
                </a:solidFill>
                <a:effectLst/>
                <a:uLnTx/>
                <a:uFillTx/>
                <a:latin typeface="Arial"/>
                <a:ea typeface="+mn-ea"/>
                <a:cs typeface="+mn-cs"/>
              </a:rPr>
              <a:t>2029</a:t>
            </a:r>
          </a:p>
        </p:txBody>
      </p:sp>
      <p:pic>
        <p:nvPicPr>
          <p:cNvPr id="13" name="Billede 12">
            <a:extLst>
              <a:ext uri="{FF2B5EF4-FFF2-40B4-BE49-F238E27FC236}">
                <a16:creationId xmlns:a16="http://schemas.microsoft.com/office/drawing/2014/main" id="{3603A2A9-FEE0-4254-ADBD-931D6BB9B344}"/>
              </a:ext>
            </a:extLst>
          </p:cNvPr>
          <p:cNvPicPr/>
          <p:nvPr>
            <p:custDataLst>
              <p:tags r:id="rId3"/>
            </p:custDataLst>
          </p:nvPr>
        </p:nvPicPr>
        <p:blipFill rotWithShape="1">
          <a:blip r:embed="rId14" cstate="print">
            <a:extLst>
              <a:ext uri="{28A0092B-C50C-407E-A947-70E740481C1C}">
                <a14:useLocalDpi xmlns:a14="http://schemas.microsoft.com/office/drawing/2010/main" val="0"/>
              </a:ext>
            </a:extLst>
          </a:blip>
          <a:srcRect/>
          <a:stretch/>
        </p:blipFill>
        <p:spPr>
          <a:xfrm>
            <a:off x="1530663" y="1224812"/>
            <a:ext cx="925312" cy="863020"/>
          </a:xfrm>
          <a:prstGeom prst="rect">
            <a:avLst/>
          </a:prstGeom>
        </p:spPr>
      </p:pic>
      <p:pic>
        <p:nvPicPr>
          <p:cNvPr id="3" name="Billede 2">
            <a:extLst>
              <a:ext uri="{FF2B5EF4-FFF2-40B4-BE49-F238E27FC236}">
                <a16:creationId xmlns:a16="http://schemas.microsoft.com/office/drawing/2014/main" id="{4F3EB4B8-EA65-96FB-F50E-E76C2305577E}"/>
              </a:ext>
            </a:extLst>
          </p:cNvPr>
          <p:cNvPicPr/>
          <p:nvPr>
            <p:custDataLst>
              <p:tags r:id="rId4"/>
            </p:custDataLst>
          </p:nvPr>
        </p:nvPicPr>
        <p:blipFill rotWithShape="1">
          <a:blip r:embed="rId15" cstate="print">
            <a:extLst>
              <a:ext uri="{28A0092B-C50C-407E-A947-70E740481C1C}">
                <a14:useLocalDpi xmlns:a14="http://schemas.microsoft.com/office/drawing/2010/main" val="0"/>
              </a:ext>
            </a:extLst>
          </a:blip>
          <a:srcRect/>
          <a:stretch/>
        </p:blipFill>
        <p:spPr>
          <a:xfrm>
            <a:off x="3475597" y="1224812"/>
            <a:ext cx="1119817" cy="1011459"/>
          </a:xfrm>
          <a:prstGeom prst="rect">
            <a:avLst/>
          </a:prstGeom>
        </p:spPr>
      </p:pic>
      <p:pic>
        <p:nvPicPr>
          <p:cNvPr id="11" name="Billede 10">
            <a:extLst>
              <a:ext uri="{FF2B5EF4-FFF2-40B4-BE49-F238E27FC236}">
                <a16:creationId xmlns:a16="http://schemas.microsoft.com/office/drawing/2014/main" id="{46A80F0E-3752-3E38-8F9D-9C898B39C7F7}"/>
              </a:ext>
            </a:extLst>
          </p:cNvPr>
          <p:cNvPicPr/>
          <p:nvPr>
            <p:custDataLst>
              <p:tags r:id="rId5"/>
            </p:custDataLst>
          </p:nvPr>
        </p:nvPicPr>
        <p:blipFill rotWithShape="1">
          <a:blip r:embed="rId16" cstate="print">
            <a:extLst>
              <a:ext uri="{28A0092B-C50C-407E-A947-70E740481C1C}">
                <a14:useLocalDpi xmlns:a14="http://schemas.microsoft.com/office/drawing/2010/main" val="0"/>
              </a:ext>
            </a:extLst>
          </a:blip>
          <a:srcRect/>
          <a:stretch/>
        </p:blipFill>
        <p:spPr>
          <a:xfrm>
            <a:off x="7705188" y="1224812"/>
            <a:ext cx="985806" cy="863020"/>
          </a:xfrm>
          <a:prstGeom prst="rect">
            <a:avLst/>
          </a:prstGeom>
        </p:spPr>
      </p:pic>
      <p:pic>
        <p:nvPicPr>
          <p:cNvPr id="7" name="Billede 6">
            <a:extLst>
              <a:ext uri="{FF2B5EF4-FFF2-40B4-BE49-F238E27FC236}">
                <a16:creationId xmlns:a16="http://schemas.microsoft.com/office/drawing/2014/main" id="{6E6EC015-4717-7299-2475-99284D3EEB5E}"/>
              </a:ext>
            </a:extLst>
          </p:cNvPr>
          <p:cNvPicPr>
            <a:picLocks/>
          </p:cNvPicPr>
          <p:nvPr>
            <p:custDataLst>
              <p:tags r:id="rId6"/>
            </p:custDataLst>
          </p:nvPr>
        </p:nvPicPr>
        <p:blipFill rotWithShape="1">
          <a:blip r:embed="rId17" cstate="print">
            <a:extLst>
              <a:ext uri="{28A0092B-C50C-407E-A947-70E740481C1C}">
                <a14:useLocalDpi xmlns:a14="http://schemas.microsoft.com/office/drawing/2010/main" val="0"/>
              </a:ext>
            </a:extLst>
          </a:blip>
          <a:srcRect/>
          <a:stretch/>
        </p:blipFill>
        <p:spPr>
          <a:xfrm>
            <a:off x="9637031" y="1128984"/>
            <a:ext cx="1119817" cy="1011458"/>
          </a:xfrm>
          <a:prstGeom prst="rect">
            <a:avLst/>
          </a:prstGeom>
        </p:spPr>
      </p:pic>
      <p:sp>
        <p:nvSpPr>
          <p:cNvPr id="2" name="Tekstfelt 1">
            <a:extLst>
              <a:ext uri="{FF2B5EF4-FFF2-40B4-BE49-F238E27FC236}">
                <a16:creationId xmlns:a16="http://schemas.microsoft.com/office/drawing/2014/main" id="{900FC6AE-FB37-1991-F2B5-6BAF1D90765D}"/>
              </a:ext>
            </a:extLst>
          </p:cNvPr>
          <p:cNvSpPr txBox="1"/>
          <p:nvPr/>
        </p:nvSpPr>
        <p:spPr>
          <a:xfrm>
            <a:off x="1063833" y="5509929"/>
            <a:ext cx="2308202"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sult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Vi kender Fælles løsning og de fælles integrationer samt programmets rammer for implementeringen på SDU. </a:t>
            </a:r>
          </a:p>
        </p:txBody>
      </p:sp>
      <p:sp>
        <p:nvSpPr>
          <p:cNvPr id="8" name="Tekstfelt 7">
            <a:extLst>
              <a:ext uri="{FF2B5EF4-FFF2-40B4-BE49-F238E27FC236}">
                <a16:creationId xmlns:a16="http://schemas.microsoft.com/office/drawing/2014/main" id="{4E0A4537-7A82-CDE0-A61F-697F116D16CB}"/>
              </a:ext>
            </a:extLst>
          </p:cNvPr>
          <p:cNvSpPr txBox="1"/>
          <p:nvPr/>
        </p:nvSpPr>
        <p:spPr>
          <a:xfrm>
            <a:off x="5325902" y="5521813"/>
            <a:ext cx="2308202"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sult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Tjek og sign af med leverandør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Vi kender den detaljerede plan for det kommende år og har organisering, ressourcer og kompetencer på plad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endParaRPr>
          </a:p>
        </p:txBody>
      </p:sp>
      <p:sp>
        <p:nvSpPr>
          <p:cNvPr id="9" name="Tekstfelt 8">
            <a:extLst>
              <a:ext uri="{FF2B5EF4-FFF2-40B4-BE49-F238E27FC236}">
                <a16:creationId xmlns:a16="http://schemas.microsoft.com/office/drawing/2014/main" id="{8CF2D0E5-E610-E994-EC69-998E1FDD7064}"/>
              </a:ext>
            </a:extLst>
          </p:cNvPr>
          <p:cNvSpPr txBox="1"/>
          <p:nvPr/>
        </p:nvSpPr>
        <p:spPr>
          <a:xfrm>
            <a:off x="7476328" y="5509929"/>
            <a:ext cx="2308202" cy="92333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sult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Fælles løsning er etableret i SDU-miljø.</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riftsorganisationen er klar til go-liv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Brugere og ledere er informerede og trænede. SDU er klar til </a:t>
            </a:r>
            <a:r>
              <a:rPr kumimoji="0" lang="da-DK" sz="1000" b="0" i="0" u="none" strike="noStrike" kern="1200" cap="none" spc="0" normalizeH="0" baseline="0" noProof="0" err="1">
                <a:ln>
                  <a:noFill/>
                </a:ln>
                <a:solidFill>
                  <a:srgbClr val="000000"/>
                </a:solidFill>
                <a:effectLst/>
                <a:uLnTx/>
                <a:uFillTx/>
                <a:latin typeface="Calibri" panose="020F0502020204030204" pitchFamily="34" charset="0"/>
                <a:ea typeface="+mn-ea"/>
                <a:cs typeface="Calibri" panose="020F0502020204030204" pitchFamily="34" charset="0"/>
              </a:rPr>
              <a:t>Hypercare</a:t>
            </a:r>
            <a:r>
              <a:rPr kumimoji="0" lang="da-DK"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periode for både ansatte og studerende.</a:t>
            </a:r>
          </a:p>
        </p:txBody>
      </p:sp>
      <p:sp>
        <p:nvSpPr>
          <p:cNvPr id="5" name="Tekstfelt 4">
            <a:extLst>
              <a:ext uri="{FF2B5EF4-FFF2-40B4-BE49-F238E27FC236}">
                <a16:creationId xmlns:a16="http://schemas.microsoft.com/office/drawing/2014/main" id="{5C86BC58-6771-2ECF-C2C5-E094A607DA12}"/>
              </a:ext>
            </a:extLst>
          </p:cNvPr>
          <p:cNvSpPr txBox="1"/>
          <p:nvPr/>
        </p:nvSpPr>
        <p:spPr>
          <a:xfrm>
            <a:off x="3314888" y="5521813"/>
            <a:ext cx="2308202" cy="461665"/>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Result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DU er klar til implementering – både teknisk og organisatorisk.</a:t>
            </a:r>
          </a:p>
        </p:txBody>
      </p:sp>
      <p:sp>
        <p:nvSpPr>
          <p:cNvPr id="10" name="Tekstfelt 9">
            <a:extLst>
              <a:ext uri="{FF2B5EF4-FFF2-40B4-BE49-F238E27FC236}">
                <a16:creationId xmlns:a16="http://schemas.microsoft.com/office/drawing/2014/main" id="{51D91BB3-7A77-E6DF-967C-176DB5BBABF7}"/>
              </a:ext>
            </a:extLst>
          </p:cNvPr>
          <p:cNvSpPr txBox="1"/>
          <p:nvPr/>
        </p:nvSpPr>
        <p:spPr>
          <a:xfrm>
            <a:off x="5325902" y="2803236"/>
            <a:ext cx="1953553" cy="17081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da-DK" sz="1200" b="0" i="0" u="sng"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SDU-aktiviteter: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Der indgås tillægskontrakt med leverandør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da-DK" sz="11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t>I samarbejde med leverandøren forberedes de detaljerede planer og strategier for implementeringen af SIS på SDU</a:t>
            </a:r>
          </a:p>
        </p:txBody>
      </p:sp>
      <p:pic>
        <p:nvPicPr>
          <p:cNvPr id="16" name="Billede 15">
            <a:extLst>
              <a:ext uri="{FF2B5EF4-FFF2-40B4-BE49-F238E27FC236}">
                <a16:creationId xmlns:a16="http://schemas.microsoft.com/office/drawing/2014/main" id="{ADB6B7E4-13DC-A4E2-419E-9594E3FDDA36}"/>
              </a:ext>
            </a:extLst>
          </p:cNvPr>
          <p:cNvPicPr>
            <a:picLocks noChangeAspect="1"/>
          </p:cNvPicPr>
          <p:nvPr>
            <p:custDataLst>
              <p:tags r:id="rId7"/>
            </p:custDataLst>
          </p:nvPr>
        </p:nvPicPr>
        <p:blipFill rotWithShape="1">
          <a:blip r:embed="rId18">
            <a:extLst>
              <a:ext uri="{28A0092B-C50C-407E-A947-70E740481C1C}">
                <a14:useLocalDpi xmlns:a14="http://schemas.microsoft.com/office/drawing/2010/main" val="0"/>
              </a:ext>
            </a:extLst>
          </a:blip>
          <a:srcRect l="-126340" t="-126340" r="-1" b="-1"/>
          <a:stretch/>
        </p:blipFill>
        <p:spPr>
          <a:xfrm>
            <a:off x="4226841" y="-52914"/>
            <a:ext cx="2441704" cy="2235351"/>
          </a:xfrm>
          <a:prstGeom prst="rect">
            <a:avLst/>
          </a:prstGeom>
        </p:spPr>
      </p:pic>
    </p:spTree>
    <p:custDataLst>
      <p:custData r:id="rId1"/>
      <p:custData r:id="rId2"/>
    </p:custDataLst>
    <p:extLst>
      <p:ext uri="{BB962C8B-B14F-4D97-AF65-F5344CB8AC3E}">
        <p14:creationId xmlns:p14="http://schemas.microsoft.com/office/powerpoint/2010/main" val="42931715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ED278C-4138-09C6-4492-5C4324F96817}"/>
            </a:ext>
          </a:extLst>
        </p:cNvPr>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0FA5BBB3-F852-963E-7CE0-E363F33EE374}"/>
              </a:ext>
            </a:extLst>
          </p:cNvPr>
          <p:cNvGraphicFramePr>
            <a:graphicFrameLocks noChangeAspect="1"/>
          </p:cNvGraphicFramePr>
          <p:nvPr>
            <p:custDataLst>
              <p:tags r:id="rId1"/>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16" name="think-cell data - do not delete" hidden="1">
                        <a:extLst>
                          <a:ext uri="{FF2B5EF4-FFF2-40B4-BE49-F238E27FC236}">
                            <a16:creationId xmlns:a16="http://schemas.microsoft.com/office/drawing/2014/main" id="{0FA5BBB3-F852-963E-7CE0-E363F33EE374}"/>
                          </a:ext>
                        </a:extLst>
                      </p:cNvPr>
                      <p:cNvPicPr/>
                      <p:nvPr/>
                    </p:nvPicPr>
                    <p:blipFill>
                      <a:blip r:embed="rId5"/>
                      <a:stretch>
                        <a:fillRect/>
                      </a:stretch>
                    </p:blipFill>
                    <p:spPr>
                      <a:xfrm>
                        <a:off x="1764" y="1687"/>
                        <a:ext cx="1588" cy="1588"/>
                      </a:xfrm>
                      <a:prstGeom prst="rect">
                        <a:avLst/>
                      </a:prstGeom>
                    </p:spPr>
                  </p:pic>
                </p:oleObj>
              </mc:Fallback>
            </mc:AlternateContent>
          </a:graphicData>
        </a:graphic>
      </p:graphicFrame>
      <p:sp>
        <p:nvSpPr>
          <p:cNvPr id="85" name="Slide Number Placeholder 3">
            <a:extLst>
              <a:ext uri="{FF2B5EF4-FFF2-40B4-BE49-F238E27FC236}">
                <a16:creationId xmlns:a16="http://schemas.microsoft.com/office/drawing/2014/main" id="{E11FB6DD-36CF-6B46-E445-1C3E96D14CD2}"/>
              </a:ext>
            </a:extLst>
          </p:cNvPr>
          <p:cNvSpPr>
            <a:spLocks noGrp="1"/>
          </p:cNvSpPr>
          <p:nvPr>
            <p:ph type="sldNum" sz="quarter" idx="4"/>
          </p:nvPr>
        </p:nvSpPr>
        <p:spPr>
          <a:xfrm>
            <a:off x="11396860" y="6372661"/>
            <a:ext cx="339693" cy="365115"/>
          </a:xfrm>
        </p:spPr>
        <p:txBody>
          <a:bodyPr/>
          <a:lstStyle/>
          <a:p>
            <a:pPr marL="0" marR="0" lvl="0" indent="0" algn="r" defTabSz="914309" rtl="0" eaLnBrk="1" fontAlgn="auto" latinLnBrk="0" hangingPunct="1">
              <a:lnSpc>
                <a:spcPct val="100000"/>
              </a:lnSpc>
              <a:spcBef>
                <a:spcPts val="0"/>
              </a:spcBef>
              <a:spcAft>
                <a:spcPts val="0"/>
              </a:spcAft>
              <a:buClrTx/>
              <a:buSzTx/>
              <a:buFontTx/>
              <a:buNone/>
              <a:tabLst/>
              <a:defRPr/>
            </a:pPr>
            <a:fld id="{39DF810D-F77C-4BB2-BE6A-BDC67BB44902}" type="slidenum">
              <a:rPr kumimoji="0" lang="da-DK" sz="800" b="1" i="0" u="none" strike="noStrike" kern="1200" cap="none" spc="0" normalizeH="0" baseline="0" noProof="0">
                <a:ln>
                  <a:noFill/>
                </a:ln>
                <a:solidFill>
                  <a:srgbClr val="064F44"/>
                </a:solidFill>
                <a:effectLst/>
                <a:uLnTx/>
                <a:uFillTx/>
                <a:latin typeface="Arial" panose="020B0604020202020204"/>
                <a:ea typeface="+mn-ea"/>
                <a:cs typeface="+mn-cs"/>
              </a:rPr>
              <a:pPr marL="0" marR="0" lvl="0" indent="0" algn="r" defTabSz="914309" rtl="0" eaLnBrk="1" fontAlgn="auto" latinLnBrk="0" hangingPunct="1">
                <a:lnSpc>
                  <a:spcPct val="100000"/>
                </a:lnSpc>
                <a:spcBef>
                  <a:spcPts val="0"/>
                </a:spcBef>
                <a:spcAft>
                  <a:spcPts val="0"/>
                </a:spcAft>
                <a:buClrTx/>
                <a:buSzTx/>
                <a:buFontTx/>
                <a:buNone/>
                <a:tabLst/>
                <a:defRPr/>
              </a:pPr>
              <a:t>12</a:t>
            </a:fld>
            <a:endParaRPr kumimoji="0" lang="da-DK" sz="800" b="1" i="0" u="none" strike="noStrike" kern="1200" cap="none" spc="0" normalizeH="0" baseline="0" noProof="0">
              <a:ln>
                <a:noFill/>
              </a:ln>
              <a:solidFill>
                <a:srgbClr val="064F44"/>
              </a:solidFill>
              <a:effectLst/>
              <a:uLnTx/>
              <a:uFillTx/>
              <a:latin typeface="Arial" panose="020B0604020202020204"/>
              <a:ea typeface="+mn-ea"/>
              <a:cs typeface="+mn-cs"/>
            </a:endParaRPr>
          </a:p>
        </p:txBody>
      </p:sp>
      <p:sp>
        <p:nvSpPr>
          <p:cNvPr id="86" name="Date Placeholder 4">
            <a:extLst>
              <a:ext uri="{FF2B5EF4-FFF2-40B4-BE49-F238E27FC236}">
                <a16:creationId xmlns:a16="http://schemas.microsoft.com/office/drawing/2014/main" id="{77A6BDE5-743D-F94F-A9F9-FAEE7385AE67}"/>
              </a:ext>
            </a:extLst>
          </p:cNvPr>
          <p:cNvSpPr>
            <a:spLocks noGrp="1"/>
          </p:cNvSpPr>
          <p:nvPr>
            <p:ph type="dt" sz="half" idx="2"/>
          </p:nvPr>
        </p:nvSpPr>
        <p:spPr>
          <a:xfrm>
            <a:off x="10649420" y="6372661"/>
            <a:ext cx="747605" cy="365115"/>
          </a:xfrm>
        </p:spPr>
        <p:txBody>
          <a:bodyPr/>
          <a:lstStyle/>
          <a:p>
            <a:pPr marL="0" marR="0" lvl="0" indent="0" algn="l" defTabSz="914309" rtl="0" eaLnBrk="1" fontAlgn="auto" latinLnBrk="0" hangingPunct="1">
              <a:lnSpc>
                <a:spcPct val="100000"/>
              </a:lnSpc>
              <a:spcBef>
                <a:spcPts val="0"/>
              </a:spcBef>
              <a:spcAft>
                <a:spcPts val="0"/>
              </a:spcAft>
              <a:buClrTx/>
              <a:buSzTx/>
              <a:buFontTx/>
              <a:buNone/>
              <a:tabLst/>
              <a:defRPr/>
            </a:pPr>
            <a:fld id="{6585D110-0B52-4CB9-8AE7-B495E4D5B418}" type="datetime1">
              <a:rPr kumimoji="0" lang="da-DK" sz="800" b="0" i="0" u="none" strike="noStrike" kern="1200" cap="none" spc="0" normalizeH="0" baseline="0" noProof="0">
                <a:ln>
                  <a:noFill/>
                </a:ln>
                <a:solidFill>
                  <a:prstClr val="black"/>
                </a:solidFill>
                <a:effectLst/>
                <a:uLnTx/>
                <a:uFillTx/>
                <a:latin typeface="Arial" panose="020B0604020202020204"/>
                <a:cs typeface="Times New Roman" panose="02020603050405020304" pitchFamily="18" charset="0"/>
              </a:rPr>
              <a:pPr marL="0" marR="0" lvl="0" indent="0" algn="l" defTabSz="914309" rtl="0" eaLnBrk="1" fontAlgn="auto" latinLnBrk="0" hangingPunct="1">
                <a:lnSpc>
                  <a:spcPct val="100000"/>
                </a:lnSpc>
                <a:spcBef>
                  <a:spcPts val="0"/>
                </a:spcBef>
                <a:spcAft>
                  <a:spcPts val="0"/>
                </a:spcAft>
                <a:buClrTx/>
                <a:buSzTx/>
                <a:buFontTx/>
                <a:buNone/>
                <a:tabLst/>
                <a:defRPr/>
              </a:pPr>
              <a:t>08-05-2025</a:t>
            </a:fld>
            <a:endParaRPr kumimoji="0" lang="da-DK" sz="800" b="0" i="0" u="none" strike="noStrike" kern="1200" cap="none" spc="0" normalizeH="0" baseline="0" noProof="0">
              <a:ln>
                <a:noFill/>
              </a:ln>
              <a:solidFill>
                <a:prstClr val="black"/>
              </a:solidFill>
              <a:effectLst/>
              <a:uLnTx/>
              <a:uFillTx/>
              <a:latin typeface="Arial" panose="020B0604020202020204"/>
              <a:cs typeface="Times New Roman" panose="02020603050405020304" pitchFamily="18" charset="0"/>
            </a:endParaRPr>
          </a:p>
        </p:txBody>
      </p:sp>
      <p:graphicFrame>
        <p:nvGraphicFramePr>
          <p:cNvPr id="2" name="Tabel 1">
            <a:extLst>
              <a:ext uri="{FF2B5EF4-FFF2-40B4-BE49-F238E27FC236}">
                <a16:creationId xmlns:a16="http://schemas.microsoft.com/office/drawing/2014/main" id="{1979972F-4D99-F4A4-0728-C8BF8436D0A1}"/>
              </a:ext>
            </a:extLst>
          </p:cNvPr>
          <p:cNvGraphicFramePr>
            <a:graphicFrameLocks noGrp="1"/>
          </p:cNvGraphicFramePr>
          <p:nvPr/>
        </p:nvGraphicFramePr>
        <p:xfrm>
          <a:off x="2245151" y="1027336"/>
          <a:ext cx="7891200" cy="5410784"/>
        </p:xfrm>
        <a:graphic>
          <a:graphicData uri="http://schemas.openxmlformats.org/drawingml/2006/table">
            <a:tbl>
              <a:tblPr firstRow="1" bandRow="1"/>
              <a:tblGrid>
                <a:gridCol w="657600">
                  <a:extLst>
                    <a:ext uri="{9D8B030D-6E8A-4147-A177-3AD203B41FA5}">
                      <a16:colId xmlns:a16="http://schemas.microsoft.com/office/drawing/2014/main" val="2730700514"/>
                    </a:ext>
                  </a:extLst>
                </a:gridCol>
                <a:gridCol w="657600">
                  <a:extLst>
                    <a:ext uri="{9D8B030D-6E8A-4147-A177-3AD203B41FA5}">
                      <a16:colId xmlns:a16="http://schemas.microsoft.com/office/drawing/2014/main" val="2678389192"/>
                    </a:ext>
                  </a:extLst>
                </a:gridCol>
                <a:gridCol w="657600">
                  <a:extLst>
                    <a:ext uri="{9D8B030D-6E8A-4147-A177-3AD203B41FA5}">
                      <a16:colId xmlns:a16="http://schemas.microsoft.com/office/drawing/2014/main" val="2178125585"/>
                    </a:ext>
                  </a:extLst>
                </a:gridCol>
                <a:gridCol w="657600">
                  <a:extLst>
                    <a:ext uri="{9D8B030D-6E8A-4147-A177-3AD203B41FA5}">
                      <a16:colId xmlns:a16="http://schemas.microsoft.com/office/drawing/2014/main" val="2168126626"/>
                    </a:ext>
                  </a:extLst>
                </a:gridCol>
                <a:gridCol w="657600">
                  <a:extLst>
                    <a:ext uri="{9D8B030D-6E8A-4147-A177-3AD203B41FA5}">
                      <a16:colId xmlns:a16="http://schemas.microsoft.com/office/drawing/2014/main" val="726249741"/>
                    </a:ext>
                  </a:extLst>
                </a:gridCol>
                <a:gridCol w="657600">
                  <a:extLst>
                    <a:ext uri="{9D8B030D-6E8A-4147-A177-3AD203B41FA5}">
                      <a16:colId xmlns:a16="http://schemas.microsoft.com/office/drawing/2014/main" val="283818813"/>
                    </a:ext>
                  </a:extLst>
                </a:gridCol>
                <a:gridCol w="657600">
                  <a:extLst>
                    <a:ext uri="{9D8B030D-6E8A-4147-A177-3AD203B41FA5}">
                      <a16:colId xmlns:a16="http://schemas.microsoft.com/office/drawing/2014/main" val="3514488701"/>
                    </a:ext>
                  </a:extLst>
                </a:gridCol>
                <a:gridCol w="657600">
                  <a:extLst>
                    <a:ext uri="{9D8B030D-6E8A-4147-A177-3AD203B41FA5}">
                      <a16:colId xmlns:a16="http://schemas.microsoft.com/office/drawing/2014/main" val="3110898705"/>
                    </a:ext>
                  </a:extLst>
                </a:gridCol>
                <a:gridCol w="657600">
                  <a:extLst>
                    <a:ext uri="{9D8B030D-6E8A-4147-A177-3AD203B41FA5}">
                      <a16:colId xmlns:a16="http://schemas.microsoft.com/office/drawing/2014/main" val="1674392609"/>
                    </a:ext>
                  </a:extLst>
                </a:gridCol>
                <a:gridCol w="657600">
                  <a:extLst>
                    <a:ext uri="{9D8B030D-6E8A-4147-A177-3AD203B41FA5}">
                      <a16:colId xmlns:a16="http://schemas.microsoft.com/office/drawing/2014/main" val="2928014239"/>
                    </a:ext>
                  </a:extLst>
                </a:gridCol>
                <a:gridCol w="657600">
                  <a:extLst>
                    <a:ext uri="{9D8B030D-6E8A-4147-A177-3AD203B41FA5}">
                      <a16:colId xmlns:a16="http://schemas.microsoft.com/office/drawing/2014/main" val="486958347"/>
                    </a:ext>
                  </a:extLst>
                </a:gridCol>
                <a:gridCol w="657600">
                  <a:extLst>
                    <a:ext uri="{9D8B030D-6E8A-4147-A177-3AD203B41FA5}">
                      <a16:colId xmlns:a16="http://schemas.microsoft.com/office/drawing/2014/main" val="3344374645"/>
                    </a:ext>
                  </a:extLst>
                </a:gridCol>
              </a:tblGrid>
              <a:tr h="367174">
                <a:tc>
                  <a:txBody>
                    <a:bodyPr/>
                    <a:lstStyle>
                      <a:lvl1pPr marL="0" algn="l" defTabSz="914400" rtl="0" eaLnBrk="1" latinLnBrk="0" hangingPunct="1">
                        <a:defRPr sz="1800" b="1" kern="1200">
                          <a:solidFill>
                            <a:schemeClr val="lt1"/>
                          </a:solidFill>
                          <a:latin typeface="Arial" panose="020B0604020202020204"/>
                        </a:defRPr>
                      </a:lvl1pPr>
                      <a:lvl2pPr marL="457200" algn="l" defTabSz="914400" rtl="0" eaLnBrk="1" latinLnBrk="0" hangingPunct="1">
                        <a:defRPr sz="1800" b="1" kern="1200">
                          <a:solidFill>
                            <a:schemeClr val="lt1"/>
                          </a:solidFill>
                          <a:latin typeface="Arial" panose="020B0604020202020204"/>
                        </a:defRPr>
                      </a:lvl2pPr>
                      <a:lvl3pPr marL="914400" algn="l" defTabSz="914400" rtl="0" eaLnBrk="1" latinLnBrk="0" hangingPunct="1">
                        <a:defRPr sz="1800" b="1" kern="1200">
                          <a:solidFill>
                            <a:schemeClr val="lt1"/>
                          </a:solidFill>
                          <a:latin typeface="Arial" panose="020B0604020202020204"/>
                        </a:defRPr>
                      </a:lvl3pPr>
                      <a:lvl4pPr marL="1371600" algn="l" defTabSz="914400" rtl="0" eaLnBrk="1" latinLnBrk="0" hangingPunct="1">
                        <a:defRPr sz="1800" b="1" kern="1200">
                          <a:solidFill>
                            <a:schemeClr val="lt1"/>
                          </a:solidFill>
                          <a:latin typeface="Arial" panose="020B0604020202020204"/>
                        </a:defRPr>
                      </a:lvl4pPr>
                      <a:lvl5pPr marL="1828800" algn="l" defTabSz="914400" rtl="0" eaLnBrk="1" latinLnBrk="0" hangingPunct="1">
                        <a:defRPr sz="1800" b="1" kern="1200">
                          <a:solidFill>
                            <a:schemeClr val="lt1"/>
                          </a:solidFill>
                          <a:latin typeface="Arial" panose="020B0604020202020204"/>
                        </a:defRPr>
                      </a:lvl5pPr>
                      <a:lvl6pPr marL="2286000" algn="l" defTabSz="914400" rtl="0" eaLnBrk="1" latinLnBrk="0" hangingPunct="1">
                        <a:defRPr sz="1800" b="1" kern="1200">
                          <a:solidFill>
                            <a:schemeClr val="lt1"/>
                          </a:solidFill>
                          <a:latin typeface="Arial" panose="020B0604020202020204"/>
                        </a:defRPr>
                      </a:lvl6pPr>
                      <a:lvl7pPr marL="2743200" algn="l" defTabSz="914400" rtl="0" eaLnBrk="1" latinLnBrk="0" hangingPunct="1">
                        <a:defRPr sz="1800" b="1" kern="1200">
                          <a:solidFill>
                            <a:schemeClr val="lt1"/>
                          </a:solidFill>
                          <a:latin typeface="Arial" panose="020B0604020202020204"/>
                        </a:defRPr>
                      </a:lvl7pPr>
                      <a:lvl8pPr marL="3200400" algn="l" defTabSz="914400" rtl="0" eaLnBrk="1" latinLnBrk="0" hangingPunct="1">
                        <a:defRPr sz="1800" b="1" kern="1200">
                          <a:solidFill>
                            <a:schemeClr val="lt1"/>
                          </a:solidFill>
                          <a:latin typeface="Arial" panose="020B0604020202020204"/>
                        </a:defRPr>
                      </a:lvl8pPr>
                      <a:lvl9pPr marL="3657600" algn="l" defTabSz="914400" rtl="0" eaLnBrk="1" latinLnBrk="0" hangingPunct="1">
                        <a:defRPr sz="1800" b="1" kern="1200">
                          <a:solidFill>
                            <a:schemeClr val="lt1"/>
                          </a:solidFill>
                          <a:latin typeface="Arial" panose="020B0604020202020204"/>
                        </a:defRPr>
                      </a:lvl9pPr>
                    </a:lstStyle>
                    <a:p>
                      <a:pPr algn="ctr"/>
                      <a:r>
                        <a:rPr lang="en-US" sz="900"/>
                        <a:t>2024</a:t>
                      </a:r>
                      <a:endParaRPr lang="da-DK" sz="900"/>
                    </a:p>
                  </a:txBody>
                  <a:tcPr marL="91437" marR="91437" marT="45719" marB="45719" anchor="ctr">
                    <a:lnL w="12700" cmpd="sng">
                      <a:solidFill>
                        <a:srgbClr val="FFFFFF"/>
                      </a:solidFill>
                    </a:lnL>
                    <a:lnR w="12700" cap="flat" cmpd="sng" algn="ctr">
                      <a:solidFill>
                        <a:srgbClr val="FFFFFF"/>
                      </a:solidFill>
                      <a:prstDash val="solid"/>
                      <a:round/>
                      <a:headEnd type="none" w="med" len="med"/>
                      <a:tailEnd type="none" w="med" len="med"/>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4A8588"/>
                    </a:solidFill>
                  </a:tcPr>
                </a:tc>
                <a:tc gridSpan="11">
                  <a:txBody>
                    <a:bodyPr/>
                    <a:lstStyle/>
                    <a:p>
                      <a:pPr algn="ctr"/>
                      <a:r>
                        <a:rPr lang="da-DK" sz="900" b="1">
                          <a:solidFill>
                            <a:schemeClr val="bg1"/>
                          </a:solidFill>
                        </a:rPr>
                        <a:t>2025</a:t>
                      </a:r>
                      <a:endParaRPr kumimoji="0" lang="da-DK" sz="900" b="1" i="0" u="none" strike="noStrike" kern="1200" cap="none" spc="0" normalizeH="0" baseline="0" noProof="0">
                        <a:ln>
                          <a:noFill/>
                        </a:ln>
                        <a:solidFill>
                          <a:schemeClr val="bg1"/>
                        </a:solidFill>
                        <a:effectLst/>
                        <a:uLnTx/>
                        <a:uFillTx/>
                        <a:latin typeface="+mn-lt"/>
                        <a:ea typeface="+mn-ea"/>
                        <a:cs typeface="+mn-cs"/>
                      </a:endParaRPr>
                    </a:p>
                  </a:txBody>
                  <a:tcPr marL="91437" marR="91437" marT="45719" marB="45719"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pPr algn="ctr"/>
                      <a:endParaRPr lang="da-DK" sz="900"/>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endParaRPr/>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pPr algn="ctr"/>
                      <a:endParaRPr lang="da-DK" sz="900" b="1">
                        <a:solidFill>
                          <a:schemeClr val="bg1"/>
                        </a:solidFill>
                      </a:endParaRPr>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pPr algn="ctr"/>
                      <a:endParaRPr lang="da-DK" sz="900" b="1">
                        <a:solidFill>
                          <a:schemeClr val="bg1"/>
                        </a:solidFill>
                      </a:endParaRPr>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endParaRPr/>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da-DK" sz="900" b="1" i="0" u="none" strike="noStrike" kern="1200" cap="none" spc="0" normalizeH="0" baseline="0" noProof="0">
                        <a:ln>
                          <a:noFill/>
                        </a:ln>
                        <a:solidFill>
                          <a:schemeClr val="bg1"/>
                        </a:solidFill>
                        <a:effectLst/>
                        <a:uLnTx/>
                        <a:uFillTx/>
                        <a:latin typeface="+mn-lt"/>
                        <a:ea typeface="+mn-ea"/>
                        <a:cs typeface="+mn-cs"/>
                      </a:endParaRPr>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da-DK" sz="900" b="1" i="0" u="none" strike="noStrike" kern="1200" cap="none" spc="0" normalizeH="0" baseline="0" noProof="0">
                        <a:ln>
                          <a:noFill/>
                        </a:ln>
                        <a:solidFill>
                          <a:schemeClr val="bg1"/>
                        </a:solidFill>
                        <a:effectLst/>
                        <a:uLnTx/>
                        <a:uFillTx/>
                        <a:latin typeface="+mn-lt"/>
                        <a:ea typeface="+mn-ea"/>
                        <a:cs typeface="+mn-cs"/>
                      </a:endParaRPr>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endParaRPr/>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pPr marL="0" marR="0" lvl="0" indent="0" algn="ctr" defTabSz="914583" rtl="0" eaLnBrk="1" fontAlgn="auto" latinLnBrk="0" hangingPunct="1">
                        <a:lnSpc>
                          <a:spcPct val="100000"/>
                        </a:lnSpc>
                        <a:spcBef>
                          <a:spcPts val="0"/>
                        </a:spcBef>
                        <a:spcAft>
                          <a:spcPts val="0"/>
                        </a:spcAft>
                        <a:buClrTx/>
                        <a:buSzTx/>
                        <a:buFontTx/>
                        <a:buNone/>
                        <a:tabLst/>
                        <a:defRPr/>
                      </a:pPr>
                      <a:endParaRPr kumimoji="0" lang="da-DK" sz="900" b="1" i="0" u="none" strike="noStrike" kern="1200" cap="none" spc="0" normalizeH="0" baseline="0" noProof="0">
                        <a:ln>
                          <a:noFill/>
                        </a:ln>
                        <a:solidFill>
                          <a:schemeClr val="bg1"/>
                        </a:solidFill>
                        <a:effectLst/>
                        <a:uLnTx/>
                        <a:uFillTx/>
                        <a:latin typeface="+mn-lt"/>
                        <a:ea typeface="+mn-ea"/>
                        <a:cs typeface="+mn-cs"/>
                      </a:endParaRPr>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tc hMerge="1">
                  <a:txBody>
                    <a:bodyPr/>
                    <a:lstStyle/>
                    <a:p>
                      <a:pPr algn="ctr"/>
                      <a:endParaRPr kumimoji="0" lang="da-DK" sz="900" b="1" i="0" u="none" strike="noStrike" kern="1200" cap="none" spc="0" normalizeH="0" baseline="0" noProof="0">
                        <a:ln>
                          <a:noFill/>
                        </a:ln>
                        <a:solidFill>
                          <a:schemeClr val="bg1"/>
                        </a:solidFill>
                        <a:effectLst/>
                        <a:uLnTx/>
                        <a:uFillTx/>
                        <a:latin typeface="+mn-lt"/>
                        <a:ea typeface="+mn-ea"/>
                        <a:cs typeface="+mn-cs"/>
                      </a:endParaRPr>
                    </a:p>
                  </a:txBody>
                  <a:tcPr marL="91461" marR="91461" marT="45731" marB="45731"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4A8588"/>
                    </a:solidFill>
                  </a:tcPr>
                </a:tc>
                <a:extLst>
                  <a:ext uri="{0D108BD9-81ED-4DB2-BD59-A6C34878D82A}">
                    <a16:rowId xmlns:a16="http://schemas.microsoft.com/office/drawing/2014/main" val="3695575152"/>
                  </a:ext>
                </a:extLst>
              </a:tr>
              <a:tr h="5043610">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1"/>
                        <a:t>Dec</a:t>
                      </a:r>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mpd="sng">
                      <a:solidFill>
                        <a:srgbClr val="FFFFFF"/>
                      </a:solidFill>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1"/>
                        <a:t>Jan</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1"/>
                        <a:t>Feb</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1"/>
                        <a:t>Mar</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1"/>
                        <a:t>Apr</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1"/>
                        <a:t>Maj</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1"/>
                        <a:t>Jun</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panose="020B0604020202020204"/>
                        </a:defRPr>
                      </a:lvl1pPr>
                      <a:lvl2pPr marL="457200" algn="l" defTabSz="914400" rtl="0" eaLnBrk="1" latinLnBrk="0" hangingPunct="1">
                        <a:defRPr sz="1800" kern="1200">
                          <a:solidFill>
                            <a:schemeClr val="dk1"/>
                          </a:solidFill>
                          <a:latin typeface="Arial" panose="020B0604020202020204"/>
                        </a:defRPr>
                      </a:lvl2pPr>
                      <a:lvl3pPr marL="914400" algn="l" defTabSz="914400" rtl="0" eaLnBrk="1" latinLnBrk="0" hangingPunct="1">
                        <a:defRPr sz="1800" kern="1200">
                          <a:solidFill>
                            <a:schemeClr val="dk1"/>
                          </a:solidFill>
                          <a:latin typeface="Arial" panose="020B0604020202020204"/>
                        </a:defRPr>
                      </a:lvl3pPr>
                      <a:lvl4pPr marL="1371600" algn="l" defTabSz="914400" rtl="0" eaLnBrk="1" latinLnBrk="0" hangingPunct="1">
                        <a:defRPr sz="1800" kern="1200">
                          <a:solidFill>
                            <a:schemeClr val="dk1"/>
                          </a:solidFill>
                          <a:latin typeface="Arial" panose="020B0604020202020204"/>
                        </a:defRPr>
                      </a:lvl4pPr>
                      <a:lvl5pPr marL="1828800" algn="l" defTabSz="914400" rtl="0" eaLnBrk="1" latinLnBrk="0" hangingPunct="1">
                        <a:defRPr sz="1800" kern="1200">
                          <a:solidFill>
                            <a:schemeClr val="dk1"/>
                          </a:solidFill>
                          <a:latin typeface="Arial" panose="020B0604020202020204"/>
                        </a:defRPr>
                      </a:lvl5pPr>
                      <a:lvl6pPr marL="2286000" algn="l" defTabSz="914400" rtl="0" eaLnBrk="1" latinLnBrk="0" hangingPunct="1">
                        <a:defRPr sz="1800" kern="1200">
                          <a:solidFill>
                            <a:schemeClr val="dk1"/>
                          </a:solidFill>
                          <a:latin typeface="Arial" panose="020B0604020202020204"/>
                        </a:defRPr>
                      </a:lvl6pPr>
                      <a:lvl7pPr marL="2743200" algn="l" defTabSz="914400" rtl="0" eaLnBrk="1" latinLnBrk="0" hangingPunct="1">
                        <a:defRPr sz="1800" kern="1200">
                          <a:solidFill>
                            <a:schemeClr val="dk1"/>
                          </a:solidFill>
                          <a:latin typeface="Arial" panose="020B0604020202020204"/>
                        </a:defRPr>
                      </a:lvl7pPr>
                      <a:lvl8pPr marL="3200400" algn="l" defTabSz="914400" rtl="0" eaLnBrk="1" latinLnBrk="0" hangingPunct="1">
                        <a:defRPr sz="1800" kern="1200">
                          <a:solidFill>
                            <a:schemeClr val="dk1"/>
                          </a:solidFill>
                          <a:latin typeface="Arial" panose="020B0604020202020204"/>
                        </a:defRPr>
                      </a:lvl8pPr>
                      <a:lvl9pPr marL="3657600" algn="l" defTabSz="914400" rtl="0" eaLnBrk="1" latinLnBrk="0" hangingPunct="1">
                        <a:defRPr sz="1800" kern="1200">
                          <a:solidFill>
                            <a:schemeClr val="dk1"/>
                          </a:solidFill>
                          <a:latin typeface="Arial" panose="020B0604020202020204"/>
                        </a:defRPr>
                      </a:lvl9pPr>
                    </a:lstStyle>
                    <a:p>
                      <a:pPr algn="ctr"/>
                      <a:r>
                        <a:rPr lang="en-US" sz="800" b="1"/>
                        <a:t>Jul</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a-DK" sz="800" b="1" err="1"/>
                        <a:t>Aug</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a-DK" sz="800" b="1" err="1"/>
                        <a:t>Sep</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a-DK" sz="800" b="1" err="1"/>
                        <a:t>Okt</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da-DK" sz="800" b="1" err="1"/>
                        <a:t>Nov</a:t>
                      </a:r>
                      <a:endParaRPr lang="da-DK" sz="800" b="1"/>
                    </a:p>
                  </a:txBody>
                  <a:tcPr marL="91437" marR="91437" marT="45719" marB="45719">
                    <a:lnL w="3175" cap="flat" cmpd="sng" algn="ctr">
                      <a:solidFill>
                        <a:srgbClr val="000000"/>
                      </a:solidFill>
                      <a:prstDash val="solid"/>
                      <a:round/>
                      <a:headEnd type="none" w="med" len="med"/>
                      <a:tailEnd type="none" w="med" len="med"/>
                    </a:lnL>
                    <a:lnR w="3175" cap="flat" cmpd="sng" algn="ctr">
                      <a:solidFill>
                        <a:srgbClr val="000000"/>
                      </a:solidFill>
                      <a:prstDash val="solid"/>
                      <a:round/>
                      <a:headEnd type="none" w="med" len="med"/>
                      <a:tailEnd type="none" w="med" len="med"/>
                    </a:lnR>
                    <a:lnT w="38100" cap="flat" cmpd="sng" algn="ctr">
                      <a:solidFill>
                        <a:srgbClr val="FFFFFF"/>
                      </a:solidFill>
                      <a:prstDash val="solid"/>
                      <a:round/>
                      <a:headEnd type="none" w="med" len="med"/>
                      <a:tailEnd type="none" w="med" len="med"/>
                    </a:lnT>
                    <a:lnB w="381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63556636"/>
                  </a:ext>
                </a:extLst>
              </a:tr>
            </a:tbl>
          </a:graphicData>
        </a:graphic>
      </p:graphicFrame>
      <p:sp>
        <p:nvSpPr>
          <p:cNvPr id="67" name="Rektangel: afrundede hjørner 66">
            <a:extLst>
              <a:ext uri="{FF2B5EF4-FFF2-40B4-BE49-F238E27FC236}">
                <a16:creationId xmlns:a16="http://schemas.microsoft.com/office/drawing/2014/main" id="{DB27A816-E29F-A3C3-67E4-5E50DF62A785}"/>
              </a:ext>
            </a:extLst>
          </p:cNvPr>
          <p:cNvSpPr>
            <a:spLocks/>
          </p:cNvSpPr>
          <p:nvPr/>
        </p:nvSpPr>
        <p:spPr>
          <a:xfrm>
            <a:off x="6302067" y="4807364"/>
            <a:ext cx="1632195" cy="463319"/>
          </a:xfrm>
          <a:prstGeom prst="roundRect">
            <a:avLst/>
          </a:prstGeom>
          <a:solidFill>
            <a:srgbClr val="39726A">
              <a:alpha val="90000"/>
            </a:srgbClr>
          </a:solidFill>
          <a:ln w="28575" cap="flat" cmpd="sng" algn="ctr">
            <a:solidFill>
              <a:srgbClr val="1A3536">
                <a:alpha val="90000"/>
              </a:srgbClr>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5 – afsl. studiefl.</a:t>
            </a:r>
          </a:p>
        </p:txBody>
      </p:sp>
      <p:sp>
        <p:nvSpPr>
          <p:cNvPr id="23" name="TextBox 1055">
            <a:extLst>
              <a:ext uri="{FF2B5EF4-FFF2-40B4-BE49-F238E27FC236}">
                <a16:creationId xmlns:a16="http://schemas.microsoft.com/office/drawing/2014/main" id="{078065C2-446A-8C6A-735D-4F92D3FC9CF2}"/>
              </a:ext>
            </a:extLst>
          </p:cNvPr>
          <p:cNvSpPr txBox="1">
            <a:spLocks/>
          </p:cNvSpPr>
          <p:nvPr/>
        </p:nvSpPr>
        <p:spPr>
          <a:xfrm rot="16200000">
            <a:off x="1706004" y="2343947"/>
            <a:ext cx="715802" cy="218238"/>
          </a:xfrm>
          <a:prstGeom prst="rect">
            <a:avLst/>
          </a:prstGeom>
        </p:spPr>
        <p:txBody>
          <a:bodyPr vert="horz" lIns="0" tIns="0" rIns="0" bIns="0" rtlCol="0">
            <a:noAutofit/>
          </a:bodyPr>
          <a:lstStyle>
            <a:lvl1pPr marL="228646" indent="-228646" algn="l" defTabSz="914583" rtl="0" eaLnBrk="1" latinLnBrk="0" hangingPunct="1">
              <a:lnSpc>
                <a:spcPct val="90000"/>
              </a:lnSpc>
              <a:spcBef>
                <a:spcPts val="1000"/>
              </a:spcBef>
              <a:buFont typeface="Arial" panose="020B0604020202020204" pitchFamily="34" charset="0"/>
              <a:buChar char="•"/>
              <a:defRPr sz="2801" kern="1200">
                <a:solidFill>
                  <a:schemeClr val="tx1"/>
                </a:solidFill>
                <a:latin typeface="+mn-lt"/>
                <a:ea typeface="+mn-ea"/>
                <a:cs typeface="+mn-cs"/>
              </a:defRPr>
            </a:lvl1pPr>
            <a:lvl2pPr marL="685937" indent="-228646" algn="l" defTabSz="91458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229" indent="-228646" algn="l" defTabSz="91458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520"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811"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583"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a-DK" sz="1050" b="1" i="0" u="none" strike="noStrike" kern="1200" cap="none" spc="0" normalizeH="0" baseline="0" noProof="0">
                <a:ln>
                  <a:noFill/>
                </a:ln>
                <a:solidFill>
                  <a:srgbClr val="A6C0BC"/>
                </a:solidFill>
                <a:effectLst/>
                <a:uLnTx/>
                <a:uFillTx/>
                <a:latin typeface="Arial" panose="020B0604020202020204"/>
                <a:ea typeface="+mn-ea"/>
                <a:cs typeface="+mn-cs"/>
              </a:rPr>
              <a:t>TEAM 1</a:t>
            </a:r>
          </a:p>
        </p:txBody>
      </p:sp>
      <p:sp>
        <p:nvSpPr>
          <p:cNvPr id="27" name="TextBox 1055">
            <a:extLst>
              <a:ext uri="{FF2B5EF4-FFF2-40B4-BE49-F238E27FC236}">
                <a16:creationId xmlns:a16="http://schemas.microsoft.com/office/drawing/2014/main" id="{A78625E8-4653-7943-800D-510493288398}"/>
              </a:ext>
            </a:extLst>
          </p:cNvPr>
          <p:cNvSpPr txBox="1">
            <a:spLocks/>
          </p:cNvSpPr>
          <p:nvPr/>
        </p:nvSpPr>
        <p:spPr>
          <a:xfrm rot="16200000">
            <a:off x="1620861" y="3435470"/>
            <a:ext cx="886098" cy="218238"/>
          </a:xfrm>
          <a:prstGeom prst="rect">
            <a:avLst/>
          </a:prstGeom>
        </p:spPr>
        <p:txBody>
          <a:bodyPr vert="horz" lIns="0" tIns="0" rIns="0" bIns="0" rtlCol="0">
            <a:noAutofit/>
          </a:bodyPr>
          <a:lstStyle>
            <a:lvl1pPr marL="228646" indent="-228646" algn="l" defTabSz="914583" rtl="0" eaLnBrk="1" latinLnBrk="0" hangingPunct="1">
              <a:lnSpc>
                <a:spcPct val="90000"/>
              </a:lnSpc>
              <a:spcBef>
                <a:spcPts val="1000"/>
              </a:spcBef>
              <a:buFont typeface="Arial" panose="020B0604020202020204" pitchFamily="34" charset="0"/>
              <a:buChar char="•"/>
              <a:defRPr sz="2801" kern="1200">
                <a:solidFill>
                  <a:schemeClr val="tx1"/>
                </a:solidFill>
                <a:latin typeface="+mn-lt"/>
                <a:ea typeface="+mn-ea"/>
                <a:cs typeface="+mn-cs"/>
              </a:defRPr>
            </a:lvl1pPr>
            <a:lvl2pPr marL="685937" indent="-228646" algn="l" defTabSz="91458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229" indent="-228646" algn="l" defTabSz="91458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520"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811"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583"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a-DK" sz="1050" b="1" i="0" u="none" strike="noStrike" kern="1200" cap="none" spc="0" normalizeH="0" baseline="0" noProof="0">
                <a:ln>
                  <a:noFill/>
                </a:ln>
                <a:solidFill>
                  <a:srgbClr val="084F45"/>
                </a:solidFill>
                <a:effectLst/>
                <a:uLnTx/>
                <a:uFillTx/>
                <a:latin typeface="Arial" panose="020B0604020202020204"/>
                <a:ea typeface="+mn-ea"/>
                <a:cs typeface="+mn-cs"/>
              </a:rPr>
              <a:t>TEAM 2</a:t>
            </a:r>
          </a:p>
        </p:txBody>
      </p:sp>
      <p:sp>
        <p:nvSpPr>
          <p:cNvPr id="33" name="Rektangel: afrundede hjørner 32">
            <a:extLst>
              <a:ext uri="{FF2B5EF4-FFF2-40B4-BE49-F238E27FC236}">
                <a16:creationId xmlns:a16="http://schemas.microsoft.com/office/drawing/2014/main" id="{EF218959-EEEA-631C-6DD2-33A374D5F045}"/>
              </a:ext>
            </a:extLst>
          </p:cNvPr>
          <p:cNvSpPr>
            <a:spLocks/>
          </p:cNvSpPr>
          <p:nvPr/>
        </p:nvSpPr>
        <p:spPr>
          <a:xfrm>
            <a:off x="2346069" y="1550849"/>
            <a:ext cx="2339363" cy="150279"/>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R1</a:t>
            </a:r>
          </a:p>
        </p:txBody>
      </p:sp>
      <p:sp>
        <p:nvSpPr>
          <p:cNvPr id="34" name="Rektangel: afrundede hjørner 33">
            <a:extLst>
              <a:ext uri="{FF2B5EF4-FFF2-40B4-BE49-F238E27FC236}">
                <a16:creationId xmlns:a16="http://schemas.microsoft.com/office/drawing/2014/main" id="{3A0C31CA-BFFD-2F14-83F3-783B68F62887}"/>
              </a:ext>
            </a:extLst>
          </p:cNvPr>
          <p:cNvSpPr>
            <a:spLocks/>
          </p:cNvSpPr>
          <p:nvPr/>
        </p:nvSpPr>
        <p:spPr>
          <a:xfrm>
            <a:off x="2346069" y="1732877"/>
            <a:ext cx="658731" cy="150279"/>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S5</a:t>
            </a:r>
          </a:p>
        </p:txBody>
      </p:sp>
      <p:sp>
        <p:nvSpPr>
          <p:cNvPr id="35" name="Rektangel: afrundede hjørner 34">
            <a:extLst>
              <a:ext uri="{FF2B5EF4-FFF2-40B4-BE49-F238E27FC236}">
                <a16:creationId xmlns:a16="http://schemas.microsoft.com/office/drawing/2014/main" id="{0D6A535A-B759-5328-38D4-71053218DEBF}"/>
              </a:ext>
            </a:extLst>
          </p:cNvPr>
          <p:cNvSpPr>
            <a:spLocks/>
          </p:cNvSpPr>
          <p:nvPr/>
        </p:nvSpPr>
        <p:spPr>
          <a:xfrm>
            <a:off x="3030707" y="1732877"/>
            <a:ext cx="525248" cy="150279"/>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S6</a:t>
            </a:r>
          </a:p>
        </p:txBody>
      </p:sp>
      <p:sp>
        <p:nvSpPr>
          <p:cNvPr id="36" name="Rektangel: afrundede hjørner 35">
            <a:extLst>
              <a:ext uri="{FF2B5EF4-FFF2-40B4-BE49-F238E27FC236}">
                <a16:creationId xmlns:a16="http://schemas.microsoft.com/office/drawing/2014/main" id="{BEBC7216-5B98-E308-FD58-4A22198D1716}"/>
              </a:ext>
            </a:extLst>
          </p:cNvPr>
          <p:cNvSpPr>
            <a:spLocks/>
          </p:cNvSpPr>
          <p:nvPr/>
        </p:nvSpPr>
        <p:spPr>
          <a:xfrm>
            <a:off x="3581860" y="1732877"/>
            <a:ext cx="618453" cy="150279"/>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S7</a:t>
            </a:r>
          </a:p>
        </p:txBody>
      </p:sp>
      <p:sp>
        <p:nvSpPr>
          <p:cNvPr id="37" name="Rektangel: afrundede hjørner 36">
            <a:extLst>
              <a:ext uri="{FF2B5EF4-FFF2-40B4-BE49-F238E27FC236}">
                <a16:creationId xmlns:a16="http://schemas.microsoft.com/office/drawing/2014/main" id="{9FBE0884-ED10-1E40-0AD7-DE135B4F4720}"/>
              </a:ext>
            </a:extLst>
          </p:cNvPr>
          <p:cNvSpPr>
            <a:spLocks/>
          </p:cNvSpPr>
          <p:nvPr/>
        </p:nvSpPr>
        <p:spPr>
          <a:xfrm>
            <a:off x="4908133" y="1550850"/>
            <a:ext cx="1222250" cy="1502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R2</a:t>
            </a:r>
          </a:p>
        </p:txBody>
      </p:sp>
      <p:sp>
        <p:nvSpPr>
          <p:cNvPr id="38" name="Rektangel: afrundede hjørner 37">
            <a:extLst>
              <a:ext uri="{FF2B5EF4-FFF2-40B4-BE49-F238E27FC236}">
                <a16:creationId xmlns:a16="http://schemas.microsoft.com/office/drawing/2014/main" id="{8FA726BC-DC05-CE97-80FF-72BDD118E0D0}"/>
              </a:ext>
            </a:extLst>
          </p:cNvPr>
          <p:cNvSpPr>
            <a:spLocks/>
          </p:cNvSpPr>
          <p:nvPr/>
        </p:nvSpPr>
        <p:spPr>
          <a:xfrm>
            <a:off x="4236628" y="1732877"/>
            <a:ext cx="444492" cy="150279"/>
          </a:xfrm>
          <a:prstGeom prst="roundRect">
            <a:avLst/>
          </a:prstGeom>
          <a:solidFill>
            <a:schemeClr val="accent1">
              <a:lumMod val="60000"/>
              <a:lumOff val="4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S8</a:t>
            </a:r>
          </a:p>
        </p:txBody>
      </p:sp>
      <p:sp>
        <p:nvSpPr>
          <p:cNvPr id="39" name="Rektangel: afrundede hjørner 38">
            <a:extLst>
              <a:ext uri="{FF2B5EF4-FFF2-40B4-BE49-F238E27FC236}">
                <a16:creationId xmlns:a16="http://schemas.microsoft.com/office/drawing/2014/main" id="{80CC7C76-D16D-03F4-B186-6A11170A52F0}"/>
              </a:ext>
            </a:extLst>
          </p:cNvPr>
          <p:cNvSpPr>
            <a:spLocks/>
          </p:cNvSpPr>
          <p:nvPr/>
        </p:nvSpPr>
        <p:spPr>
          <a:xfrm>
            <a:off x="4918306" y="1732877"/>
            <a:ext cx="335154" cy="1502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S9</a:t>
            </a:r>
          </a:p>
        </p:txBody>
      </p:sp>
      <p:sp>
        <p:nvSpPr>
          <p:cNvPr id="40" name="Rektangel: afrundede hjørner 39">
            <a:extLst>
              <a:ext uri="{FF2B5EF4-FFF2-40B4-BE49-F238E27FC236}">
                <a16:creationId xmlns:a16="http://schemas.microsoft.com/office/drawing/2014/main" id="{B9FAB8FE-CEA0-CB5B-8CCB-D5B55CC9A989}"/>
              </a:ext>
            </a:extLst>
          </p:cNvPr>
          <p:cNvSpPr>
            <a:spLocks/>
          </p:cNvSpPr>
          <p:nvPr/>
        </p:nvSpPr>
        <p:spPr>
          <a:xfrm>
            <a:off x="5287833" y="1732877"/>
            <a:ext cx="388325" cy="15027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S10</a:t>
            </a:r>
          </a:p>
        </p:txBody>
      </p:sp>
      <p:sp>
        <p:nvSpPr>
          <p:cNvPr id="55" name="Rektangel: afrundede hjørner 54">
            <a:extLst>
              <a:ext uri="{FF2B5EF4-FFF2-40B4-BE49-F238E27FC236}">
                <a16:creationId xmlns:a16="http://schemas.microsoft.com/office/drawing/2014/main" id="{13131AC1-8D27-F205-D216-C50FD983E826}"/>
              </a:ext>
            </a:extLst>
          </p:cNvPr>
          <p:cNvSpPr>
            <a:spLocks/>
          </p:cNvSpPr>
          <p:nvPr/>
        </p:nvSpPr>
        <p:spPr>
          <a:xfrm>
            <a:off x="6330340" y="1550850"/>
            <a:ext cx="1575650" cy="150279"/>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R3</a:t>
            </a:r>
          </a:p>
        </p:txBody>
      </p:sp>
      <p:sp>
        <p:nvSpPr>
          <p:cNvPr id="56" name="Rektangel: afrundede hjørner 55">
            <a:extLst>
              <a:ext uri="{FF2B5EF4-FFF2-40B4-BE49-F238E27FC236}">
                <a16:creationId xmlns:a16="http://schemas.microsoft.com/office/drawing/2014/main" id="{E05F3C44-573F-C5D2-85F2-24293AECEAAA}"/>
              </a:ext>
            </a:extLst>
          </p:cNvPr>
          <p:cNvSpPr>
            <a:spLocks/>
          </p:cNvSpPr>
          <p:nvPr/>
        </p:nvSpPr>
        <p:spPr>
          <a:xfrm>
            <a:off x="5706521" y="1732878"/>
            <a:ext cx="432821" cy="15027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S11</a:t>
            </a:r>
          </a:p>
        </p:txBody>
      </p:sp>
      <p:sp>
        <p:nvSpPr>
          <p:cNvPr id="57" name="Rektangel: afrundede hjørner 56">
            <a:extLst>
              <a:ext uri="{FF2B5EF4-FFF2-40B4-BE49-F238E27FC236}">
                <a16:creationId xmlns:a16="http://schemas.microsoft.com/office/drawing/2014/main" id="{B46A3677-595B-D88B-5802-D56C8379C9F5}"/>
              </a:ext>
            </a:extLst>
          </p:cNvPr>
          <p:cNvSpPr>
            <a:spLocks/>
          </p:cNvSpPr>
          <p:nvPr/>
        </p:nvSpPr>
        <p:spPr>
          <a:xfrm>
            <a:off x="6328894" y="1732877"/>
            <a:ext cx="514607" cy="150279"/>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S12</a:t>
            </a:r>
          </a:p>
        </p:txBody>
      </p:sp>
      <p:sp>
        <p:nvSpPr>
          <p:cNvPr id="58" name="Rektangel: afrundede hjørner 57">
            <a:extLst>
              <a:ext uri="{FF2B5EF4-FFF2-40B4-BE49-F238E27FC236}">
                <a16:creationId xmlns:a16="http://schemas.microsoft.com/office/drawing/2014/main" id="{7ED8B03C-3A63-20DB-4E3D-CB3CDFF430B1}"/>
              </a:ext>
            </a:extLst>
          </p:cNvPr>
          <p:cNvSpPr>
            <a:spLocks/>
          </p:cNvSpPr>
          <p:nvPr/>
        </p:nvSpPr>
        <p:spPr>
          <a:xfrm>
            <a:off x="6858369" y="1724534"/>
            <a:ext cx="205149" cy="150279"/>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600" b="1"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1" name="Rektangel: afrundede hjørner 60">
            <a:extLst>
              <a:ext uri="{FF2B5EF4-FFF2-40B4-BE49-F238E27FC236}">
                <a16:creationId xmlns:a16="http://schemas.microsoft.com/office/drawing/2014/main" id="{0EFDDC08-ACED-3585-47E8-782143AAD9BA}"/>
              </a:ext>
            </a:extLst>
          </p:cNvPr>
          <p:cNvSpPr>
            <a:spLocks/>
          </p:cNvSpPr>
          <p:nvPr/>
        </p:nvSpPr>
        <p:spPr>
          <a:xfrm>
            <a:off x="8269841" y="1550850"/>
            <a:ext cx="1197487" cy="323963"/>
          </a:xfrm>
          <a:prstGeom prst="roundRect">
            <a:avLst/>
          </a:prstGeom>
          <a:solidFill>
            <a:schemeClr val="accent1">
              <a:lumMod val="5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Test og godkendelse</a:t>
            </a:r>
          </a:p>
        </p:txBody>
      </p:sp>
      <p:sp>
        <p:nvSpPr>
          <p:cNvPr id="13" name="Rektangel: afrundede hjørner 12">
            <a:extLst>
              <a:ext uri="{FF2B5EF4-FFF2-40B4-BE49-F238E27FC236}">
                <a16:creationId xmlns:a16="http://schemas.microsoft.com/office/drawing/2014/main" id="{9FEA0641-8576-C029-ABD0-5C8A970985AA}"/>
              </a:ext>
            </a:extLst>
          </p:cNvPr>
          <p:cNvSpPr>
            <a:spLocks/>
          </p:cNvSpPr>
          <p:nvPr/>
        </p:nvSpPr>
        <p:spPr>
          <a:xfrm>
            <a:off x="4713258" y="1559454"/>
            <a:ext cx="143162" cy="323964"/>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500" b="1" i="0" u="none" strike="noStrike" kern="1200" cap="none" spc="0" normalizeH="0" baseline="0" noProof="0">
                <a:ln>
                  <a:noFill/>
                </a:ln>
                <a:solidFill>
                  <a:prstClr val="black"/>
                </a:solidFill>
                <a:effectLst/>
                <a:uLnTx/>
                <a:uFillTx/>
                <a:latin typeface="Arial" panose="020B0604020202020204"/>
                <a:ea typeface="+mn-ea"/>
                <a:cs typeface="+mn-cs"/>
              </a:rPr>
              <a:t>Test</a:t>
            </a:r>
          </a:p>
        </p:txBody>
      </p:sp>
      <p:sp>
        <p:nvSpPr>
          <p:cNvPr id="15" name="Rektangel: afrundede hjørner 14">
            <a:extLst>
              <a:ext uri="{FF2B5EF4-FFF2-40B4-BE49-F238E27FC236}">
                <a16:creationId xmlns:a16="http://schemas.microsoft.com/office/drawing/2014/main" id="{0DC81A00-E9FD-0F3F-39E3-E85A1F011966}"/>
              </a:ext>
            </a:extLst>
          </p:cNvPr>
          <p:cNvSpPr>
            <a:spLocks/>
          </p:cNvSpPr>
          <p:nvPr/>
        </p:nvSpPr>
        <p:spPr>
          <a:xfrm>
            <a:off x="6168118" y="1559454"/>
            <a:ext cx="143162" cy="323964"/>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500" b="1" i="0" u="none" strike="noStrike" kern="1200" cap="none" spc="0" normalizeH="0" baseline="0" noProof="0">
                <a:ln>
                  <a:noFill/>
                </a:ln>
                <a:solidFill>
                  <a:prstClr val="black"/>
                </a:solidFill>
                <a:effectLst/>
                <a:uLnTx/>
                <a:uFillTx/>
                <a:latin typeface="Arial" panose="020B0604020202020204"/>
                <a:ea typeface="+mn-ea"/>
                <a:cs typeface="+mn-cs"/>
              </a:rPr>
              <a:t>Test</a:t>
            </a:r>
          </a:p>
        </p:txBody>
      </p:sp>
      <p:sp>
        <p:nvSpPr>
          <p:cNvPr id="3" name="Tekstfelt 2">
            <a:extLst>
              <a:ext uri="{FF2B5EF4-FFF2-40B4-BE49-F238E27FC236}">
                <a16:creationId xmlns:a16="http://schemas.microsoft.com/office/drawing/2014/main" id="{98D6881D-4363-C8AB-F7AB-9890CD50D1D0}"/>
              </a:ext>
            </a:extLst>
          </p:cNvPr>
          <p:cNvSpPr txBox="1">
            <a:spLocks/>
          </p:cNvSpPr>
          <p:nvPr/>
        </p:nvSpPr>
        <p:spPr>
          <a:xfrm>
            <a:off x="6801970" y="1732877"/>
            <a:ext cx="382921" cy="2000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700" b="1" i="0" u="none" strike="noStrike" kern="1200" cap="none" spc="0" normalizeH="0" baseline="0" noProof="0">
                <a:ln>
                  <a:noFill/>
                </a:ln>
                <a:solidFill>
                  <a:prstClr val="white"/>
                </a:solidFill>
                <a:effectLst/>
                <a:uLnTx/>
                <a:uFillTx/>
                <a:latin typeface="Arial" panose="020B0604020202020204"/>
                <a:ea typeface="+mn-ea"/>
                <a:cs typeface="+mn-cs"/>
              </a:rPr>
              <a:t>S13</a:t>
            </a:r>
          </a:p>
        </p:txBody>
      </p:sp>
      <p:sp>
        <p:nvSpPr>
          <p:cNvPr id="8" name="Rektangel: afrundede hjørner 7">
            <a:extLst>
              <a:ext uri="{FF2B5EF4-FFF2-40B4-BE49-F238E27FC236}">
                <a16:creationId xmlns:a16="http://schemas.microsoft.com/office/drawing/2014/main" id="{A48D7330-3273-EFC0-AB80-3A6F2D6E04A7}"/>
              </a:ext>
            </a:extLst>
          </p:cNvPr>
          <p:cNvSpPr>
            <a:spLocks/>
          </p:cNvSpPr>
          <p:nvPr/>
        </p:nvSpPr>
        <p:spPr>
          <a:xfrm>
            <a:off x="7081787" y="1732877"/>
            <a:ext cx="477901" cy="150279"/>
          </a:xfrm>
          <a:prstGeom prst="round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1" i="0" u="none" strike="noStrike" kern="1200" cap="none" spc="0" normalizeH="0" baseline="0" noProof="0">
                <a:ln>
                  <a:noFill/>
                </a:ln>
                <a:solidFill>
                  <a:prstClr val="white"/>
                </a:solidFill>
                <a:effectLst/>
                <a:uLnTx/>
                <a:uFillTx/>
                <a:latin typeface="Arial" panose="020B0604020202020204"/>
                <a:ea typeface="+mn-ea"/>
                <a:cs typeface="+mn-cs"/>
              </a:rPr>
              <a:t>Ferie</a:t>
            </a:r>
          </a:p>
        </p:txBody>
      </p:sp>
      <p:sp>
        <p:nvSpPr>
          <p:cNvPr id="9" name="Rektangel: afrundede hjørner 8">
            <a:extLst>
              <a:ext uri="{FF2B5EF4-FFF2-40B4-BE49-F238E27FC236}">
                <a16:creationId xmlns:a16="http://schemas.microsoft.com/office/drawing/2014/main" id="{07A1DE20-D871-7429-729D-DD903E2D7E06}"/>
              </a:ext>
            </a:extLst>
          </p:cNvPr>
          <p:cNvSpPr>
            <a:spLocks/>
          </p:cNvSpPr>
          <p:nvPr/>
        </p:nvSpPr>
        <p:spPr>
          <a:xfrm>
            <a:off x="7577957" y="1732877"/>
            <a:ext cx="328033" cy="150279"/>
          </a:xfrm>
          <a:prstGeom prst="round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500" b="1" i="0" u="none" strike="noStrike" kern="1200" cap="none" spc="0" normalizeH="0" baseline="0" noProof="0">
                <a:ln>
                  <a:noFill/>
                </a:ln>
                <a:solidFill>
                  <a:prstClr val="white"/>
                </a:solidFill>
                <a:effectLst/>
                <a:uLnTx/>
                <a:uFillTx/>
                <a:latin typeface="Arial" panose="020B0604020202020204"/>
                <a:ea typeface="+mn-ea"/>
                <a:cs typeface="+mn-cs"/>
              </a:rPr>
              <a:t>S13</a:t>
            </a:r>
          </a:p>
        </p:txBody>
      </p:sp>
      <p:sp>
        <p:nvSpPr>
          <p:cNvPr id="11" name="Rektangel: afrundede hjørner 10">
            <a:extLst>
              <a:ext uri="{FF2B5EF4-FFF2-40B4-BE49-F238E27FC236}">
                <a16:creationId xmlns:a16="http://schemas.microsoft.com/office/drawing/2014/main" id="{EC07EF75-1301-33F8-391D-AD41B3586D20}"/>
              </a:ext>
            </a:extLst>
          </p:cNvPr>
          <p:cNvSpPr>
            <a:spLocks/>
          </p:cNvSpPr>
          <p:nvPr/>
        </p:nvSpPr>
        <p:spPr>
          <a:xfrm>
            <a:off x="7937129" y="1559454"/>
            <a:ext cx="143162" cy="323964"/>
          </a:xfrm>
          <a:prstGeom prst="roundRect">
            <a:avLst/>
          </a:prstGeom>
          <a:solidFill>
            <a:schemeClr val="accent4">
              <a:lumMod val="40000"/>
              <a:lumOff val="60000"/>
            </a:schemeClr>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500" b="1" i="0" u="none" strike="noStrike" kern="1200" cap="none" spc="0" normalizeH="0" baseline="0" noProof="0">
                <a:ln>
                  <a:noFill/>
                </a:ln>
                <a:solidFill>
                  <a:prstClr val="black"/>
                </a:solidFill>
                <a:effectLst/>
                <a:uLnTx/>
                <a:uFillTx/>
                <a:latin typeface="Arial" panose="020B0604020202020204"/>
                <a:ea typeface="+mn-ea"/>
                <a:cs typeface="+mn-cs"/>
              </a:rPr>
              <a:t>Test</a:t>
            </a:r>
          </a:p>
        </p:txBody>
      </p:sp>
      <p:sp>
        <p:nvSpPr>
          <p:cNvPr id="20" name="Rektangel: afrundede hjørner 19">
            <a:extLst>
              <a:ext uri="{FF2B5EF4-FFF2-40B4-BE49-F238E27FC236}">
                <a16:creationId xmlns:a16="http://schemas.microsoft.com/office/drawing/2014/main" id="{3096C45C-9E8C-84E2-6CFB-4646A61CDC01}"/>
              </a:ext>
            </a:extLst>
          </p:cNvPr>
          <p:cNvSpPr>
            <a:spLocks/>
          </p:cNvSpPr>
          <p:nvPr/>
        </p:nvSpPr>
        <p:spPr>
          <a:xfrm>
            <a:off x="8099350" y="1559454"/>
            <a:ext cx="143162" cy="323964"/>
          </a:xfrm>
          <a:prstGeom prst="roundRect">
            <a:avLst/>
          </a:prstGeom>
          <a:solidFill>
            <a:schemeClr val="bg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00" b="1" i="0" u="none" strike="noStrike" kern="1200" cap="none" spc="0" normalizeH="0" baseline="0" noProof="0">
                <a:ln>
                  <a:noFill/>
                </a:ln>
                <a:solidFill>
                  <a:prstClr val="black"/>
                </a:solidFill>
                <a:effectLst/>
                <a:uLnTx/>
                <a:uFillTx/>
                <a:latin typeface="Arial" panose="020B0604020202020204"/>
                <a:ea typeface="+mn-ea"/>
                <a:cs typeface="+mn-cs"/>
              </a:rPr>
              <a:t>buffer</a:t>
            </a:r>
          </a:p>
        </p:txBody>
      </p:sp>
      <p:sp>
        <p:nvSpPr>
          <p:cNvPr id="69" name="Rektangel: afrundede hjørner 68">
            <a:extLst>
              <a:ext uri="{FF2B5EF4-FFF2-40B4-BE49-F238E27FC236}">
                <a16:creationId xmlns:a16="http://schemas.microsoft.com/office/drawing/2014/main" id="{15F20A64-275D-53E6-095F-F98505555939}"/>
              </a:ext>
            </a:extLst>
          </p:cNvPr>
          <p:cNvSpPr>
            <a:spLocks/>
          </p:cNvSpPr>
          <p:nvPr/>
        </p:nvSpPr>
        <p:spPr>
          <a:xfrm>
            <a:off x="4865492" y="3041614"/>
            <a:ext cx="1316356" cy="586318"/>
          </a:xfrm>
          <a:prstGeom prst="roundRect">
            <a:avLst/>
          </a:prstGeom>
          <a:solidFill>
            <a:srgbClr val="084F45">
              <a:alpha val="90000"/>
            </a:srgbClr>
          </a:solidFill>
          <a:ln w="28575" cap="flat" cmpd="sng" algn="ctr">
            <a:solidFill>
              <a:srgbClr val="1A3536">
                <a:alpha val="90000"/>
              </a:srgbClr>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6 – Kommunikation og vejledning</a:t>
            </a:r>
          </a:p>
        </p:txBody>
      </p:sp>
      <p:sp>
        <p:nvSpPr>
          <p:cNvPr id="41" name="Rektangel: afrundede hjørner 40">
            <a:extLst>
              <a:ext uri="{FF2B5EF4-FFF2-40B4-BE49-F238E27FC236}">
                <a16:creationId xmlns:a16="http://schemas.microsoft.com/office/drawing/2014/main" id="{6C8883BD-76D8-55E9-60DC-B9F6F3750652}"/>
              </a:ext>
            </a:extLst>
          </p:cNvPr>
          <p:cNvSpPr>
            <a:spLocks/>
          </p:cNvSpPr>
          <p:nvPr/>
        </p:nvSpPr>
        <p:spPr>
          <a:xfrm>
            <a:off x="4871009" y="4153591"/>
            <a:ext cx="1297109" cy="509043"/>
          </a:xfrm>
          <a:prstGeom prst="roundRect">
            <a:avLst/>
          </a:prstGeom>
          <a:solidFill>
            <a:srgbClr val="39726A">
              <a:alpha val="90000"/>
            </a:srgbClr>
          </a:solidFill>
          <a:ln w="28575" cap="flat" cmpd="sng" algn="ctr">
            <a:solidFill>
              <a:srgbClr val="1A3536">
                <a:alpha val="90000"/>
              </a:srgbClr>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4 – Behandling af studentersager </a:t>
            </a:r>
          </a:p>
        </p:txBody>
      </p:sp>
      <p:sp>
        <p:nvSpPr>
          <p:cNvPr id="14" name="Rektangel: afrundede hjørner 13">
            <a:extLst>
              <a:ext uri="{FF2B5EF4-FFF2-40B4-BE49-F238E27FC236}">
                <a16:creationId xmlns:a16="http://schemas.microsoft.com/office/drawing/2014/main" id="{71B59AE5-488E-65D4-94B4-8189EAC3219F}"/>
              </a:ext>
            </a:extLst>
          </p:cNvPr>
          <p:cNvSpPr>
            <a:spLocks/>
          </p:cNvSpPr>
          <p:nvPr/>
        </p:nvSpPr>
        <p:spPr>
          <a:xfrm>
            <a:off x="2330188" y="4189449"/>
            <a:ext cx="2367189" cy="178336"/>
          </a:xfrm>
          <a:prstGeom prst="roundRect">
            <a:avLst/>
          </a:prstGeom>
          <a:solidFill>
            <a:srgbClr val="39726A">
              <a:alpha val="90000"/>
            </a:srgbClr>
          </a:solidFill>
          <a:ln w="28575" cap="flat" cmpd="sng" algn="ctr">
            <a:solidFill>
              <a:srgbClr val="1A3536">
                <a:alpha val="90000"/>
              </a:srgbClr>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4 – Behandling af stud.-sager</a:t>
            </a:r>
          </a:p>
        </p:txBody>
      </p:sp>
      <p:sp>
        <p:nvSpPr>
          <p:cNvPr id="25" name="Rektangel: afrundede hjørner 24">
            <a:extLst>
              <a:ext uri="{FF2B5EF4-FFF2-40B4-BE49-F238E27FC236}">
                <a16:creationId xmlns:a16="http://schemas.microsoft.com/office/drawing/2014/main" id="{13207B9F-8FF9-4615-C175-F270A4276A88}"/>
              </a:ext>
            </a:extLst>
          </p:cNvPr>
          <p:cNvSpPr>
            <a:spLocks/>
          </p:cNvSpPr>
          <p:nvPr/>
        </p:nvSpPr>
        <p:spPr>
          <a:xfrm>
            <a:off x="2330188" y="3066407"/>
            <a:ext cx="2367189" cy="956364"/>
          </a:xfrm>
          <a:prstGeom prst="roundRect">
            <a:avLst/>
          </a:prstGeom>
          <a:solidFill>
            <a:srgbClr val="084F45">
              <a:alpha val="90000"/>
            </a:srgbClr>
          </a:solidFill>
          <a:ln w="28575" cap="flat" cmpd="sng" algn="ctr">
            <a:solidFill>
              <a:srgbClr val="1A3536"/>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2 – Optag studerende</a:t>
            </a:r>
          </a:p>
        </p:txBody>
      </p:sp>
      <p:sp>
        <p:nvSpPr>
          <p:cNvPr id="68" name="Rektangel: afrundede hjørner 67">
            <a:extLst>
              <a:ext uri="{FF2B5EF4-FFF2-40B4-BE49-F238E27FC236}">
                <a16:creationId xmlns:a16="http://schemas.microsoft.com/office/drawing/2014/main" id="{02EF8DFA-3AE7-0145-BBD0-C661CD2CB814}"/>
              </a:ext>
            </a:extLst>
          </p:cNvPr>
          <p:cNvSpPr>
            <a:spLocks/>
          </p:cNvSpPr>
          <p:nvPr/>
        </p:nvSpPr>
        <p:spPr>
          <a:xfrm>
            <a:off x="6302067" y="2496629"/>
            <a:ext cx="1632195" cy="434619"/>
          </a:xfrm>
          <a:prstGeom prst="roundRect">
            <a:avLst/>
          </a:prstGeom>
          <a:solidFill>
            <a:srgbClr val="769FA2">
              <a:alpha val="90000"/>
            </a:srgbClr>
          </a:solidFill>
          <a:ln w="28575" cap="flat" cmpd="sng" algn="ctr">
            <a:solidFill>
              <a:srgbClr val="1A3536"/>
            </a:solidFill>
            <a:prstDash val="solid"/>
            <a:miter lim="800000"/>
          </a:ln>
          <a:effectLst/>
        </p:spPr>
        <p:txBody>
          <a:bodyPr lIns="91440" tIns="45720" rIns="91440" bIns="45720"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8 – Indberet til myndighed</a:t>
            </a:r>
          </a:p>
        </p:txBody>
      </p:sp>
      <p:sp>
        <p:nvSpPr>
          <p:cNvPr id="42" name="Rektangel: afrundede hjørner 41">
            <a:extLst>
              <a:ext uri="{FF2B5EF4-FFF2-40B4-BE49-F238E27FC236}">
                <a16:creationId xmlns:a16="http://schemas.microsoft.com/office/drawing/2014/main" id="{7B0DFF78-E7FA-158A-6E15-D2C5D9A12B14}"/>
              </a:ext>
            </a:extLst>
          </p:cNvPr>
          <p:cNvSpPr>
            <a:spLocks/>
          </p:cNvSpPr>
          <p:nvPr/>
        </p:nvSpPr>
        <p:spPr>
          <a:xfrm>
            <a:off x="4865383" y="1956956"/>
            <a:ext cx="1302735" cy="490212"/>
          </a:xfrm>
          <a:prstGeom prst="roundRect">
            <a:avLst/>
          </a:prstGeom>
          <a:solidFill>
            <a:srgbClr val="769FA2">
              <a:alpha val="90000"/>
            </a:srgbClr>
          </a:solidFill>
          <a:ln w="28575" cap="flat" cmpd="sng" algn="ctr">
            <a:solidFill>
              <a:srgbClr val="1A3536"/>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3 – Tilmeld fagelement</a:t>
            </a:r>
          </a:p>
        </p:txBody>
      </p:sp>
      <p:sp>
        <p:nvSpPr>
          <p:cNvPr id="18" name="Rektangel: afrundede hjørner 17">
            <a:extLst>
              <a:ext uri="{FF2B5EF4-FFF2-40B4-BE49-F238E27FC236}">
                <a16:creationId xmlns:a16="http://schemas.microsoft.com/office/drawing/2014/main" id="{51EE7B0E-FFD7-E10D-DFF7-CF55423F4E5C}"/>
              </a:ext>
            </a:extLst>
          </p:cNvPr>
          <p:cNvSpPr>
            <a:spLocks/>
          </p:cNvSpPr>
          <p:nvPr/>
        </p:nvSpPr>
        <p:spPr>
          <a:xfrm>
            <a:off x="2346070" y="1974884"/>
            <a:ext cx="2367189" cy="956364"/>
          </a:xfrm>
          <a:prstGeom prst="roundRect">
            <a:avLst/>
          </a:prstGeom>
          <a:solidFill>
            <a:srgbClr val="769FA2">
              <a:alpha val="90000"/>
            </a:srgbClr>
          </a:solidFill>
          <a:ln w="28575" cap="flat" cmpd="sng" algn="ctr">
            <a:solidFill>
              <a:srgbClr val="1A3536"/>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1 – Opbyg uddannelse</a:t>
            </a:r>
          </a:p>
        </p:txBody>
      </p:sp>
      <p:cxnSp>
        <p:nvCxnSpPr>
          <p:cNvPr id="24" name="Lige forbindelse 23">
            <a:extLst>
              <a:ext uri="{FF2B5EF4-FFF2-40B4-BE49-F238E27FC236}">
                <a16:creationId xmlns:a16="http://schemas.microsoft.com/office/drawing/2014/main" id="{4E316EB3-E948-4590-2D5A-771CFD188A92}"/>
              </a:ext>
            </a:extLst>
          </p:cNvPr>
          <p:cNvCxnSpPr>
            <a:cxnSpLocks/>
          </p:cNvCxnSpPr>
          <p:nvPr/>
        </p:nvCxnSpPr>
        <p:spPr>
          <a:xfrm>
            <a:off x="2245151" y="2999016"/>
            <a:ext cx="7891195" cy="0"/>
          </a:xfrm>
          <a:prstGeom prst="line">
            <a:avLst/>
          </a:prstGeom>
          <a:ln>
            <a:solidFill>
              <a:srgbClr val="4A8588"/>
            </a:solidFill>
            <a:prstDash val="lgDash"/>
          </a:ln>
        </p:spPr>
        <p:style>
          <a:lnRef idx="1">
            <a:schemeClr val="accent1"/>
          </a:lnRef>
          <a:fillRef idx="0">
            <a:schemeClr val="accent1"/>
          </a:fillRef>
          <a:effectRef idx="0">
            <a:schemeClr val="accent1"/>
          </a:effectRef>
          <a:fontRef idx="minor">
            <a:schemeClr val="tx1"/>
          </a:fontRef>
        </p:style>
      </p:cxnSp>
      <p:sp>
        <p:nvSpPr>
          <p:cNvPr id="5" name="TextBox 1055">
            <a:extLst>
              <a:ext uri="{FF2B5EF4-FFF2-40B4-BE49-F238E27FC236}">
                <a16:creationId xmlns:a16="http://schemas.microsoft.com/office/drawing/2014/main" id="{94FAC1D3-D27D-C373-1E15-07F45583901A}"/>
              </a:ext>
            </a:extLst>
          </p:cNvPr>
          <p:cNvSpPr txBox="1">
            <a:spLocks/>
          </p:cNvSpPr>
          <p:nvPr/>
        </p:nvSpPr>
        <p:spPr>
          <a:xfrm rot="16200000">
            <a:off x="1663702" y="4877132"/>
            <a:ext cx="749517" cy="139749"/>
          </a:xfrm>
          <a:prstGeom prst="rect">
            <a:avLst/>
          </a:prstGeom>
        </p:spPr>
        <p:txBody>
          <a:bodyPr vert="horz" lIns="0" tIns="0" rIns="0" bIns="0" rtlCol="0">
            <a:noAutofit/>
          </a:bodyPr>
          <a:lstStyle>
            <a:lvl1pPr marL="228646" indent="-228646" algn="l" defTabSz="914583" rtl="0" eaLnBrk="1" latinLnBrk="0" hangingPunct="1">
              <a:lnSpc>
                <a:spcPct val="90000"/>
              </a:lnSpc>
              <a:spcBef>
                <a:spcPts val="1000"/>
              </a:spcBef>
              <a:buFont typeface="Arial" panose="020B0604020202020204" pitchFamily="34" charset="0"/>
              <a:buChar char="•"/>
              <a:defRPr sz="2801" kern="1200">
                <a:solidFill>
                  <a:schemeClr val="tx1"/>
                </a:solidFill>
                <a:latin typeface="+mn-lt"/>
                <a:ea typeface="+mn-ea"/>
                <a:cs typeface="+mn-cs"/>
              </a:defRPr>
            </a:lvl1pPr>
            <a:lvl2pPr marL="685937" indent="-228646" algn="l" defTabSz="91458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229" indent="-228646" algn="l" defTabSz="91458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520"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811"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583"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a-DK" sz="1050" b="1" i="0" u="none" strike="noStrike" kern="1200" cap="none" spc="0" normalizeH="0" baseline="0" noProof="0">
                <a:ln>
                  <a:noFill/>
                </a:ln>
                <a:solidFill>
                  <a:srgbClr val="084F45"/>
                </a:solidFill>
                <a:effectLst/>
                <a:uLnTx/>
                <a:uFillTx/>
                <a:latin typeface="Arial" panose="020B0604020202020204"/>
                <a:ea typeface="+mn-ea"/>
                <a:cs typeface="+mn-cs"/>
              </a:rPr>
              <a:t>TEAM 3</a:t>
            </a:r>
          </a:p>
        </p:txBody>
      </p:sp>
      <p:cxnSp>
        <p:nvCxnSpPr>
          <p:cNvPr id="26" name="Lige forbindelse 25">
            <a:extLst>
              <a:ext uri="{FF2B5EF4-FFF2-40B4-BE49-F238E27FC236}">
                <a16:creationId xmlns:a16="http://schemas.microsoft.com/office/drawing/2014/main" id="{3EADD992-6845-4183-44D6-E94F9F4FAA85}"/>
              </a:ext>
            </a:extLst>
          </p:cNvPr>
          <p:cNvCxnSpPr>
            <a:cxnSpLocks/>
          </p:cNvCxnSpPr>
          <p:nvPr/>
        </p:nvCxnSpPr>
        <p:spPr>
          <a:xfrm>
            <a:off x="2245151" y="1907367"/>
            <a:ext cx="7891195" cy="0"/>
          </a:xfrm>
          <a:prstGeom prst="line">
            <a:avLst/>
          </a:prstGeom>
          <a:ln>
            <a:solidFill>
              <a:srgbClr val="4A8588"/>
            </a:solidFill>
            <a:prstDash val="lgDash"/>
          </a:ln>
        </p:spPr>
        <p:style>
          <a:lnRef idx="1">
            <a:schemeClr val="accent1"/>
          </a:lnRef>
          <a:fillRef idx="0">
            <a:schemeClr val="accent1"/>
          </a:fillRef>
          <a:effectRef idx="0">
            <a:schemeClr val="accent1"/>
          </a:effectRef>
          <a:fontRef idx="minor">
            <a:schemeClr val="tx1"/>
          </a:fontRef>
        </p:style>
      </p:cxnSp>
      <p:cxnSp>
        <p:nvCxnSpPr>
          <p:cNvPr id="28" name="Lige forbindelse 27">
            <a:extLst>
              <a:ext uri="{FF2B5EF4-FFF2-40B4-BE49-F238E27FC236}">
                <a16:creationId xmlns:a16="http://schemas.microsoft.com/office/drawing/2014/main" id="{DD03270A-95DF-BFE9-7127-98B921481796}"/>
              </a:ext>
            </a:extLst>
          </p:cNvPr>
          <p:cNvCxnSpPr>
            <a:cxnSpLocks/>
          </p:cNvCxnSpPr>
          <p:nvPr/>
        </p:nvCxnSpPr>
        <p:spPr>
          <a:xfrm>
            <a:off x="2245151" y="4090413"/>
            <a:ext cx="7891195" cy="0"/>
          </a:xfrm>
          <a:prstGeom prst="line">
            <a:avLst/>
          </a:prstGeom>
          <a:ln>
            <a:solidFill>
              <a:srgbClr val="4A8588"/>
            </a:solidFill>
            <a:prstDash val="lgDash"/>
          </a:ln>
        </p:spPr>
        <p:style>
          <a:lnRef idx="1">
            <a:schemeClr val="accent1"/>
          </a:lnRef>
          <a:fillRef idx="0">
            <a:schemeClr val="accent1"/>
          </a:fillRef>
          <a:effectRef idx="0">
            <a:schemeClr val="accent1"/>
          </a:effectRef>
          <a:fontRef idx="minor">
            <a:schemeClr val="tx1"/>
          </a:fontRef>
        </p:style>
      </p:cxnSp>
      <p:cxnSp>
        <p:nvCxnSpPr>
          <p:cNvPr id="29" name="Lige forbindelse 28">
            <a:extLst>
              <a:ext uri="{FF2B5EF4-FFF2-40B4-BE49-F238E27FC236}">
                <a16:creationId xmlns:a16="http://schemas.microsoft.com/office/drawing/2014/main" id="{56D4A169-F362-8811-2E61-A4F9D4210B1F}"/>
              </a:ext>
            </a:extLst>
          </p:cNvPr>
          <p:cNvCxnSpPr>
            <a:cxnSpLocks/>
          </p:cNvCxnSpPr>
          <p:nvPr/>
        </p:nvCxnSpPr>
        <p:spPr>
          <a:xfrm>
            <a:off x="2245151" y="2998764"/>
            <a:ext cx="7891195" cy="0"/>
          </a:xfrm>
          <a:prstGeom prst="line">
            <a:avLst/>
          </a:prstGeom>
          <a:ln>
            <a:solidFill>
              <a:srgbClr val="4A8588"/>
            </a:solidFill>
            <a:prstDash val="lgDash"/>
          </a:ln>
        </p:spPr>
        <p:style>
          <a:lnRef idx="1">
            <a:schemeClr val="accent1"/>
          </a:lnRef>
          <a:fillRef idx="0">
            <a:schemeClr val="accent1"/>
          </a:fillRef>
          <a:effectRef idx="0">
            <a:schemeClr val="accent1"/>
          </a:effectRef>
          <a:fontRef idx="minor">
            <a:schemeClr val="tx1"/>
          </a:fontRef>
        </p:style>
      </p:cxnSp>
      <p:sp>
        <p:nvSpPr>
          <p:cNvPr id="31" name="Rektangel: afrundede hjørner 30">
            <a:extLst>
              <a:ext uri="{FF2B5EF4-FFF2-40B4-BE49-F238E27FC236}">
                <a16:creationId xmlns:a16="http://schemas.microsoft.com/office/drawing/2014/main" id="{ACD70E63-0561-15AB-3A12-36A44889C57A}"/>
              </a:ext>
            </a:extLst>
          </p:cNvPr>
          <p:cNvSpPr>
            <a:spLocks/>
          </p:cNvSpPr>
          <p:nvPr/>
        </p:nvSpPr>
        <p:spPr>
          <a:xfrm>
            <a:off x="2330188" y="4427364"/>
            <a:ext cx="2367189" cy="178336"/>
          </a:xfrm>
          <a:prstGeom prst="roundRect">
            <a:avLst/>
          </a:prstGeom>
          <a:solidFill>
            <a:srgbClr val="39726A">
              <a:alpha val="90000"/>
            </a:srgbClr>
          </a:solidFill>
          <a:ln w="28575" cap="flat" cmpd="sng" algn="ctr">
            <a:solidFill>
              <a:srgbClr val="1A3536">
                <a:alpha val="90000"/>
              </a:srgbClr>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6 – Kommunikation og vejledning</a:t>
            </a:r>
          </a:p>
        </p:txBody>
      </p:sp>
      <p:sp>
        <p:nvSpPr>
          <p:cNvPr id="6" name="Rektangel: afrundede hjørner 5">
            <a:extLst>
              <a:ext uri="{FF2B5EF4-FFF2-40B4-BE49-F238E27FC236}">
                <a16:creationId xmlns:a16="http://schemas.microsoft.com/office/drawing/2014/main" id="{8AF81340-6A40-AD72-E290-5127F789D778}"/>
              </a:ext>
            </a:extLst>
          </p:cNvPr>
          <p:cNvSpPr>
            <a:spLocks/>
          </p:cNvSpPr>
          <p:nvPr/>
        </p:nvSpPr>
        <p:spPr>
          <a:xfrm>
            <a:off x="6302067" y="1956955"/>
            <a:ext cx="1632195" cy="434619"/>
          </a:xfrm>
          <a:prstGeom prst="roundRect">
            <a:avLst/>
          </a:prstGeom>
          <a:solidFill>
            <a:srgbClr val="769FA2">
              <a:alpha val="90000"/>
            </a:srgbClr>
          </a:solidFill>
          <a:ln w="28575" cap="flat" cmpd="sng" algn="ctr">
            <a:solidFill>
              <a:srgbClr val="1A3536"/>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3 – Tilmeld fagelement</a:t>
            </a:r>
          </a:p>
        </p:txBody>
      </p:sp>
      <p:sp>
        <p:nvSpPr>
          <p:cNvPr id="7" name="Rektangel: afrundede hjørner 6">
            <a:extLst>
              <a:ext uri="{FF2B5EF4-FFF2-40B4-BE49-F238E27FC236}">
                <a16:creationId xmlns:a16="http://schemas.microsoft.com/office/drawing/2014/main" id="{E8B16D0D-3546-520E-E954-8ADD0E00EFBC}"/>
              </a:ext>
            </a:extLst>
          </p:cNvPr>
          <p:cNvSpPr>
            <a:spLocks/>
          </p:cNvSpPr>
          <p:nvPr/>
        </p:nvSpPr>
        <p:spPr>
          <a:xfrm>
            <a:off x="6302067" y="3048478"/>
            <a:ext cx="1632195" cy="908967"/>
          </a:xfrm>
          <a:prstGeom prst="roundRect">
            <a:avLst/>
          </a:prstGeom>
          <a:solidFill>
            <a:srgbClr val="084F45">
              <a:alpha val="90000"/>
            </a:srgbClr>
          </a:solidFill>
          <a:ln w="28575" cap="flat" cmpd="sng" algn="ctr">
            <a:solidFill>
              <a:srgbClr val="1A3536">
                <a:alpha val="90000"/>
              </a:srgbClr>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6 – Kommunikation og vejledning</a:t>
            </a:r>
          </a:p>
        </p:txBody>
      </p:sp>
      <p:sp>
        <p:nvSpPr>
          <p:cNvPr id="10" name="Rektangel: afrundede hjørner 9">
            <a:extLst>
              <a:ext uri="{FF2B5EF4-FFF2-40B4-BE49-F238E27FC236}">
                <a16:creationId xmlns:a16="http://schemas.microsoft.com/office/drawing/2014/main" id="{4B4B201A-79C9-9BFD-4A5F-3244B32D074D}"/>
              </a:ext>
            </a:extLst>
          </p:cNvPr>
          <p:cNvSpPr>
            <a:spLocks/>
          </p:cNvSpPr>
          <p:nvPr/>
        </p:nvSpPr>
        <p:spPr>
          <a:xfrm>
            <a:off x="6302067" y="4153591"/>
            <a:ext cx="1632195" cy="509043"/>
          </a:xfrm>
          <a:prstGeom prst="roundRect">
            <a:avLst/>
          </a:prstGeom>
          <a:solidFill>
            <a:srgbClr val="39726A">
              <a:alpha val="90000"/>
            </a:srgbClr>
          </a:solidFill>
          <a:ln w="28575" cap="flat" cmpd="sng" algn="ctr">
            <a:solidFill>
              <a:srgbClr val="1A3536">
                <a:alpha val="90000"/>
              </a:srgbClr>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4 – Behandling af studentersager </a:t>
            </a:r>
          </a:p>
        </p:txBody>
      </p:sp>
      <p:sp>
        <p:nvSpPr>
          <p:cNvPr id="19" name="Rektangel: afrundede hjørner 68">
            <a:extLst>
              <a:ext uri="{FF2B5EF4-FFF2-40B4-BE49-F238E27FC236}">
                <a16:creationId xmlns:a16="http://schemas.microsoft.com/office/drawing/2014/main" id="{1BD72C57-0543-5E27-B94C-825B3A1646EA}"/>
              </a:ext>
            </a:extLst>
          </p:cNvPr>
          <p:cNvSpPr>
            <a:spLocks/>
          </p:cNvSpPr>
          <p:nvPr/>
        </p:nvSpPr>
        <p:spPr>
          <a:xfrm>
            <a:off x="4899815" y="3673179"/>
            <a:ext cx="1247710" cy="339185"/>
          </a:xfrm>
          <a:prstGeom prst="roundRect">
            <a:avLst/>
          </a:prstGeom>
          <a:solidFill>
            <a:srgbClr val="084F45">
              <a:alpha val="90000"/>
            </a:srgbClr>
          </a:solidFill>
          <a:ln w="28575" cap="flat" cmpd="sng" algn="ctr">
            <a:solidFill>
              <a:srgbClr val="1A3536">
                <a:alpha val="90000"/>
              </a:srgbClr>
            </a:solidFill>
            <a:prstDash val="solid"/>
            <a:miter lim="800000"/>
          </a:ln>
          <a:effectLst/>
        </p:spPr>
        <p:txBody>
          <a:bodyPr lIns="91440" tIns="45720" rIns="91440" bIns="45720"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7 – Betaling</a:t>
            </a:r>
            <a:endParaRPr kumimoji="0" lang="da-DK" sz="900" b="1" i="0" u="none" strike="noStrike" kern="0" cap="none" spc="0" normalizeH="0" baseline="0" noProof="0">
              <a:ln>
                <a:noFill/>
              </a:ln>
              <a:solidFill>
                <a:prstClr val="white"/>
              </a:solidFill>
              <a:effectLst/>
              <a:uLnTx/>
              <a:uFillTx/>
              <a:latin typeface="Arial" panose="020B0604020202020204"/>
              <a:ea typeface="+mn-ea"/>
              <a:cs typeface="Arial"/>
            </a:endParaRPr>
          </a:p>
        </p:txBody>
      </p:sp>
      <p:cxnSp>
        <p:nvCxnSpPr>
          <p:cNvPr id="4" name="Lige forbindelse 27">
            <a:extLst>
              <a:ext uri="{FF2B5EF4-FFF2-40B4-BE49-F238E27FC236}">
                <a16:creationId xmlns:a16="http://schemas.microsoft.com/office/drawing/2014/main" id="{70213FEB-848D-50DB-1107-3606E8008FE4}"/>
              </a:ext>
            </a:extLst>
          </p:cNvPr>
          <p:cNvCxnSpPr>
            <a:cxnSpLocks/>
          </p:cNvCxnSpPr>
          <p:nvPr/>
        </p:nvCxnSpPr>
        <p:spPr>
          <a:xfrm>
            <a:off x="2330188" y="5321765"/>
            <a:ext cx="7891195" cy="0"/>
          </a:xfrm>
          <a:prstGeom prst="line">
            <a:avLst/>
          </a:prstGeom>
          <a:ln>
            <a:solidFill>
              <a:srgbClr val="4A8588"/>
            </a:solidFill>
            <a:prstDash val="lgDash"/>
          </a:ln>
        </p:spPr>
        <p:style>
          <a:lnRef idx="1">
            <a:schemeClr val="accent1"/>
          </a:lnRef>
          <a:fillRef idx="0">
            <a:schemeClr val="accent1"/>
          </a:fillRef>
          <a:effectRef idx="0">
            <a:schemeClr val="accent1"/>
          </a:effectRef>
          <a:fontRef idx="minor">
            <a:schemeClr val="tx1"/>
          </a:fontRef>
        </p:style>
      </p:cxnSp>
      <p:sp>
        <p:nvSpPr>
          <p:cNvPr id="12" name="Rektangel: afrundede hjørner 68">
            <a:extLst>
              <a:ext uri="{FF2B5EF4-FFF2-40B4-BE49-F238E27FC236}">
                <a16:creationId xmlns:a16="http://schemas.microsoft.com/office/drawing/2014/main" id="{4450CC9C-554D-75DA-60CC-42BFB7FCFE3A}"/>
              </a:ext>
            </a:extLst>
          </p:cNvPr>
          <p:cNvSpPr>
            <a:spLocks/>
          </p:cNvSpPr>
          <p:nvPr/>
        </p:nvSpPr>
        <p:spPr>
          <a:xfrm>
            <a:off x="4779644" y="5376425"/>
            <a:ext cx="1386900" cy="586318"/>
          </a:xfrm>
          <a:prstGeom prst="roundRect">
            <a:avLst/>
          </a:prstGeom>
          <a:solidFill>
            <a:srgbClr val="83A8AB"/>
          </a:solidFill>
          <a:ln w="28575" cap="flat" cmpd="sng" algn="ctr">
            <a:solidFill>
              <a:srgbClr val="1A3536">
                <a:alpha val="90000"/>
              </a:srgbClr>
            </a:solidFill>
            <a:prstDash val="solid"/>
            <a:miter lim="800000"/>
          </a:ln>
          <a:effectLst/>
        </p:spPr>
        <p:txBody>
          <a:bodyPr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1 – Opbyg uddannelse</a:t>
            </a:r>
          </a:p>
        </p:txBody>
      </p:sp>
      <p:sp>
        <p:nvSpPr>
          <p:cNvPr id="21" name="Rektangel: afrundede hjørner 68">
            <a:extLst>
              <a:ext uri="{FF2B5EF4-FFF2-40B4-BE49-F238E27FC236}">
                <a16:creationId xmlns:a16="http://schemas.microsoft.com/office/drawing/2014/main" id="{9084758F-6267-BDE0-1042-6BD4EE784248}"/>
              </a:ext>
            </a:extLst>
          </p:cNvPr>
          <p:cNvSpPr>
            <a:spLocks/>
          </p:cNvSpPr>
          <p:nvPr/>
        </p:nvSpPr>
        <p:spPr>
          <a:xfrm>
            <a:off x="4779644" y="6007990"/>
            <a:ext cx="1402203" cy="339185"/>
          </a:xfrm>
          <a:prstGeom prst="roundRect">
            <a:avLst/>
          </a:prstGeom>
          <a:solidFill>
            <a:srgbClr val="206057"/>
          </a:solidFill>
          <a:ln w="28575" cap="flat" cmpd="sng" algn="ctr">
            <a:solidFill>
              <a:srgbClr val="1A3536">
                <a:alpha val="90000"/>
              </a:srgbClr>
            </a:solidFill>
            <a:prstDash val="solid"/>
            <a:miter lim="800000"/>
          </a:ln>
          <a:effectLst/>
        </p:spPr>
        <p:txBody>
          <a:bodyPr lIns="91440" tIns="45720" rIns="91440" bIns="45720" rtlCol="0" anchor="ctr"/>
          <a:lstStyle/>
          <a:p>
            <a:pPr marL="0" marR="0" lvl="0" indent="0" algn="ctr" defTabSz="1039203" rtl="0" eaLnBrk="1" fontAlgn="auto" latinLnBrk="0" hangingPunct="1">
              <a:lnSpc>
                <a:spcPct val="100000"/>
              </a:lnSpc>
              <a:spcBef>
                <a:spcPts val="0"/>
              </a:spcBef>
              <a:spcAft>
                <a:spcPts val="0"/>
              </a:spcAft>
              <a:buClrTx/>
              <a:buSzTx/>
              <a:buFontTx/>
              <a:buNone/>
              <a:tabLst/>
              <a:defRPr/>
            </a:pPr>
            <a:r>
              <a:rPr kumimoji="0" lang="da-DK" sz="900" b="1" i="0" u="none" strike="noStrike" kern="0" cap="none" spc="0" normalizeH="0" baseline="0" noProof="0">
                <a:ln>
                  <a:noFill/>
                </a:ln>
                <a:solidFill>
                  <a:prstClr val="white"/>
                </a:solidFill>
                <a:effectLst/>
                <a:uLnTx/>
                <a:uFillTx/>
                <a:latin typeface="Arial" panose="020B0604020202020204"/>
                <a:ea typeface="+mn-ea"/>
                <a:cs typeface="+mn-cs"/>
              </a:rPr>
              <a:t>PO 2 – Optag studerende</a:t>
            </a:r>
          </a:p>
        </p:txBody>
      </p:sp>
      <p:sp>
        <p:nvSpPr>
          <p:cNvPr id="32" name="TextBox 1055">
            <a:extLst>
              <a:ext uri="{FF2B5EF4-FFF2-40B4-BE49-F238E27FC236}">
                <a16:creationId xmlns:a16="http://schemas.microsoft.com/office/drawing/2014/main" id="{D09F7C28-694F-97A1-F60B-B62F7617F0B4}"/>
              </a:ext>
            </a:extLst>
          </p:cNvPr>
          <p:cNvSpPr txBox="1">
            <a:spLocks/>
          </p:cNvSpPr>
          <p:nvPr/>
        </p:nvSpPr>
        <p:spPr>
          <a:xfrm rot="16200000">
            <a:off x="1653731" y="5722128"/>
            <a:ext cx="749517" cy="139749"/>
          </a:xfrm>
          <a:prstGeom prst="rect">
            <a:avLst/>
          </a:prstGeom>
        </p:spPr>
        <p:txBody>
          <a:bodyPr vert="horz" lIns="0" tIns="0" rIns="0" bIns="0" rtlCol="0">
            <a:noAutofit/>
          </a:bodyPr>
          <a:lstStyle>
            <a:lvl1pPr marL="228646" indent="-228646" algn="l" defTabSz="914583" rtl="0" eaLnBrk="1" latinLnBrk="0" hangingPunct="1">
              <a:lnSpc>
                <a:spcPct val="90000"/>
              </a:lnSpc>
              <a:spcBef>
                <a:spcPts val="1000"/>
              </a:spcBef>
              <a:buFont typeface="Arial" panose="020B0604020202020204" pitchFamily="34" charset="0"/>
              <a:buChar char="•"/>
              <a:defRPr sz="2801" kern="1200">
                <a:solidFill>
                  <a:schemeClr val="tx1"/>
                </a:solidFill>
                <a:latin typeface="+mn-lt"/>
                <a:ea typeface="+mn-ea"/>
                <a:cs typeface="+mn-cs"/>
              </a:defRPr>
            </a:lvl1pPr>
            <a:lvl2pPr marL="685937" indent="-228646" algn="l" defTabSz="91458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229" indent="-228646" algn="l" defTabSz="91458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520"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811"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5103"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2394"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686"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977" indent="-228646" algn="l" defTabSz="91458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583"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da-DK" sz="1050" b="1" i="0" u="none" strike="noStrike" kern="1200" cap="none" spc="0" normalizeH="0" baseline="0" noProof="0">
                <a:ln>
                  <a:noFill/>
                </a:ln>
                <a:solidFill>
                  <a:srgbClr val="084F45"/>
                </a:solidFill>
                <a:effectLst/>
                <a:uLnTx/>
                <a:uFillTx/>
                <a:latin typeface="Arial" panose="020B0604020202020204"/>
                <a:ea typeface="+mn-ea"/>
                <a:cs typeface="+mn-cs"/>
              </a:rPr>
              <a:t>TEAM  4</a:t>
            </a:r>
          </a:p>
        </p:txBody>
      </p:sp>
      <p:sp>
        <p:nvSpPr>
          <p:cNvPr id="66" name="Oval 65">
            <a:extLst>
              <a:ext uri="{FF2B5EF4-FFF2-40B4-BE49-F238E27FC236}">
                <a16:creationId xmlns:a16="http://schemas.microsoft.com/office/drawing/2014/main" id="{21308217-C877-C641-FC30-CF8FF3117723}"/>
              </a:ext>
            </a:extLst>
          </p:cNvPr>
          <p:cNvSpPr/>
          <p:nvPr/>
        </p:nvSpPr>
        <p:spPr>
          <a:xfrm>
            <a:off x="4261785" y="5181810"/>
            <a:ext cx="2367189" cy="1395026"/>
          </a:xfrm>
          <a:prstGeom prst="ellipse">
            <a:avLst/>
          </a:prstGeom>
          <a:noFill/>
          <a:ln w="28575">
            <a:solidFill>
              <a:schemeClr val="accent6"/>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420805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9A312E-7CF5-93BF-705F-D005919838DA}"/>
              </a:ext>
            </a:extLst>
          </p:cNvPr>
          <p:cNvSpPr>
            <a:spLocks noGrp="1"/>
          </p:cNvSpPr>
          <p:nvPr>
            <p:ph type="title"/>
          </p:nvPr>
        </p:nvSpPr>
        <p:spPr/>
        <p:txBody>
          <a:bodyPr/>
          <a:lstStyle/>
          <a:p>
            <a:endParaRPr lang="da-DK"/>
          </a:p>
        </p:txBody>
      </p:sp>
      <p:sp>
        <p:nvSpPr>
          <p:cNvPr id="3" name="Content Placeholder 2">
            <a:extLst>
              <a:ext uri="{FF2B5EF4-FFF2-40B4-BE49-F238E27FC236}">
                <a16:creationId xmlns:a16="http://schemas.microsoft.com/office/drawing/2014/main" id="{04FD5DB8-5183-1D6A-5011-71F0EFC9D177}"/>
              </a:ext>
            </a:extLst>
          </p:cNvPr>
          <p:cNvSpPr>
            <a:spLocks noGrp="1"/>
          </p:cNvSpPr>
          <p:nvPr>
            <p:ph sz="quarter" idx="19"/>
          </p:nvPr>
        </p:nvSpPr>
        <p:spPr/>
        <p:txBody>
          <a:bodyPr/>
          <a:lstStyle/>
          <a:p>
            <a:pPr marL="0" indent="0">
              <a:buNone/>
            </a:pPr>
            <a:endParaRPr lang="da-DK" sz="4800" b="1" dirty="0"/>
          </a:p>
          <a:p>
            <a:pPr marL="0" indent="0">
              <a:buNone/>
            </a:pPr>
            <a:endParaRPr lang="da-DK" sz="4800" b="1" dirty="0"/>
          </a:p>
          <a:p>
            <a:pPr marL="0" indent="0">
              <a:buNone/>
            </a:pPr>
            <a:endParaRPr lang="da-DK" sz="4800" b="1" dirty="0"/>
          </a:p>
          <a:p>
            <a:pPr marL="0" indent="0">
              <a:buNone/>
            </a:pPr>
            <a:endParaRPr lang="da-DK" sz="4800" b="1" dirty="0"/>
          </a:p>
          <a:p>
            <a:pPr marL="0" indent="0">
              <a:buNone/>
            </a:pPr>
            <a:r>
              <a:rPr lang="da-DK" sz="4800" b="1" dirty="0"/>
              <a:t>SPØRGSMÅL?</a:t>
            </a:r>
            <a:endParaRPr lang="da-DK" b="1" dirty="0"/>
          </a:p>
        </p:txBody>
      </p:sp>
      <p:sp>
        <p:nvSpPr>
          <p:cNvPr id="4" name="Date Placeholder 3">
            <a:extLst>
              <a:ext uri="{FF2B5EF4-FFF2-40B4-BE49-F238E27FC236}">
                <a16:creationId xmlns:a16="http://schemas.microsoft.com/office/drawing/2014/main" id="{65AC8BD7-C926-B854-0181-319153D13B1B}"/>
              </a:ext>
            </a:extLst>
          </p:cNvPr>
          <p:cNvSpPr>
            <a:spLocks noGrp="1"/>
          </p:cNvSpPr>
          <p:nvPr>
            <p:ph type="dt" sz="half" idx="20"/>
          </p:nvPr>
        </p:nvSpPr>
        <p:spPr/>
        <p:txBody>
          <a:bodyPr/>
          <a:lstStyle/>
          <a:p>
            <a:fld id="{4F5C166C-2019-40ED-834D-6B675705E6F2}" type="datetime1">
              <a:rPr lang="da-DK" smtClean="0"/>
              <a:t>09-05-2025</a:t>
            </a:fld>
            <a:endParaRPr lang="da-DK"/>
          </a:p>
        </p:txBody>
      </p:sp>
      <p:sp>
        <p:nvSpPr>
          <p:cNvPr id="5" name="Footer Placeholder 4">
            <a:extLst>
              <a:ext uri="{FF2B5EF4-FFF2-40B4-BE49-F238E27FC236}">
                <a16:creationId xmlns:a16="http://schemas.microsoft.com/office/drawing/2014/main" id="{1F24D1BB-21C8-DF2D-7222-825137785BB5}"/>
              </a:ext>
            </a:extLst>
          </p:cNvPr>
          <p:cNvSpPr>
            <a:spLocks noGrp="1"/>
          </p:cNvSpPr>
          <p:nvPr>
            <p:ph type="ftr" sz="quarter" idx="21"/>
          </p:nvPr>
        </p:nvSpPr>
        <p:spPr/>
        <p:txBody>
          <a:bodyPr/>
          <a:lstStyle/>
          <a:p>
            <a:endParaRPr lang="da-DK"/>
          </a:p>
        </p:txBody>
      </p:sp>
      <p:sp>
        <p:nvSpPr>
          <p:cNvPr id="6" name="Slide Number Placeholder 5">
            <a:extLst>
              <a:ext uri="{FF2B5EF4-FFF2-40B4-BE49-F238E27FC236}">
                <a16:creationId xmlns:a16="http://schemas.microsoft.com/office/drawing/2014/main" id="{260DB20B-C5AD-B96D-AF78-CB3DC60E2061}"/>
              </a:ext>
            </a:extLst>
          </p:cNvPr>
          <p:cNvSpPr>
            <a:spLocks noGrp="1"/>
          </p:cNvSpPr>
          <p:nvPr>
            <p:ph type="sldNum" sz="quarter" idx="22"/>
          </p:nvPr>
        </p:nvSpPr>
        <p:spPr/>
        <p:txBody>
          <a:bodyPr/>
          <a:lstStyle/>
          <a:p>
            <a:fld id="{45D37B1E-C366-494F-A587-962AD9AABC83}" type="slidenum">
              <a:rPr lang="da-DK" smtClean="0"/>
              <a:pPr/>
              <a:t>13</a:t>
            </a:fld>
            <a:endParaRPr lang="da-DK"/>
          </a:p>
        </p:txBody>
      </p:sp>
      <p:pic>
        <p:nvPicPr>
          <p:cNvPr id="7" name="Picture 2" descr="Travlhed og engagement i SDU's Nyt SIS-program">
            <a:extLst>
              <a:ext uri="{FF2B5EF4-FFF2-40B4-BE49-F238E27FC236}">
                <a16:creationId xmlns:a16="http://schemas.microsoft.com/office/drawing/2014/main" id="{69C7CAC8-8614-7062-C4E3-3E0CB9494FC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916" y="1028246"/>
            <a:ext cx="5405751" cy="3078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82813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4">
            <a:lumMod val="75000"/>
          </a:schemeClr>
        </a:solidFill>
        <a:effectLst/>
      </p:bgPr>
    </p:bg>
    <p:spTree>
      <p:nvGrpSpPr>
        <p:cNvPr id="1" name="">
          <a:extLst>
            <a:ext uri="{FF2B5EF4-FFF2-40B4-BE49-F238E27FC236}">
              <a16:creationId xmlns:a16="http://schemas.microsoft.com/office/drawing/2014/main" id="{98750C64-7F96-9DB0-90C1-AD74EB7127B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AFCCEE9-BD16-7743-7EA9-FE316C221FF4}"/>
              </a:ext>
            </a:extLst>
          </p:cNvPr>
          <p:cNvSpPr>
            <a:spLocks noGrp="1"/>
          </p:cNvSpPr>
          <p:nvPr>
            <p:ph type="ctrTitle"/>
          </p:nvPr>
        </p:nvSpPr>
        <p:spPr>
          <a:xfrm>
            <a:off x="879039" y="4883567"/>
            <a:ext cx="11151736" cy="1470454"/>
          </a:xfrm>
        </p:spPr>
        <p:txBody>
          <a:bodyPr/>
          <a:lstStyle/>
          <a:p>
            <a:r>
              <a:rPr lang="da-DK" sz="9600" dirty="0"/>
              <a:t>Ketchup og bump</a:t>
            </a:r>
            <a:endParaRPr lang="da-DK" b="0" dirty="0"/>
          </a:p>
        </p:txBody>
      </p:sp>
      <p:sp>
        <p:nvSpPr>
          <p:cNvPr id="3" name="Date Placeholder 2">
            <a:extLst>
              <a:ext uri="{FF2B5EF4-FFF2-40B4-BE49-F238E27FC236}">
                <a16:creationId xmlns:a16="http://schemas.microsoft.com/office/drawing/2014/main" id="{3528ED9D-BF7F-F442-C677-C22F9CA287BA}"/>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7FFEC2-B804-4E21-8F6D-80251A3FDF81}" type="datetime1">
              <a:rPr kumimoji="0" lang="da-DK" sz="1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8-05-2025</a:t>
            </a:fld>
            <a:endParaRPr kumimoji="0" lang="da-DK" sz="100" b="0" i="0" u="none" strike="noStrike" kern="1200" cap="none" spc="0" normalizeH="0" baseline="0" noProof="0">
              <a:ln>
                <a:noFill/>
              </a:ln>
              <a:noFill/>
              <a:effectLst/>
              <a:uLnTx/>
              <a:uFillTx/>
              <a:latin typeface="Arial"/>
              <a:ea typeface="+mn-ea"/>
              <a:cs typeface="+mn-cs"/>
            </a:endParaRPr>
          </a:p>
        </p:txBody>
      </p:sp>
      <p:pic>
        <p:nvPicPr>
          <p:cNvPr id="4" name="Picture 2" descr="bump på vejen - Galerie Pi">
            <a:extLst>
              <a:ext uri="{FF2B5EF4-FFF2-40B4-BE49-F238E27FC236}">
                <a16:creationId xmlns:a16="http://schemas.microsoft.com/office/drawing/2014/main" id="{31728DAA-0D5D-832C-144E-AC462FAF09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72339" y="256843"/>
            <a:ext cx="5934775" cy="445108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Ketchup sauce falling ketchup bottle ...">
            <a:extLst>
              <a:ext uri="{FF2B5EF4-FFF2-40B4-BE49-F238E27FC236}">
                <a16:creationId xmlns:a16="http://schemas.microsoft.com/office/drawing/2014/main" id="{2EAC44FE-A3B9-D615-74F8-F112F4AB27A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896559" y="1180225"/>
            <a:ext cx="3916265" cy="260431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76084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AE9B6-D2DF-3378-65DB-421B664C9609}"/>
              </a:ext>
            </a:extLst>
          </p:cNvPr>
          <p:cNvSpPr>
            <a:spLocks noGrp="1"/>
          </p:cNvSpPr>
          <p:nvPr>
            <p:ph type="title"/>
          </p:nvPr>
        </p:nvSpPr>
        <p:spPr>
          <a:xfrm>
            <a:off x="5755722" y="198894"/>
            <a:ext cx="4441243" cy="671967"/>
          </a:xfrm>
        </p:spPr>
        <p:txBody>
          <a:bodyPr/>
          <a:lstStyle/>
          <a:p>
            <a:r>
              <a:rPr lang="da-DK"/>
              <a:t>Transition  </a:t>
            </a:r>
          </a:p>
        </p:txBody>
      </p:sp>
      <p:sp>
        <p:nvSpPr>
          <p:cNvPr id="5" name="Slide Number Placeholder 4">
            <a:extLst>
              <a:ext uri="{FF2B5EF4-FFF2-40B4-BE49-F238E27FC236}">
                <a16:creationId xmlns:a16="http://schemas.microsoft.com/office/drawing/2014/main" id="{0D3722AC-B222-532B-B035-F28A630BCCE4}"/>
              </a:ext>
            </a:extLst>
          </p:cNvPr>
          <p:cNvSpPr>
            <a:spLocks noGrp="1"/>
          </p:cNvSpPr>
          <p:nvPr>
            <p:ph type="sldNum" sz="quarter" idx="2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D37B1E-C366-494F-A587-962AD9AABC83}" type="slidenum">
              <a:rPr kumimoji="0" lang="da-DK" sz="800" b="1" i="0" u="none" strike="noStrike" kern="1200" cap="none" spc="0" normalizeH="0" baseline="0" noProof="0" smtClean="0">
                <a:ln>
                  <a:noFill/>
                </a:ln>
                <a:solidFill>
                  <a:srgbClr val="064F44"/>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a-DK" sz="800" b="1" i="0" u="none" strike="noStrike" kern="1200" cap="none" spc="0" normalizeH="0" baseline="0" noProof="0">
              <a:ln>
                <a:noFill/>
              </a:ln>
              <a:solidFill>
                <a:srgbClr val="064F44"/>
              </a:solidFill>
              <a:effectLst/>
              <a:uLnTx/>
              <a:uFillTx/>
              <a:latin typeface="Arial" panose="020B0604020202020204"/>
              <a:ea typeface="+mn-ea"/>
              <a:cs typeface="+mn-cs"/>
            </a:endParaRPr>
          </a:p>
        </p:txBody>
      </p:sp>
      <p:sp>
        <p:nvSpPr>
          <p:cNvPr id="8" name="Content Placeholder 7">
            <a:extLst>
              <a:ext uri="{FF2B5EF4-FFF2-40B4-BE49-F238E27FC236}">
                <a16:creationId xmlns:a16="http://schemas.microsoft.com/office/drawing/2014/main" id="{C166CF62-F656-5401-BF76-FFF950149C46}"/>
              </a:ext>
            </a:extLst>
          </p:cNvPr>
          <p:cNvSpPr>
            <a:spLocks noGrp="1"/>
          </p:cNvSpPr>
          <p:nvPr>
            <p:ph sz="quarter" idx="19"/>
          </p:nvPr>
        </p:nvSpPr>
        <p:spPr>
          <a:xfrm>
            <a:off x="259635" y="3020806"/>
            <a:ext cx="1931745" cy="2323998"/>
          </a:xfrm>
        </p:spPr>
        <p:txBody>
          <a:bodyPr>
            <a:noAutofit/>
          </a:bodyPr>
          <a:lstStyle/>
          <a:p>
            <a:pPr marL="0" indent="0">
              <a:lnSpc>
                <a:spcPct val="120000"/>
              </a:lnSpc>
              <a:spcBef>
                <a:spcPts val="0"/>
              </a:spcBef>
              <a:buNone/>
            </a:pPr>
            <a:r>
              <a:rPr lang="da-DK" sz="1400" b="1"/>
              <a:t>Designfasen: </a:t>
            </a:r>
          </a:p>
          <a:p>
            <a:pPr marL="0" indent="0">
              <a:lnSpc>
                <a:spcPct val="120000"/>
              </a:lnSpc>
              <a:spcBef>
                <a:spcPts val="0"/>
              </a:spcBef>
              <a:buNone/>
            </a:pPr>
            <a:r>
              <a:rPr lang="da-DK" sz="1400"/>
              <a:t>Fælles løsning klar</a:t>
            </a:r>
          </a:p>
          <a:p>
            <a:pPr marL="0" indent="0">
              <a:lnSpc>
                <a:spcPct val="120000"/>
              </a:lnSpc>
              <a:spcBef>
                <a:spcPts val="0"/>
              </a:spcBef>
              <a:buNone/>
            </a:pPr>
            <a:r>
              <a:rPr lang="da-DK" sz="1400"/>
              <a:t>Strategier, planer, metoder, skabeloner til fælles implementering er klar</a:t>
            </a:r>
          </a:p>
          <a:p>
            <a:pPr marL="0" indent="0">
              <a:lnSpc>
                <a:spcPct val="120000"/>
              </a:lnSpc>
              <a:spcBef>
                <a:spcPts val="0"/>
              </a:spcBef>
              <a:buNone/>
            </a:pPr>
            <a:endParaRPr lang="da-DK" sz="1400"/>
          </a:p>
          <a:p>
            <a:pPr marL="0" indent="0">
              <a:lnSpc>
                <a:spcPct val="120000"/>
              </a:lnSpc>
              <a:spcBef>
                <a:spcPts val="0"/>
              </a:spcBef>
              <a:buNone/>
            </a:pPr>
            <a:r>
              <a:rPr lang="da-DK" sz="1400"/>
              <a:t>Viden – funktionelt og teknisk – overdrages løbende</a:t>
            </a:r>
          </a:p>
        </p:txBody>
      </p:sp>
      <p:sp>
        <p:nvSpPr>
          <p:cNvPr id="9" name="Arrow: Right 8">
            <a:extLst>
              <a:ext uri="{FF2B5EF4-FFF2-40B4-BE49-F238E27FC236}">
                <a16:creationId xmlns:a16="http://schemas.microsoft.com/office/drawing/2014/main" id="{CEB238C5-7EE5-EF71-F962-B485B36BEA4E}"/>
              </a:ext>
            </a:extLst>
          </p:cNvPr>
          <p:cNvSpPr/>
          <p:nvPr/>
        </p:nvSpPr>
        <p:spPr>
          <a:xfrm>
            <a:off x="259633" y="-99046"/>
            <a:ext cx="2778711" cy="1578784"/>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Design</a:t>
            </a:r>
          </a:p>
        </p:txBody>
      </p:sp>
      <p:sp>
        <p:nvSpPr>
          <p:cNvPr id="10" name="Arrow: Right 9">
            <a:extLst>
              <a:ext uri="{FF2B5EF4-FFF2-40B4-BE49-F238E27FC236}">
                <a16:creationId xmlns:a16="http://schemas.microsoft.com/office/drawing/2014/main" id="{B7E96094-0C49-52C8-BF74-3D675F99D3F4}"/>
              </a:ext>
            </a:extLst>
          </p:cNvPr>
          <p:cNvSpPr/>
          <p:nvPr/>
        </p:nvSpPr>
        <p:spPr>
          <a:xfrm>
            <a:off x="3050465" y="156964"/>
            <a:ext cx="2060809" cy="1189608"/>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Pilot</a:t>
            </a:r>
          </a:p>
        </p:txBody>
      </p:sp>
      <p:sp>
        <p:nvSpPr>
          <p:cNvPr id="12" name="Arrow: Right 11">
            <a:extLst>
              <a:ext uri="{FF2B5EF4-FFF2-40B4-BE49-F238E27FC236}">
                <a16:creationId xmlns:a16="http://schemas.microsoft.com/office/drawing/2014/main" id="{207D3338-6B0A-7F6D-7E80-95AE925FF60D}"/>
              </a:ext>
            </a:extLst>
          </p:cNvPr>
          <p:cNvSpPr/>
          <p:nvPr/>
        </p:nvSpPr>
        <p:spPr>
          <a:xfrm>
            <a:off x="5633585" y="1606317"/>
            <a:ext cx="2975089" cy="671967"/>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Bølge 2</a:t>
            </a:r>
          </a:p>
        </p:txBody>
      </p:sp>
      <p:sp>
        <p:nvSpPr>
          <p:cNvPr id="13" name="Arrow: Right 12">
            <a:extLst>
              <a:ext uri="{FF2B5EF4-FFF2-40B4-BE49-F238E27FC236}">
                <a16:creationId xmlns:a16="http://schemas.microsoft.com/office/drawing/2014/main" id="{E04A6198-7E08-EA81-69B9-D4D45E851427}"/>
              </a:ext>
            </a:extLst>
          </p:cNvPr>
          <p:cNvSpPr/>
          <p:nvPr/>
        </p:nvSpPr>
        <p:spPr>
          <a:xfrm>
            <a:off x="6151033" y="2136239"/>
            <a:ext cx="2975089" cy="671967"/>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Bølge 3</a:t>
            </a:r>
          </a:p>
        </p:txBody>
      </p:sp>
      <p:sp>
        <p:nvSpPr>
          <p:cNvPr id="14" name="Arrow: Right 13">
            <a:extLst>
              <a:ext uri="{FF2B5EF4-FFF2-40B4-BE49-F238E27FC236}">
                <a16:creationId xmlns:a16="http://schemas.microsoft.com/office/drawing/2014/main" id="{5012FA55-4266-B62B-001D-7AE9B621F552}"/>
              </a:ext>
            </a:extLst>
          </p:cNvPr>
          <p:cNvSpPr/>
          <p:nvPr/>
        </p:nvSpPr>
        <p:spPr>
          <a:xfrm>
            <a:off x="3068120" y="1126850"/>
            <a:ext cx="2013382" cy="619218"/>
          </a:xfrm>
          <a:prstGeom prst="rightArrow">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Forbered</a:t>
            </a:r>
          </a:p>
        </p:txBody>
      </p:sp>
      <p:sp>
        <p:nvSpPr>
          <p:cNvPr id="16" name="Arrow: Right 15">
            <a:extLst>
              <a:ext uri="{FF2B5EF4-FFF2-40B4-BE49-F238E27FC236}">
                <a16:creationId xmlns:a16="http://schemas.microsoft.com/office/drawing/2014/main" id="{3F3B99CB-2863-067A-E209-04ED43F1AEBB}"/>
              </a:ext>
            </a:extLst>
          </p:cNvPr>
          <p:cNvSpPr/>
          <p:nvPr/>
        </p:nvSpPr>
        <p:spPr>
          <a:xfrm>
            <a:off x="5111276" y="1092823"/>
            <a:ext cx="2975089" cy="671967"/>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Bølge 1</a:t>
            </a:r>
          </a:p>
        </p:txBody>
      </p:sp>
      <p:sp>
        <p:nvSpPr>
          <p:cNvPr id="17" name="Arrow: Right 16">
            <a:extLst>
              <a:ext uri="{FF2B5EF4-FFF2-40B4-BE49-F238E27FC236}">
                <a16:creationId xmlns:a16="http://schemas.microsoft.com/office/drawing/2014/main" id="{3BA42154-55E2-D8BD-08C1-2F1CBCE1AE25}"/>
              </a:ext>
            </a:extLst>
          </p:cNvPr>
          <p:cNvSpPr/>
          <p:nvPr/>
        </p:nvSpPr>
        <p:spPr>
          <a:xfrm>
            <a:off x="4414385" y="1632875"/>
            <a:ext cx="1137823" cy="619218"/>
          </a:xfrm>
          <a:prstGeom prst="rightArrow">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Forbered</a:t>
            </a:r>
          </a:p>
        </p:txBody>
      </p:sp>
      <p:sp>
        <p:nvSpPr>
          <p:cNvPr id="18" name="Arrow: Right 17">
            <a:extLst>
              <a:ext uri="{FF2B5EF4-FFF2-40B4-BE49-F238E27FC236}">
                <a16:creationId xmlns:a16="http://schemas.microsoft.com/office/drawing/2014/main" id="{6973E7E1-6CFF-F3FD-02F6-CF93DFA82994}"/>
              </a:ext>
            </a:extLst>
          </p:cNvPr>
          <p:cNvSpPr/>
          <p:nvPr/>
        </p:nvSpPr>
        <p:spPr>
          <a:xfrm>
            <a:off x="4947049" y="2183293"/>
            <a:ext cx="1137823" cy="619218"/>
          </a:xfrm>
          <a:prstGeom prst="rightArrow">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Forbered</a:t>
            </a:r>
          </a:p>
        </p:txBody>
      </p:sp>
      <p:sp>
        <p:nvSpPr>
          <p:cNvPr id="19" name="Arrow: Right 18">
            <a:extLst>
              <a:ext uri="{FF2B5EF4-FFF2-40B4-BE49-F238E27FC236}">
                <a16:creationId xmlns:a16="http://schemas.microsoft.com/office/drawing/2014/main" id="{D8AD18E6-9D3D-7468-E424-4DBE65308184}"/>
              </a:ext>
            </a:extLst>
          </p:cNvPr>
          <p:cNvSpPr/>
          <p:nvPr/>
        </p:nvSpPr>
        <p:spPr>
          <a:xfrm>
            <a:off x="8132420" y="1089474"/>
            <a:ext cx="2176516" cy="619218"/>
          </a:xfrm>
          <a:prstGeom prst="rightArrow">
            <a:avLst/>
          </a:prstGeom>
          <a:solidFill>
            <a:schemeClr val="accent1">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Drift</a:t>
            </a:r>
          </a:p>
        </p:txBody>
      </p:sp>
      <p:sp>
        <p:nvSpPr>
          <p:cNvPr id="20" name="Arrow: Right 19">
            <a:extLst>
              <a:ext uri="{FF2B5EF4-FFF2-40B4-BE49-F238E27FC236}">
                <a16:creationId xmlns:a16="http://schemas.microsoft.com/office/drawing/2014/main" id="{687CFF04-1172-5CC2-7A89-835D79527E74}"/>
              </a:ext>
            </a:extLst>
          </p:cNvPr>
          <p:cNvSpPr/>
          <p:nvPr/>
        </p:nvSpPr>
        <p:spPr>
          <a:xfrm>
            <a:off x="8638449" y="1595499"/>
            <a:ext cx="1670487" cy="619218"/>
          </a:xfrm>
          <a:prstGeom prst="rightArrow">
            <a:avLst/>
          </a:prstGeom>
          <a:solidFill>
            <a:schemeClr val="accent1">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Drift</a:t>
            </a:r>
          </a:p>
        </p:txBody>
      </p:sp>
      <p:sp>
        <p:nvSpPr>
          <p:cNvPr id="21" name="Arrow: Right 20">
            <a:extLst>
              <a:ext uri="{FF2B5EF4-FFF2-40B4-BE49-F238E27FC236}">
                <a16:creationId xmlns:a16="http://schemas.microsoft.com/office/drawing/2014/main" id="{67BCD248-456B-26E9-F7C0-FBE017B7499B}"/>
              </a:ext>
            </a:extLst>
          </p:cNvPr>
          <p:cNvSpPr/>
          <p:nvPr/>
        </p:nvSpPr>
        <p:spPr>
          <a:xfrm>
            <a:off x="9171113" y="2145917"/>
            <a:ext cx="1137823" cy="619218"/>
          </a:xfrm>
          <a:prstGeom prst="rightArrow">
            <a:avLst/>
          </a:prstGeom>
          <a:solidFill>
            <a:schemeClr val="accent1">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a:ln>
                  <a:noFill/>
                </a:ln>
                <a:solidFill>
                  <a:prstClr val="white"/>
                </a:solidFill>
                <a:effectLst/>
                <a:uLnTx/>
                <a:uFillTx/>
                <a:latin typeface="Arial" panose="020B0604020202020204"/>
                <a:ea typeface="+mn-ea"/>
                <a:cs typeface="+mn-cs"/>
              </a:rPr>
              <a:t>Drift</a:t>
            </a:r>
          </a:p>
        </p:txBody>
      </p:sp>
      <p:cxnSp>
        <p:nvCxnSpPr>
          <p:cNvPr id="25" name="Straight Connector 24">
            <a:extLst>
              <a:ext uri="{FF2B5EF4-FFF2-40B4-BE49-F238E27FC236}">
                <a16:creationId xmlns:a16="http://schemas.microsoft.com/office/drawing/2014/main" id="{41AE0A45-C190-4C69-2AFD-CCF95C0EC4A2}"/>
              </a:ext>
            </a:extLst>
          </p:cNvPr>
          <p:cNvCxnSpPr/>
          <p:nvPr/>
        </p:nvCxnSpPr>
        <p:spPr>
          <a:xfrm>
            <a:off x="10308936" y="759125"/>
            <a:ext cx="0" cy="214797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Content Placeholder 7">
            <a:extLst>
              <a:ext uri="{FF2B5EF4-FFF2-40B4-BE49-F238E27FC236}">
                <a16:creationId xmlns:a16="http://schemas.microsoft.com/office/drawing/2014/main" id="{A7B90139-2275-0A23-C164-FA59D6FEEB9D}"/>
              </a:ext>
            </a:extLst>
          </p:cNvPr>
          <p:cNvSpPr txBox="1">
            <a:spLocks/>
          </p:cNvSpPr>
          <p:nvPr/>
        </p:nvSpPr>
        <p:spPr>
          <a:xfrm>
            <a:off x="2425719" y="3020806"/>
            <a:ext cx="1838315" cy="2323998"/>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1" i="0" u="none" strike="noStrike" kern="1200" cap="none" spc="0" normalizeH="0" baseline="0" noProof="0">
                <a:ln>
                  <a:noFill/>
                </a:ln>
                <a:solidFill>
                  <a:prstClr val="black"/>
                </a:solidFill>
                <a:effectLst/>
                <a:uLnTx/>
                <a:uFillTx/>
                <a:latin typeface="Arial" panose="020B0604020202020204"/>
                <a:ea typeface="+mn-ea"/>
                <a:cs typeface="+mn-cs"/>
              </a:rPr>
              <a:t>Pilotfasen: </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Test af lokal implementering</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Videns- og erfaringsopsamling </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Løbende tilretning af div. koncepter</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 name="Content Placeholder 7">
            <a:extLst>
              <a:ext uri="{FF2B5EF4-FFF2-40B4-BE49-F238E27FC236}">
                <a16:creationId xmlns:a16="http://schemas.microsoft.com/office/drawing/2014/main" id="{E9D94AB7-3BC1-CA8A-D5C9-EFD478011FA9}"/>
              </a:ext>
            </a:extLst>
          </p:cNvPr>
          <p:cNvSpPr txBox="1">
            <a:spLocks/>
          </p:cNvSpPr>
          <p:nvPr/>
        </p:nvSpPr>
        <p:spPr>
          <a:xfrm>
            <a:off x="4498373" y="3020806"/>
            <a:ext cx="1739633" cy="2323998"/>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1" i="0" u="none" strike="noStrike" kern="1200" cap="none" spc="0" normalizeH="0" baseline="0" noProof="0">
                <a:ln>
                  <a:noFill/>
                </a:ln>
                <a:solidFill>
                  <a:prstClr val="black"/>
                </a:solidFill>
                <a:effectLst/>
                <a:uLnTx/>
                <a:uFillTx/>
                <a:latin typeface="Arial" panose="020B0604020202020204"/>
                <a:ea typeface="+mn-ea"/>
                <a:cs typeface="+mn-cs"/>
              </a:rPr>
              <a:t>Forberedelse: </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Lokalt </a:t>
            </a:r>
            <a:r>
              <a:rPr kumimoji="0" lang="da-DK" sz="1400" b="0" i="0" u="none" strike="noStrike" kern="1200" cap="none" spc="0" normalizeH="0" baseline="0" noProof="0" err="1">
                <a:ln>
                  <a:noFill/>
                </a:ln>
                <a:solidFill>
                  <a:prstClr val="black"/>
                </a:solidFill>
                <a:effectLst/>
                <a:uLnTx/>
                <a:uFillTx/>
                <a:latin typeface="Arial" panose="020B0604020202020204"/>
                <a:ea typeface="+mn-ea"/>
                <a:cs typeface="+mn-cs"/>
              </a:rPr>
              <a:t>gap</a:t>
            </a: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fit</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Lokale detailplaner</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Lokal klargøring af data og integrationer</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Tillægsaftale</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8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Projektteam mellem Leverandør og Uni etableres </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5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 name="Content Placeholder 7">
            <a:extLst>
              <a:ext uri="{FF2B5EF4-FFF2-40B4-BE49-F238E27FC236}">
                <a16:creationId xmlns:a16="http://schemas.microsoft.com/office/drawing/2014/main" id="{F816B9E4-9961-35B5-3372-201B950C516B}"/>
              </a:ext>
            </a:extLst>
          </p:cNvPr>
          <p:cNvSpPr txBox="1">
            <a:spLocks/>
          </p:cNvSpPr>
          <p:nvPr/>
        </p:nvSpPr>
        <p:spPr>
          <a:xfrm>
            <a:off x="6472345" y="3020806"/>
            <a:ext cx="1739633" cy="2323998"/>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1" i="0" u="none" strike="noStrike" kern="1200" cap="none" spc="0" normalizeH="0" baseline="0" noProof="0">
                <a:ln>
                  <a:noFill/>
                </a:ln>
                <a:solidFill>
                  <a:prstClr val="black"/>
                </a:solidFill>
                <a:effectLst/>
                <a:uLnTx/>
                <a:uFillTx/>
                <a:latin typeface="Arial" panose="020B0604020202020204"/>
                <a:ea typeface="+mn-ea"/>
                <a:cs typeface="+mn-cs"/>
              </a:rPr>
              <a:t>Implementering: </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Lokal opsætning</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Test</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Idriftsættelse</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err="1">
                <a:ln>
                  <a:noFill/>
                </a:ln>
                <a:solidFill>
                  <a:prstClr val="black"/>
                </a:solidFill>
                <a:effectLst/>
                <a:uLnTx/>
                <a:uFillTx/>
                <a:latin typeface="Arial" panose="020B0604020202020204"/>
                <a:ea typeface="+mn-ea"/>
                <a:cs typeface="+mn-cs"/>
              </a:rPr>
              <a:t>Hypercare</a:t>
            </a: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Løbende rapportering fra både Leverandør og Uni</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 </a:t>
            </a:r>
          </a:p>
        </p:txBody>
      </p:sp>
      <p:sp>
        <p:nvSpPr>
          <p:cNvPr id="29" name="Content Placeholder 7">
            <a:extLst>
              <a:ext uri="{FF2B5EF4-FFF2-40B4-BE49-F238E27FC236}">
                <a16:creationId xmlns:a16="http://schemas.microsoft.com/office/drawing/2014/main" id="{EEB14BE7-1A8C-434D-529D-99A74410116F}"/>
              </a:ext>
            </a:extLst>
          </p:cNvPr>
          <p:cNvSpPr txBox="1">
            <a:spLocks/>
          </p:cNvSpPr>
          <p:nvPr/>
        </p:nvSpPr>
        <p:spPr>
          <a:xfrm>
            <a:off x="8446317" y="3020806"/>
            <a:ext cx="1670487" cy="2323998"/>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1" i="0" u="none" strike="noStrike" kern="1200" cap="none" spc="0" normalizeH="0" baseline="0" noProof="0">
                <a:ln>
                  <a:noFill/>
                </a:ln>
                <a:solidFill>
                  <a:prstClr val="black"/>
                </a:solidFill>
                <a:effectLst/>
                <a:uLnTx/>
                <a:uFillTx/>
                <a:latin typeface="Arial" panose="020B0604020202020204"/>
                <a:ea typeface="+mn-ea"/>
                <a:cs typeface="+mn-cs"/>
              </a:rPr>
              <a:t>Drift i transition</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Løbende opbygning og udbygning</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Samarbejde med program vedr. ændringer og prioriteringer</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 name="Content Placeholder 7">
            <a:extLst>
              <a:ext uri="{FF2B5EF4-FFF2-40B4-BE49-F238E27FC236}">
                <a16:creationId xmlns:a16="http://schemas.microsoft.com/office/drawing/2014/main" id="{15E65A8D-C416-9E4C-9994-A80EC674802F}"/>
              </a:ext>
            </a:extLst>
          </p:cNvPr>
          <p:cNvSpPr txBox="1">
            <a:spLocks/>
          </p:cNvSpPr>
          <p:nvPr/>
        </p:nvSpPr>
        <p:spPr>
          <a:xfrm>
            <a:off x="10351145" y="3020806"/>
            <a:ext cx="1670487" cy="2323998"/>
          </a:xfrm>
          <a:prstGeom prst="rect">
            <a:avLst/>
          </a:prstGeom>
        </p:spPr>
        <p:txBody>
          <a:bodyPr vert="horz" lIns="0" tIns="0" rIns="0" bIns="0" rtlCol="0">
            <a:noAutofit/>
          </a:bodyPr>
          <a:lstStyle>
            <a:lvl1pPr marL="252000" indent="-252000" algn="l" defTabSz="914400" rtl="0" eaLnBrk="1" latinLnBrk="0" hangingPunct="1">
              <a:lnSpc>
                <a:spcPct val="110000"/>
              </a:lnSpc>
              <a:spcBef>
                <a:spcPts val="0"/>
              </a:spcBef>
              <a:buFont typeface="Wingdings" panose="05000000000000000000" pitchFamily="2" charset="2"/>
              <a:buChar char=""/>
              <a:defRPr sz="1600" kern="1200">
                <a:solidFill>
                  <a:schemeClr val="tx1"/>
                </a:solidFill>
                <a:latin typeface="+mn-lt"/>
                <a:ea typeface="+mn-ea"/>
                <a:cs typeface="+mn-cs"/>
              </a:defRPr>
            </a:lvl1pPr>
            <a:lvl2pPr marL="504000" indent="-252000" algn="l" defTabSz="914400" rtl="0" eaLnBrk="1" latinLnBrk="0" hangingPunct="1">
              <a:lnSpc>
                <a:spcPct val="110000"/>
              </a:lnSpc>
              <a:spcBef>
                <a:spcPts val="0"/>
              </a:spcBef>
              <a:buFont typeface="Wingdings" panose="05000000000000000000" pitchFamily="2" charset="2"/>
              <a:buChar char="à"/>
              <a:defRPr sz="1400" kern="1200">
                <a:solidFill>
                  <a:schemeClr val="tx1"/>
                </a:solidFill>
                <a:latin typeface="+mn-lt"/>
                <a:ea typeface="+mn-ea"/>
                <a:cs typeface="+mn-cs"/>
              </a:defRPr>
            </a:lvl2pPr>
            <a:lvl3pPr marL="756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1200"/>
              </a:spcAft>
              <a:buFont typeface="Arial" panose="020B0604020202020204" pitchFamily="34" charset="0"/>
              <a:buChar char="​"/>
              <a:defRPr sz="1600" b="1" kern="1200">
                <a:solidFill>
                  <a:schemeClr val="tx1"/>
                </a:solidFill>
                <a:latin typeface="+mn-lt"/>
                <a:ea typeface="+mn-ea"/>
                <a:cs typeface="+mn-cs"/>
              </a:defRPr>
            </a:lvl4pPr>
            <a:lvl5pPr marL="0" indent="0" algn="l" defTabSz="914400" rtl="0" eaLnBrk="1" latinLnBrk="0" hangingPunct="1">
              <a:lnSpc>
                <a:spcPct val="110000"/>
              </a:lnSpc>
              <a:spcBef>
                <a:spcPts val="0"/>
              </a:spcBef>
              <a:buFont typeface="Arial" panose="020B0604020202020204" pitchFamily="34" charset="0"/>
              <a:buChar char="​"/>
              <a:defRPr sz="1600" kern="1200" baseline="0">
                <a:solidFill>
                  <a:schemeClr val="tx1"/>
                </a:solidFill>
                <a:latin typeface="+mn-lt"/>
                <a:ea typeface="+mn-ea"/>
                <a:cs typeface="+mn-cs"/>
              </a:defRPr>
            </a:lvl5pPr>
            <a:lvl6pPr marL="252000" indent="-252000" algn="l" defTabSz="914400" rtl="0" eaLnBrk="1" latinLnBrk="0" hangingPunct="1">
              <a:lnSpc>
                <a:spcPct val="110000"/>
              </a:lnSpc>
              <a:spcBef>
                <a:spcPts val="0"/>
              </a:spcBef>
              <a:buFont typeface="Wingdings" panose="05000000000000000000" pitchFamily="2" charset="2"/>
              <a:buChar char="à"/>
              <a:defRPr sz="1200" kern="1200" baseline="0">
                <a:solidFill>
                  <a:schemeClr val="tx1"/>
                </a:solidFill>
                <a:latin typeface="+mn-lt"/>
                <a:ea typeface="+mn-ea"/>
                <a:cs typeface="+mn-cs"/>
              </a:defRPr>
            </a:lvl6pPr>
            <a:lvl7pPr marL="504000" indent="-252000" algn="l" defTabSz="914400" rtl="0" eaLnBrk="1" latinLnBrk="0" hangingPunct="1">
              <a:lnSpc>
                <a:spcPct val="110000"/>
              </a:lnSpc>
              <a:spcBef>
                <a:spcPts val="0"/>
              </a:spcBef>
              <a:buFont typeface="Wingdings" panose="05000000000000000000" pitchFamily="2" charset="2"/>
              <a:buChar char="à"/>
              <a:defRPr sz="1200" kern="1200">
                <a:solidFill>
                  <a:schemeClr val="tx1"/>
                </a:solidFill>
                <a:latin typeface="+mn-lt"/>
                <a:ea typeface="+mn-ea"/>
                <a:cs typeface="+mn-cs"/>
              </a:defRPr>
            </a:lvl7pPr>
            <a:lvl8pPr marL="0" indent="0" algn="l" defTabSz="914400" rtl="0" eaLnBrk="1" latinLnBrk="0" hangingPunct="1">
              <a:lnSpc>
                <a:spcPct val="110000"/>
              </a:lnSpc>
              <a:spcBef>
                <a:spcPts val="0"/>
              </a:spcBef>
              <a:spcAft>
                <a:spcPts val="1200"/>
              </a:spcAft>
              <a:buFont typeface="Arial" panose="020B0604020202020204" pitchFamily="34" charset="0"/>
              <a:buChar char="​"/>
              <a:defRPr sz="1200" b="1"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9pPr>
          </a:lstStyle>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1" i="0" u="none" strike="noStrike" kern="1200" cap="none" spc="0" normalizeH="0" baseline="0" noProof="0">
                <a:ln>
                  <a:noFill/>
                </a:ln>
                <a:solidFill>
                  <a:prstClr val="black"/>
                </a:solidFill>
                <a:effectLst/>
                <a:uLnTx/>
                <a:uFillTx/>
                <a:latin typeface="Arial" panose="020B0604020202020204"/>
                <a:ea typeface="+mn-ea"/>
                <a:cs typeface="+mn-cs"/>
              </a:rPr>
              <a:t>Fuld drift</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Alle strategier, planer, skabeloner etc. til implementering er udarbejdet og overleveret </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Drift teknisk</a:t>
            </a:r>
          </a:p>
          <a:p>
            <a:pPr marL="0" marR="0" lvl="0" indent="0" algn="l" defTabSz="914400" rtl="0" eaLnBrk="1" fontAlgn="auto" latinLnBrk="0" hangingPunct="1">
              <a:lnSpc>
                <a:spcPct val="110000"/>
              </a:lnSpc>
              <a:spcBef>
                <a:spcPts val="0"/>
              </a:spcBef>
              <a:spcAft>
                <a:spcPts val="0"/>
              </a:spcAft>
              <a:buClrTx/>
              <a:buSzTx/>
              <a:buFont typeface="Wingdings" panose="05000000000000000000" pitchFamily="2" charset="2"/>
              <a:buNone/>
              <a:tabLst/>
              <a:defRPr/>
            </a:pPr>
            <a:r>
              <a:rPr kumimoji="0" lang="da-DK" sz="1400" b="0" i="0" u="none" strike="noStrike" kern="1200" cap="none" spc="0" normalizeH="0" baseline="0" noProof="0">
                <a:ln>
                  <a:noFill/>
                </a:ln>
                <a:solidFill>
                  <a:prstClr val="black"/>
                </a:solidFill>
                <a:effectLst/>
                <a:uLnTx/>
                <a:uFillTx/>
                <a:latin typeface="Arial" panose="020B0604020202020204"/>
                <a:ea typeface="+mn-ea"/>
                <a:cs typeface="+mn-cs"/>
              </a:rPr>
              <a:t>Drift af </a:t>
            </a:r>
            <a:r>
              <a:rPr kumimoji="0" lang="da-DK" sz="1400" b="0" i="0" u="none" strike="noStrike" kern="1200" cap="none" spc="0" normalizeH="0" baseline="0" noProof="0" err="1">
                <a:ln>
                  <a:noFill/>
                </a:ln>
                <a:solidFill>
                  <a:prstClr val="black"/>
                </a:solidFill>
                <a:effectLst/>
                <a:uLnTx/>
                <a:uFillTx/>
                <a:latin typeface="Arial" panose="020B0604020202020204"/>
                <a:ea typeface="+mn-ea"/>
                <a:cs typeface="+mn-cs"/>
              </a:rPr>
              <a:t>samarbejds-organisationen</a:t>
            </a:r>
            <a:endParaRPr kumimoji="0" lang="da-DK"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pic>
        <p:nvPicPr>
          <p:cNvPr id="7" name="Billede 6">
            <a:extLst>
              <a:ext uri="{FF2B5EF4-FFF2-40B4-BE49-F238E27FC236}">
                <a16:creationId xmlns:a16="http://schemas.microsoft.com/office/drawing/2014/main" id="{8A179466-2785-20D6-3915-E8794A527741}"/>
              </a:ext>
            </a:extLst>
          </p:cNvPr>
          <p:cNvPicPr>
            <a:picLocks noChangeAspect="1"/>
          </p:cNvPicPr>
          <p:nvPr/>
        </p:nvPicPr>
        <p:blipFill>
          <a:blip r:embed="rId2"/>
          <a:stretch>
            <a:fillRect/>
          </a:stretch>
        </p:blipFill>
        <p:spPr>
          <a:xfrm>
            <a:off x="10760133" y="6245494"/>
            <a:ext cx="1190625" cy="609600"/>
          </a:xfrm>
          <a:prstGeom prst="rect">
            <a:avLst/>
          </a:prstGeom>
        </p:spPr>
      </p:pic>
    </p:spTree>
    <p:extLst>
      <p:ext uri="{BB962C8B-B14F-4D97-AF65-F5344CB8AC3E}">
        <p14:creationId xmlns:p14="http://schemas.microsoft.com/office/powerpoint/2010/main" val="16159769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9F9AD-5B74-D0BB-0DE2-1E603CC87216}"/>
              </a:ext>
            </a:extLst>
          </p:cNvPr>
          <p:cNvSpPr>
            <a:spLocks noGrp="1"/>
          </p:cNvSpPr>
          <p:nvPr>
            <p:ph type="title"/>
          </p:nvPr>
        </p:nvSpPr>
        <p:spPr>
          <a:xfrm>
            <a:off x="521611" y="592622"/>
            <a:ext cx="2963736" cy="2547058"/>
          </a:xfrm>
        </p:spPr>
        <p:txBody>
          <a:bodyPr/>
          <a:lstStyle/>
          <a:p>
            <a:r>
              <a:rPr lang="da-DK" dirty="0"/>
              <a:t>SDU IT og -Digital ressourcer</a:t>
            </a:r>
          </a:p>
        </p:txBody>
      </p:sp>
      <p:sp>
        <p:nvSpPr>
          <p:cNvPr id="4" name="Date Placeholder 3">
            <a:extLst>
              <a:ext uri="{FF2B5EF4-FFF2-40B4-BE49-F238E27FC236}">
                <a16:creationId xmlns:a16="http://schemas.microsoft.com/office/drawing/2014/main" id="{C1736FD2-B639-75D1-7FE1-2209DA1BE578}"/>
              </a:ext>
            </a:extLst>
          </p:cNvPr>
          <p:cNvSpPr>
            <a:spLocks noGrp="1"/>
          </p:cNvSpPr>
          <p:nvPr>
            <p:ph type="dt" sz="half" idx="20"/>
          </p:nvPr>
        </p:nvSpPr>
        <p:spPr/>
        <p:txBody>
          <a:bodyPr/>
          <a:lstStyle/>
          <a:p>
            <a:fld id="{AC0D5A4D-24AC-4CD9-A3AB-4CE6D9EC501E}" type="datetime1">
              <a:rPr lang="da-DK" smtClean="0"/>
              <a:t>09-05-2025</a:t>
            </a:fld>
            <a:endParaRPr lang="da-DK"/>
          </a:p>
        </p:txBody>
      </p:sp>
      <p:sp>
        <p:nvSpPr>
          <p:cNvPr id="5" name="Slide Number Placeholder 4">
            <a:extLst>
              <a:ext uri="{FF2B5EF4-FFF2-40B4-BE49-F238E27FC236}">
                <a16:creationId xmlns:a16="http://schemas.microsoft.com/office/drawing/2014/main" id="{4261BB9B-B596-E277-2F8D-A5C634D47779}"/>
              </a:ext>
            </a:extLst>
          </p:cNvPr>
          <p:cNvSpPr>
            <a:spLocks noGrp="1"/>
          </p:cNvSpPr>
          <p:nvPr>
            <p:ph type="sldNum" sz="quarter" idx="22"/>
          </p:nvPr>
        </p:nvSpPr>
        <p:spPr/>
        <p:txBody>
          <a:bodyPr/>
          <a:lstStyle/>
          <a:p>
            <a:fld id="{45D37B1E-C366-494F-A587-962AD9AABC83}" type="slidenum">
              <a:rPr lang="da-DK" smtClean="0"/>
              <a:pPr/>
              <a:t>16</a:t>
            </a:fld>
            <a:endParaRPr lang="da-DK"/>
          </a:p>
        </p:txBody>
      </p:sp>
      <p:graphicFrame>
        <p:nvGraphicFramePr>
          <p:cNvPr id="9" name="Chart 8">
            <a:extLst>
              <a:ext uri="{FF2B5EF4-FFF2-40B4-BE49-F238E27FC236}">
                <a16:creationId xmlns:a16="http://schemas.microsoft.com/office/drawing/2014/main" id="{C1FDB3F9-5A32-5119-E3C9-205C8E72028F}"/>
              </a:ext>
            </a:extLst>
          </p:cNvPr>
          <p:cNvGraphicFramePr>
            <a:graphicFrameLocks/>
          </p:cNvGraphicFramePr>
          <p:nvPr/>
        </p:nvGraphicFramePr>
        <p:xfrm>
          <a:off x="3809999" y="223520"/>
          <a:ext cx="7971599" cy="457708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a:extLst>
              <a:ext uri="{FF2B5EF4-FFF2-40B4-BE49-F238E27FC236}">
                <a16:creationId xmlns:a16="http://schemas.microsoft.com/office/drawing/2014/main" id="{70952582-F91F-2F13-852C-37877C869A1D}"/>
              </a:ext>
            </a:extLst>
          </p:cNvPr>
          <p:cNvSpPr txBox="1"/>
          <p:nvPr/>
        </p:nvSpPr>
        <p:spPr>
          <a:xfrm rot="20502774">
            <a:off x="1268649" y="3385538"/>
            <a:ext cx="3749081" cy="276999"/>
          </a:xfrm>
          <a:prstGeom prst="rect">
            <a:avLst/>
          </a:prstGeom>
          <a:noFill/>
        </p:spPr>
        <p:txBody>
          <a:bodyPr wrap="square" lIns="0" tIns="0" rIns="0" bIns="0" rtlCol="0">
            <a:spAutoFit/>
          </a:bodyPr>
          <a:lstStyle/>
          <a:p>
            <a:r>
              <a:rPr lang="da-DK" dirty="0">
                <a:solidFill>
                  <a:srgbClr val="FF0000"/>
                </a:solidFill>
              </a:rPr>
              <a:t>E</a:t>
            </a:r>
            <a:r>
              <a:rPr lang="da-DK" sz="1600" dirty="0">
                <a:solidFill>
                  <a:srgbClr val="FF0000"/>
                </a:solidFill>
              </a:rPr>
              <a:t>ksempel – ikke opdateret</a:t>
            </a:r>
          </a:p>
        </p:txBody>
      </p:sp>
    </p:spTree>
    <p:extLst>
      <p:ext uri="{BB962C8B-B14F-4D97-AF65-F5344CB8AC3E}">
        <p14:creationId xmlns:p14="http://schemas.microsoft.com/office/powerpoint/2010/main" val="294417590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9A1B71-DEA2-A7F1-EE7F-6C7BDD982CDD}"/>
              </a:ext>
            </a:extLst>
          </p:cNvPr>
          <p:cNvSpPr>
            <a:spLocks noGrp="1"/>
          </p:cNvSpPr>
          <p:nvPr>
            <p:ph type="title"/>
          </p:nvPr>
        </p:nvSpPr>
        <p:spPr/>
        <p:txBody>
          <a:bodyPr/>
          <a:lstStyle/>
          <a:p>
            <a:endParaRPr lang="da-DK"/>
          </a:p>
        </p:txBody>
      </p:sp>
      <p:sp>
        <p:nvSpPr>
          <p:cNvPr id="3" name="Content Placeholder 2">
            <a:extLst>
              <a:ext uri="{FF2B5EF4-FFF2-40B4-BE49-F238E27FC236}">
                <a16:creationId xmlns:a16="http://schemas.microsoft.com/office/drawing/2014/main" id="{A0C3BDBB-CE10-C6EC-CB1E-081EEF6DA2CB}"/>
              </a:ext>
            </a:extLst>
          </p:cNvPr>
          <p:cNvSpPr>
            <a:spLocks noGrp="1"/>
          </p:cNvSpPr>
          <p:nvPr>
            <p:ph sz="quarter" idx="19"/>
          </p:nvPr>
        </p:nvSpPr>
        <p:spPr/>
        <p:txBody>
          <a:bodyPr/>
          <a:lstStyle/>
          <a:p>
            <a:endParaRPr lang="da-DK"/>
          </a:p>
        </p:txBody>
      </p:sp>
      <p:sp>
        <p:nvSpPr>
          <p:cNvPr id="4" name="Date Placeholder 3">
            <a:extLst>
              <a:ext uri="{FF2B5EF4-FFF2-40B4-BE49-F238E27FC236}">
                <a16:creationId xmlns:a16="http://schemas.microsoft.com/office/drawing/2014/main" id="{2D484666-D627-5EB8-659C-D33605B6AF34}"/>
              </a:ext>
            </a:extLst>
          </p:cNvPr>
          <p:cNvSpPr>
            <a:spLocks noGrp="1"/>
          </p:cNvSpPr>
          <p:nvPr>
            <p:ph type="dt" sz="half" idx="20"/>
          </p:nvPr>
        </p:nvSpPr>
        <p:spPr/>
        <p:txBody>
          <a:bodyPr/>
          <a:lstStyle/>
          <a:p>
            <a:fld id="{02AE7CFC-D4E4-4BDA-8661-6EEC8555FC8A}" type="datetime1">
              <a:rPr lang="da-DK" smtClean="0"/>
              <a:t>08-05-2025</a:t>
            </a:fld>
            <a:endParaRPr lang="da-DK"/>
          </a:p>
        </p:txBody>
      </p:sp>
      <p:sp>
        <p:nvSpPr>
          <p:cNvPr id="5" name="Footer Placeholder 4">
            <a:extLst>
              <a:ext uri="{FF2B5EF4-FFF2-40B4-BE49-F238E27FC236}">
                <a16:creationId xmlns:a16="http://schemas.microsoft.com/office/drawing/2014/main" id="{1AD36637-DFED-FE22-18F5-92C3F39594AE}"/>
              </a:ext>
            </a:extLst>
          </p:cNvPr>
          <p:cNvSpPr>
            <a:spLocks noGrp="1"/>
          </p:cNvSpPr>
          <p:nvPr>
            <p:ph type="ftr" sz="quarter" idx="21"/>
          </p:nvPr>
        </p:nvSpPr>
        <p:spPr/>
        <p:txBody>
          <a:bodyPr/>
          <a:lstStyle/>
          <a:p>
            <a:endParaRPr lang="da-DK"/>
          </a:p>
        </p:txBody>
      </p:sp>
      <p:sp>
        <p:nvSpPr>
          <p:cNvPr id="6" name="Slide Number Placeholder 5">
            <a:extLst>
              <a:ext uri="{FF2B5EF4-FFF2-40B4-BE49-F238E27FC236}">
                <a16:creationId xmlns:a16="http://schemas.microsoft.com/office/drawing/2014/main" id="{8BFB68A3-847F-5EF7-3254-55526826B745}"/>
              </a:ext>
            </a:extLst>
          </p:cNvPr>
          <p:cNvSpPr>
            <a:spLocks noGrp="1"/>
          </p:cNvSpPr>
          <p:nvPr>
            <p:ph type="sldNum" sz="quarter" idx="22"/>
          </p:nvPr>
        </p:nvSpPr>
        <p:spPr/>
        <p:txBody>
          <a:bodyPr/>
          <a:lstStyle/>
          <a:p>
            <a:fld id="{45D37B1E-C366-494F-A587-962AD9AABC83}" type="slidenum">
              <a:rPr lang="da-DK" smtClean="0"/>
              <a:pPr/>
              <a:t>17</a:t>
            </a:fld>
            <a:endParaRPr lang="da-DK"/>
          </a:p>
        </p:txBody>
      </p:sp>
      <p:pic>
        <p:nvPicPr>
          <p:cNvPr id="8" name="Picture 7">
            <a:extLst>
              <a:ext uri="{FF2B5EF4-FFF2-40B4-BE49-F238E27FC236}">
                <a16:creationId xmlns:a16="http://schemas.microsoft.com/office/drawing/2014/main" id="{308DDBE7-4A34-FD2F-FA14-569A8E40A294}"/>
              </a:ext>
            </a:extLst>
          </p:cNvPr>
          <p:cNvPicPr>
            <a:picLocks noChangeAspect="1"/>
          </p:cNvPicPr>
          <p:nvPr/>
        </p:nvPicPr>
        <p:blipFill>
          <a:blip r:embed="rId2"/>
          <a:stretch>
            <a:fillRect/>
          </a:stretch>
        </p:blipFill>
        <p:spPr>
          <a:xfrm>
            <a:off x="0" y="325012"/>
            <a:ext cx="12192000" cy="6207976"/>
          </a:xfrm>
          <a:prstGeom prst="rect">
            <a:avLst/>
          </a:prstGeom>
        </p:spPr>
      </p:pic>
    </p:spTree>
    <p:extLst>
      <p:ext uri="{BB962C8B-B14F-4D97-AF65-F5344CB8AC3E}">
        <p14:creationId xmlns:p14="http://schemas.microsoft.com/office/powerpoint/2010/main" val="30921098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54755A-3183-7FB2-1494-1FCB5960EB09}"/>
              </a:ext>
            </a:extLst>
          </p:cNvPr>
          <p:cNvSpPr>
            <a:spLocks noGrp="1"/>
          </p:cNvSpPr>
          <p:nvPr>
            <p:ph type="title"/>
          </p:nvPr>
        </p:nvSpPr>
        <p:spPr/>
        <p:txBody>
          <a:bodyPr/>
          <a:lstStyle/>
          <a:p>
            <a:endParaRPr lang="da-DK"/>
          </a:p>
        </p:txBody>
      </p:sp>
      <p:sp>
        <p:nvSpPr>
          <p:cNvPr id="3" name="Content Placeholder 2">
            <a:extLst>
              <a:ext uri="{FF2B5EF4-FFF2-40B4-BE49-F238E27FC236}">
                <a16:creationId xmlns:a16="http://schemas.microsoft.com/office/drawing/2014/main" id="{E15E4893-B6BD-A589-B9B5-697F9171FA0C}"/>
              </a:ext>
            </a:extLst>
          </p:cNvPr>
          <p:cNvSpPr>
            <a:spLocks noGrp="1"/>
          </p:cNvSpPr>
          <p:nvPr>
            <p:ph sz="quarter" idx="19"/>
          </p:nvPr>
        </p:nvSpPr>
        <p:spPr/>
        <p:txBody>
          <a:bodyPr/>
          <a:lstStyle/>
          <a:p>
            <a:endParaRPr lang="da-DK"/>
          </a:p>
        </p:txBody>
      </p:sp>
      <p:sp>
        <p:nvSpPr>
          <p:cNvPr id="4" name="Date Placeholder 3">
            <a:extLst>
              <a:ext uri="{FF2B5EF4-FFF2-40B4-BE49-F238E27FC236}">
                <a16:creationId xmlns:a16="http://schemas.microsoft.com/office/drawing/2014/main" id="{6FB87DE7-557D-EDF4-D42C-FF565D942C7A}"/>
              </a:ext>
            </a:extLst>
          </p:cNvPr>
          <p:cNvSpPr>
            <a:spLocks noGrp="1"/>
          </p:cNvSpPr>
          <p:nvPr>
            <p:ph type="dt" sz="half" idx="20"/>
          </p:nvPr>
        </p:nvSpPr>
        <p:spPr/>
        <p:txBody>
          <a:bodyPr/>
          <a:lstStyle/>
          <a:p>
            <a:fld id="{F46754CE-EB4A-4830-8DC6-D38A7871B1CB}" type="datetime1">
              <a:rPr lang="da-DK" smtClean="0"/>
              <a:t>08-05-2025</a:t>
            </a:fld>
            <a:endParaRPr lang="da-DK"/>
          </a:p>
        </p:txBody>
      </p:sp>
      <p:sp>
        <p:nvSpPr>
          <p:cNvPr id="5" name="Footer Placeholder 4">
            <a:extLst>
              <a:ext uri="{FF2B5EF4-FFF2-40B4-BE49-F238E27FC236}">
                <a16:creationId xmlns:a16="http://schemas.microsoft.com/office/drawing/2014/main" id="{D7937F83-E856-E16D-2190-3715AEBE3636}"/>
              </a:ext>
            </a:extLst>
          </p:cNvPr>
          <p:cNvSpPr>
            <a:spLocks noGrp="1"/>
          </p:cNvSpPr>
          <p:nvPr>
            <p:ph type="ftr" sz="quarter" idx="21"/>
          </p:nvPr>
        </p:nvSpPr>
        <p:spPr/>
        <p:txBody>
          <a:bodyPr/>
          <a:lstStyle/>
          <a:p>
            <a:endParaRPr lang="da-DK"/>
          </a:p>
        </p:txBody>
      </p:sp>
      <p:sp>
        <p:nvSpPr>
          <p:cNvPr id="6" name="Slide Number Placeholder 5">
            <a:extLst>
              <a:ext uri="{FF2B5EF4-FFF2-40B4-BE49-F238E27FC236}">
                <a16:creationId xmlns:a16="http://schemas.microsoft.com/office/drawing/2014/main" id="{FF72F14F-7B2F-9889-F2B8-D0C0D3E62DE3}"/>
              </a:ext>
            </a:extLst>
          </p:cNvPr>
          <p:cNvSpPr>
            <a:spLocks noGrp="1"/>
          </p:cNvSpPr>
          <p:nvPr>
            <p:ph type="sldNum" sz="quarter" idx="22"/>
          </p:nvPr>
        </p:nvSpPr>
        <p:spPr/>
        <p:txBody>
          <a:bodyPr/>
          <a:lstStyle/>
          <a:p>
            <a:fld id="{45D37B1E-C366-494F-A587-962AD9AABC83}" type="slidenum">
              <a:rPr lang="da-DK" smtClean="0"/>
              <a:pPr/>
              <a:t>18</a:t>
            </a:fld>
            <a:endParaRPr lang="da-DK"/>
          </a:p>
        </p:txBody>
      </p:sp>
      <p:pic>
        <p:nvPicPr>
          <p:cNvPr id="8" name="Picture 7">
            <a:extLst>
              <a:ext uri="{FF2B5EF4-FFF2-40B4-BE49-F238E27FC236}">
                <a16:creationId xmlns:a16="http://schemas.microsoft.com/office/drawing/2014/main" id="{4B8936FE-5C80-982D-E256-CE00E1191946}"/>
              </a:ext>
            </a:extLst>
          </p:cNvPr>
          <p:cNvPicPr>
            <a:picLocks noChangeAspect="1"/>
          </p:cNvPicPr>
          <p:nvPr/>
        </p:nvPicPr>
        <p:blipFill>
          <a:blip r:embed="rId2"/>
          <a:stretch>
            <a:fillRect/>
          </a:stretch>
        </p:blipFill>
        <p:spPr>
          <a:xfrm>
            <a:off x="318281" y="209100"/>
            <a:ext cx="11555438" cy="6439799"/>
          </a:xfrm>
          <a:prstGeom prst="rect">
            <a:avLst/>
          </a:prstGeom>
        </p:spPr>
      </p:pic>
    </p:spTree>
    <p:extLst>
      <p:ext uri="{BB962C8B-B14F-4D97-AF65-F5344CB8AC3E}">
        <p14:creationId xmlns:p14="http://schemas.microsoft.com/office/powerpoint/2010/main" val="211392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D9E441-9091-90F4-BA47-9012EA5047C6}"/>
              </a:ext>
            </a:extLst>
          </p:cNvPr>
          <p:cNvSpPr>
            <a:spLocks noGrp="1"/>
          </p:cNvSpPr>
          <p:nvPr>
            <p:ph type="title"/>
          </p:nvPr>
        </p:nvSpPr>
        <p:spPr/>
        <p:txBody>
          <a:bodyPr/>
          <a:lstStyle/>
          <a:p>
            <a:endParaRPr lang="da-DK"/>
          </a:p>
        </p:txBody>
      </p:sp>
      <p:sp>
        <p:nvSpPr>
          <p:cNvPr id="3" name="Content Placeholder 2">
            <a:extLst>
              <a:ext uri="{FF2B5EF4-FFF2-40B4-BE49-F238E27FC236}">
                <a16:creationId xmlns:a16="http://schemas.microsoft.com/office/drawing/2014/main" id="{2419D284-2CA8-9210-2CDC-1C664F72F4B8}"/>
              </a:ext>
            </a:extLst>
          </p:cNvPr>
          <p:cNvSpPr>
            <a:spLocks noGrp="1"/>
          </p:cNvSpPr>
          <p:nvPr>
            <p:ph sz="quarter" idx="19"/>
          </p:nvPr>
        </p:nvSpPr>
        <p:spPr/>
        <p:txBody>
          <a:bodyPr/>
          <a:lstStyle/>
          <a:p>
            <a:endParaRPr lang="da-DK"/>
          </a:p>
        </p:txBody>
      </p:sp>
      <p:sp>
        <p:nvSpPr>
          <p:cNvPr id="4" name="Date Placeholder 3">
            <a:extLst>
              <a:ext uri="{FF2B5EF4-FFF2-40B4-BE49-F238E27FC236}">
                <a16:creationId xmlns:a16="http://schemas.microsoft.com/office/drawing/2014/main" id="{15967616-B3E4-6DA1-3AB0-44F14ED7EA3D}"/>
              </a:ext>
            </a:extLst>
          </p:cNvPr>
          <p:cNvSpPr>
            <a:spLocks noGrp="1"/>
          </p:cNvSpPr>
          <p:nvPr>
            <p:ph type="dt" sz="half" idx="20"/>
          </p:nvPr>
        </p:nvSpPr>
        <p:spPr/>
        <p:txBody>
          <a:bodyPr/>
          <a:lstStyle/>
          <a:p>
            <a:fld id="{5D423B59-4046-433D-925A-036BC54D73BF}" type="datetime1">
              <a:rPr lang="da-DK" smtClean="0"/>
              <a:t>09-05-2025</a:t>
            </a:fld>
            <a:endParaRPr lang="da-DK"/>
          </a:p>
        </p:txBody>
      </p:sp>
      <p:sp>
        <p:nvSpPr>
          <p:cNvPr id="5" name="Footer Placeholder 4">
            <a:extLst>
              <a:ext uri="{FF2B5EF4-FFF2-40B4-BE49-F238E27FC236}">
                <a16:creationId xmlns:a16="http://schemas.microsoft.com/office/drawing/2014/main" id="{D938804B-8CAD-139E-D0C1-1E395B2FD530}"/>
              </a:ext>
            </a:extLst>
          </p:cNvPr>
          <p:cNvSpPr>
            <a:spLocks noGrp="1"/>
          </p:cNvSpPr>
          <p:nvPr>
            <p:ph type="ftr" sz="quarter" idx="21"/>
          </p:nvPr>
        </p:nvSpPr>
        <p:spPr/>
        <p:txBody>
          <a:bodyPr/>
          <a:lstStyle/>
          <a:p>
            <a:endParaRPr lang="da-DK"/>
          </a:p>
        </p:txBody>
      </p:sp>
      <p:sp>
        <p:nvSpPr>
          <p:cNvPr id="6" name="Slide Number Placeholder 5">
            <a:extLst>
              <a:ext uri="{FF2B5EF4-FFF2-40B4-BE49-F238E27FC236}">
                <a16:creationId xmlns:a16="http://schemas.microsoft.com/office/drawing/2014/main" id="{EBE9EB9D-6987-4DA9-C0D3-F2167E4BDEA7}"/>
              </a:ext>
            </a:extLst>
          </p:cNvPr>
          <p:cNvSpPr>
            <a:spLocks noGrp="1"/>
          </p:cNvSpPr>
          <p:nvPr>
            <p:ph type="sldNum" sz="quarter" idx="22"/>
          </p:nvPr>
        </p:nvSpPr>
        <p:spPr/>
        <p:txBody>
          <a:bodyPr/>
          <a:lstStyle/>
          <a:p>
            <a:fld id="{45D37B1E-C366-494F-A587-962AD9AABC83}" type="slidenum">
              <a:rPr lang="da-DK" smtClean="0"/>
              <a:pPr/>
              <a:t>19</a:t>
            </a:fld>
            <a:endParaRPr lang="da-DK"/>
          </a:p>
        </p:txBody>
      </p:sp>
      <p:pic>
        <p:nvPicPr>
          <p:cNvPr id="8" name="Picture 7">
            <a:extLst>
              <a:ext uri="{FF2B5EF4-FFF2-40B4-BE49-F238E27FC236}">
                <a16:creationId xmlns:a16="http://schemas.microsoft.com/office/drawing/2014/main" id="{DC8F977F-0FB8-8E65-8CB4-8123D3BFA771}"/>
              </a:ext>
            </a:extLst>
          </p:cNvPr>
          <p:cNvPicPr>
            <a:picLocks noChangeAspect="1"/>
          </p:cNvPicPr>
          <p:nvPr/>
        </p:nvPicPr>
        <p:blipFill>
          <a:blip r:embed="rId2"/>
          <a:stretch>
            <a:fillRect/>
          </a:stretch>
        </p:blipFill>
        <p:spPr>
          <a:xfrm>
            <a:off x="213491" y="109074"/>
            <a:ext cx="11765017" cy="6639852"/>
          </a:xfrm>
          <a:prstGeom prst="rect">
            <a:avLst/>
          </a:prstGeom>
        </p:spPr>
      </p:pic>
    </p:spTree>
    <p:extLst>
      <p:ext uri="{BB962C8B-B14F-4D97-AF65-F5344CB8AC3E}">
        <p14:creationId xmlns:p14="http://schemas.microsoft.com/office/powerpoint/2010/main" val="20472395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C2F8CE-A7BD-C97B-4BBE-2D1EB8810E78}"/>
              </a:ext>
            </a:extLst>
          </p:cNvPr>
          <p:cNvSpPr>
            <a:spLocks noGrp="1"/>
          </p:cNvSpPr>
          <p:nvPr>
            <p:ph type="title"/>
          </p:nvPr>
        </p:nvSpPr>
        <p:spPr/>
        <p:txBody>
          <a:bodyPr/>
          <a:lstStyle/>
          <a:p>
            <a:r>
              <a:rPr lang="da-DK" dirty="0"/>
              <a:t>Den næste times tid</a:t>
            </a:r>
          </a:p>
        </p:txBody>
      </p:sp>
      <p:sp>
        <p:nvSpPr>
          <p:cNvPr id="3" name="Content Placeholder 2">
            <a:extLst>
              <a:ext uri="{FF2B5EF4-FFF2-40B4-BE49-F238E27FC236}">
                <a16:creationId xmlns:a16="http://schemas.microsoft.com/office/drawing/2014/main" id="{6F603227-2244-8ED4-86D9-253C9E8B0ABA}"/>
              </a:ext>
            </a:extLst>
          </p:cNvPr>
          <p:cNvSpPr>
            <a:spLocks noGrp="1"/>
          </p:cNvSpPr>
          <p:nvPr>
            <p:ph sz="quarter" idx="19"/>
          </p:nvPr>
        </p:nvSpPr>
        <p:spPr>
          <a:xfrm>
            <a:off x="6205054" y="853626"/>
            <a:ext cx="5366267" cy="4825354"/>
          </a:xfrm>
        </p:spPr>
        <p:txBody>
          <a:bodyPr/>
          <a:lstStyle/>
          <a:p>
            <a:pPr marL="0" indent="0">
              <a:buNone/>
            </a:pPr>
            <a:r>
              <a:rPr lang="da-DK" sz="2400" b="1" dirty="0">
                <a:latin typeface="+mj-lt"/>
                <a:ea typeface="Candara" panose="020E0502030303020204" pitchFamily="34" charset="0"/>
                <a:cs typeface="Times New Roman" panose="02020603050405020304" pitchFamily="18" charset="0"/>
              </a:rPr>
              <a:t>Intro</a:t>
            </a:r>
          </a:p>
          <a:p>
            <a:pPr marL="0" indent="0">
              <a:buNone/>
            </a:pPr>
            <a:endParaRPr lang="da-DK" sz="2400" b="1" dirty="0">
              <a:latin typeface="+mj-lt"/>
              <a:ea typeface="Candara" panose="020E0502030303020204" pitchFamily="34" charset="0"/>
              <a:cs typeface="Times New Roman" panose="02020603050405020304" pitchFamily="18" charset="0"/>
            </a:endParaRPr>
          </a:p>
          <a:p>
            <a:pPr lvl="1"/>
            <a:r>
              <a:rPr lang="da-DK" sz="2400" dirty="0">
                <a:latin typeface="+mj-lt"/>
                <a:cs typeface="Times New Roman" panose="02020603050405020304" pitchFamily="18" charset="0"/>
              </a:rPr>
              <a:t> Hvad er et program </a:t>
            </a:r>
          </a:p>
          <a:p>
            <a:pPr lvl="1"/>
            <a:endParaRPr lang="da-DK" sz="2400" dirty="0">
              <a:latin typeface="+mj-lt"/>
              <a:cs typeface="Times New Roman" panose="02020603050405020304" pitchFamily="18" charset="0"/>
            </a:endParaRPr>
          </a:p>
          <a:p>
            <a:pPr lvl="1"/>
            <a:r>
              <a:rPr lang="da-DK" sz="2400" dirty="0">
                <a:latin typeface="+mj-lt"/>
                <a:cs typeface="Times New Roman" panose="02020603050405020304" pitchFamily="18" charset="0"/>
              </a:rPr>
              <a:t> Kort intro til SIS programmet</a:t>
            </a:r>
          </a:p>
          <a:p>
            <a:pPr marL="0" indent="0">
              <a:buNone/>
            </a:pPr>
            <a:endParaRPr lang="da-DK" sz="2400" dirty="0">
              <a:latin typeface="+mj-lt"/>
              <a:ea typeface="Candara" panose="020E0502030303020204" pitchFamily="34" charset="0"/>
              <a:cs typeface="Times New Roman" panose="02020603050405020304" pitchFamily="18" charset="0"/>
            </a:endParaRPr>
          </a:p>
          <a:p>
            <a:pPr marL="0" indent="0">
              <a:buNone/>
            </a:pPr>
            <a:r>
              <a:rPr lang="da-DK" sz="2400" b="1" dirty="0">
                <a:latin typeface="+mj-lt"/>
                <a:ea typeface="Candara" panose="020E0502030303020204" pitchFamily="34" charset="0"/>
                <a:cs typeface="Times New Roman" panose="02020603050405020304" pitchFamily="18" charset="0"/>
              </a:rPr>
              <a:t>3 temaer</a:t>
            </a:r>
          </a:p>
          <a:p>
            <a:endParaRPr lang="da-DK" sz="2400" dirty="0">
              <a:effectLst/>
              <a:latin typeface="+mj-lt"/>
              <a:ea typeface="Candara" panose="020E0502030303020204" pitchFamily="34" charset="0"/>
              <a:cs typeface="Times New Roman" panose="02020603050405020304" pitchFamily="18" charset="0"/>
            </a:endParaRPr>
          </a:p>
          <a:p>
            <a:pPr lvl="1"/>
            <a:r>
              <a:rPr lang="da-DK" sz="2400" dirty="0">
                <a:effectLst/>
                <a:latin typeface="+mj-lt"/>
                <a:ea typeface="Candara" panose="020E0502030303020204" pitchFamily="34" charset="0"/>
                <a:cs typeface="Times New Roman" panose="02020603050405020304" pitchFamily="18" charset="0"/>
              </a:rPr>
              <a:t> Planlægning – ketchup og bump</a:t>
            </a:r>
          </a:p>
          <a:p>
            <a:pPr lvl="1"/>
            <a:endParaRPr lang="da-DK" sz="2400" dirty="0">
              <a:effectLst/>
              <a:latin typeface="+mj-lt"/>
              <a:ea typeface="Candara" panose="020E0502030303020204" pitchFamily="34" charset="0"/>
              <a:cs typeface="Times New Roman" panose="02020603050405020304" pitchFamily="18" charset="0"/>
            </a:endParaRPr>
          </a:p>
          <a:p>
            <a:pPr lvl="1"/>
            <a:r>
              <a:rPr lang="da-DK" sz="2400" dirty="0">
                <a:latin typeface="+mj-lt"/>
                <a:ea typeface="Candara" panose="020E0502030303020204" pitchFamily="34" charset="0"/>
                <a:cs typeface="Times New Roman" panose="02020603050405020304" pitchFamily="18" charset="0"/>
              </a:rPr>
              <a:t> Samarbejde – tillid og mandat</a:t>
            </a:r>
          </a:p>
          <a:p>
            <a:pPr marL="252000" lvl="1" indent="0">
              <a:buNone/>
            </a:pPr>
            <a:endParaRPr lang="da-DK" sz="2400" dirty="0">
              <a:effectLst/>
              <a:latin typeface="+mj-lt"/>
              <a:ea typeface="Candara" panose="020E0502030303020204" pitchFamily="34" charset="0"/>
              <a:cs typeface="Times New Roman" panose="02020603050405020304" pitchFamily="18" charset="0"/>
            </a:endParaRPr>
          </a:p>
          <a:p>
            <a:pPr lvl="1"/>
            <a:r>
              <a:rPr lang="da-DK" sz="2400" dirty="0">
                <a:latin typeface="+mj-lt"/>
                <a:ea typeface="Candara" panose="020E0502030303020204" pitchFamily="34" charset="0"/>
                <a:cs typeface="Times New Roman" panose="02020603050405020304" pitchFamily="18" charset="0"/>
              </a:rPr>
              <a:t> Kvalitet - standard og MVP</a:t>
            </a:r>
          </a:p>
        </p:txBody>
      </p:sp>
      <p:sp>
        <p:nvSpPr>
          <p:cNvPr id="4" name="Date Placeholder 3">
            <a:extLst>
              <a:ext uri="{FF2B5EF4-FFF2-40B4-BE49-F238E27FC236}">
                <a16:creationId xmlns:a16="http://schemas.microsoft.com/office/drawing/2014/main" id="{25CDF7A0-4D5F-ACFD-BB9E-72731C492161}"/>
              </a:ext>
            </a:extLst>
          </p:cNvPr>
          <p:cNvSpPr>
            <a:spLocks noGrp="1"/>
          </p:cNvSpPr>
          <p:nvPr>
            <p:ph type="dt" sz="half" idx="20"/>
          </p:nvPr>
        </p:nvSpPr>
        <p:spPr/>
        <p:txBody>
          <a:bodyPr/>
          <a:lstStyle/>
          <a:p>
            <a:fld id="{C925E369-54BF-4EC1-82E3-3312054B20CA}" type="datetime1">
              <a:rPr lang="da-DK" smtClean="0"/>
              <a:t>08-05-2025</a:t>
            </a:fld>
            <a:endParaRPr lang="da-DK"/>
          </a:p>
        </p:txBody>
      </p:sp>
      <p:sp>
        <p:nvSpPr>
          <p:cNvPr id="6" name="Slide Number Placeholder 5">
            <a:extLst>
              <a:ext uri="{FF2B5EF4-FFF2-40B4-BE49-F238E27FC236}">
                <a16:creationId xmlns:a16="http://schemas.microsoft.com/office/drawing/2014/main" id="{AA2BBD99-73F8-9081-0847-ABD366B57305}"/>
              </a:ext>
            </a:extLst>
          </p:cNvPr>
          <p:cNvSpPr>
            <a:spLocks noGrp="1"/>
          </p:cNvSpPr>
          <p:nvPr>
            <p:ph type="sldNum" sz="quarter" idx="22"/>
          </p:nvPr>
        </p:nvSpPr>
        <p:spPr/>
        <p:txBody>
          <a:bodyPr/>
          <a:lstStyle/>
          <a:p>
            <a:fld id="{45D37B1E-C366-494F-A587-962AD9AABC83}" type="slidenum">
              <a:rPr lang="da-DK" smtClean="0"/>
              <a:pPr/>
              <a:t>2</a:t>
            </a:fld>
            <a:endParaRPr lang="da-DK"/>
          </a:p>
        </p:txBody>
      </p:sp>
      <p:pic>
        <p:nvPicPr>
          <p:cNvPr id="7" name="Picture 6" descr="Seated person typing on laptop and writing in notepad, with elbow resting on stack of books">
            <a:extLst>
              <a:ext uri="{FF2B5EF4-FFF2-40B4-BE49-F238E27FC236}">
                <a16:creationId xmlns:a16="http://schemas.microsoft.com/office/drawing/2014/main" id="{6279A2DC-6465-1FA3-791C-C12CB590C1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04330" y="5020953"/>
            <a:ext cx="2623206" cy="1748804"/>
          </a:xfrm>
          <a:prstGeom prst="rect">
            <a:avLst/>
          </a:prstGeom>
        </p:spPr>
      </p:pic>
      <p:pic>
        <p:nvPicPr>
          <p:cNvPr id="8" name="Picture 7" descr="Friends studying outdoors">
            <a:extLst>
              <a:ext uri="{FF2B5EF4-FFF2-40B4-BE49-F238E27FC236}">
                <a16:creationId xmlns:a16="http://schemas.microsoft.com/office/drawing/2014/main" id="{D3D09B15-5A2B-40EC-47B3-17A36F694DF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27588" y="3702097"/>
            <a:ext cx="2953069" cy="1976883"/>
          </a:xfrm>
          <a:prstGeom prst="rect">
            <a:avLst/>
          </a:prstGeom>
        </p:spPr>
      </p:pic>
      <p:pic>
        <p:nvPicPr>
          <p:cNvPr id="8194" name="Picture 2" descr="Travlhed og engagement i SDU's Nyt SIS-program">
            <a:extLst>
              <a:ext uri="{FF2B5EF4-FFF2-40B4-BE49-F238E27FC236}">
                <a16:creationId xmlns:a16="http://schemas.microsoft.com/office/drawing/2014/main" id="{9A2F4338-F628-3348-4AA7-902F590D0D4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46061" y="1850135"/>
            <a:ext cx="4181475" cy="23812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364011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3B1836-9254-B58E-C218-75AD0C0BE044}"/>
              </a:ext>
            </a:extLst>
          </p:cNvPr>
          <p:cNvSpPr>
            <a:spLocks noGrp="1"/>
          </p:cNvSpPr>
          <p:nvPr>
            <p:ph type="title"/>
          </p:nvPr>
        </p:nvSpPr>
        <p:spPr/>
        <p:txBody>
          <a:bodyPr/>
          <a:lstStyle/>
          <a:p>
            <a:endParaRPr lang="da-DK"/>
          </a:p>
        </p:txBody>
      </p:sp>
      <p:sp>
        <p:nvSpPr>
          <p:cNvPr id="3" name="Content Placeholder 2">
            <a:extLst>
              <a:ext uri="{FF2B5EF4-FFF2-40B4-BE49-F238E27FC236}">
                <a16:creationId xmlns:a16="http://schemas.microsoft.com/office/drawing/2014/main" id="{DD3CFFE3-8D9B-D2A3-E9CB-DE52F1AFDE0A}"/>
              </a:ext>
            </a:extLst>
          </p:cNvPr>
          <p:cNvSpPr>
            <a:spLocks noGrp="1"/>
          </p:cNvSpPr>
          <p:nvPr>
            <p:ph sz="quarter" idx="19"/>
          </p:nvPr>
        </p:nvSpPr>
        <p:spPr/>
        <p:txBody>
          <a:bodyPr/>
          <a:lstStyle/>
          <a:p>
            <a:endParaRPr lang="da-DK"/>
          </a:p>
        </p:txBody>
      </p:sp>
      <p:sp>
        <p:nvSpPr>
          <p:cNvPr id="4" name="Date Placeholder 3">
            <a:extLst>
              <a:ext uri="{FF2B5EF4-FFF2-40B4-BE49-F238E27FC236}">
                <a16:creationId xmlns:a16="http://schemas.microsoft.com/office/drawing/2014/main" id="{4FD4CAF7-1A3C-1BB7-F354-06B2BC048322}"/>
              </a:ext>
            </a:extLst>
          </p:cNvPr>
          <p:cNvSpPr>
            <a:spLocks noGrp="1"/>
          </p:cNvSpPr>
          <p:nvPr>
            <p:ph type="dt" sz="half" idx="20"/>
          </p:nvPr>
        </p:nvSpPr>
        <p:spPr/>
        <p:txBody>
          <a:bodyPr/>
          <a:lstStyle/>
          <a:p>
            <a:fld id="{EA91FD6D-E934-4D4B-9644-FADBBE52ADE9}" type="datetime1">
              <a:rPr lang="da-DK" smtClean="0"/>
              <a:t>08-05-2025</a:t>
            </a:fld>
            <a:endParaRPr lang="da-DK"/>
          </a:p>
        </p:txBody>
      </p:sp>
      <p:sp>
        <p:nvSpPr>
          <p:cNvPr id="5" name="Footer Placeholder 4">
            <a:extLst>
              <a:ext uri="{FF2B5EF4-FFF2-40B4-BE49-F238E27FC236}">
                <a16:creationId xmlns:a16="http://schemas.microsoft.com/office/drawing/2014/main" id="{3337F0BA-BBFC-5623-0ABA-2320BAA579B6}"/>
              </a:ext>
            </a:extLst>
          </p:cNvPr>
          <p:cNvSpPr>
            <a:spLocks noGrp="1"/>
          </p:cNvSpPr>
          <p:nvPr>
            <p:ph type="ftr" sz="quarter" idx="21"/>
          </p:nvPr>
        </p:nvSpPr>
        <p:spPr/>
        <p:txBody>
          <a:bodyPr/>
          <a:lstStyle/>
          <a:p>
            <a:endParaRPr lang="da-DK"/>
          </a:p>
        </p:txBody>
      </p:sp>
      <p:sp>
        <p:nvSpPr>
          <p:cNvPr id="6" name="Slide Number Placeholder 5">
            <a:extLst>
              <a:ext uri="{FF2B5EF4-FFF2-40B4-BE49-F238E27FC236}">
                <a16:creationId xmlns:a16="http://schemas.microsoft.com/office/drawing/2014/main" id="{EC8CD914-464A-9BEE-2CD8-1F94C7B458AE}"/>
              </a:ext>
            </a:extLst>
          </p:cNvPr>
          <p:cNvSpPr>
            <a:spLocks noGrp="1"/>
          </p:cNvSpPr>
          <p:nvPr>
            <p:ph type="sldNum" sz="quarter" idx="22"/>
          </p:nvPr>
        </p:nvSpPr>
        <p:spPr/>
        <p:txBody>
          <a:bodyPr/>
          <a:lstStyle/>
          <a:p>
            <a:fld id="{45D37B1E-C366-494F-A587-962AD9AABC83}" type="slidenum">
              <a:rPr lang="da-DK" smtClean="0"/>
              <a:pPr/>
              <a:t>20</a:t>
            </a:fld>
            <a:endParaRPr lang="da-DK"/>
          </a:p>
        </p:txBody>
      </p:sp>
      <p:pic>
        <p:nvPicPr>
          <p:cNvPr id="8" name="Picture 7">
            <a:extLst>
              <a:ext uri="{FF2B5EF4-FFF2-40B4-BE49-F238E27FC236}">
                <a16:creationId xmlns:a16="http://schemas.microsoft.com/office/drawing/2014/main" id="{5EAEC555-07A8-648C-8F91-6E7E2EBAFDFA}"/>
              </a:ext>
            </a:extLst>
          </p:cNvPr>
          <p:cNvPicPr>
            <a:picLocks noChangeAspect="1"/>
          </p:cNvPicPr>
          <p:nvPr/>
        </p:nvPicPr>
        <p:blipFill>
          <a:blip r:embed="rId2"/>
          <a:stretch>
            <a:fillRect/>
          </a:stretch>
        </p:blipFill>
        <p:spPr>
          <a:xfrm>
            <a:off x="181252" y="476042"/>
            <a:ext cx="11829496" cy="6166028"/>
          </a:xfrm>
          <a:prstGeom prst="rect">
            <a:avLst/>
          </a:prstGeom>
        </p:spPr>
      </p:pic>
    </p:spTree>
    <p:extLst>
      <p:ext uri="{BB962C8B-B14F-4D97-AF65-F5344CB8AC3E}">
        <p14:creationId xmlns:p14="http://schemas.microsoft.com/office/powerpoint/2010/main" val="852732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57828C-DFB3-7035-E5A8-1BE9A93E4655}"/>
              </a:ext>
            </a:extLst>
          </p:cNvPr>
          <p:cNvSpPr>
            <a:spLocks noGrp="1"/>
          </p:cNvSpPr>
          <p:nvPr>
            <p:ph type="title"/>
          </p:nvPr>
        </p:nvSpPr>
        <p:spPr>
          <a:xfrm>
            <a:off x="708513" y="1527934"/>
            <a:ext cx="5126229" cy="1884283"/>
          </a:xfrm>
        </p:spPr>
        <p:txBody>
          <a:bodyPr/>
          <a:lstStyle/>
          <a:p>
            <a:r>
              <a:rPr lang="da-DK" dirty="0" err="1"/>
              <a:t>What</a:t>
            </a:r>
            <a:r>
              <a:rPr lang="da-DK" dirty="0"/>
              <a:t> to do?</a:t>
            </a:r>
          </a:p>
        </p:txBody>
      </p:sp>
      <p:sp>
        <p:nvSpPr>
          <p:cNvPr id="3" name="Content Placeholder 2">
            <a:extLst>
              <a:ext uri="{FF2B5EF4-FFF2-40B4-BE49-F238E27FC236}">
                <a16:creationId xmlns:a16="http://schemas.microsoft.com/office/drawing/2014/main" id="{18CEC26D-DBEE-3AEE-D814-066C6DD644BD}"/>
              </a:ext>
            </a:extLst>
          </p:cNvPr>
          <p:cNvSpPr>
            <a:spLocks noGrp="1"/>
          </p:cNvSpPr>
          <p:nvPr>
            <p:ph sz="quarter" idx="19"/>
          </p:nvPr>
        </p:nvSpPr>
        <p:spPr/>
        <p:txBody>
          <a:bodyPr/>
          <a:lstStyle/>
          <a:p>
            <a:r>
              <a:rPr lang="da-DK" dirty="0" err="1"/>
              <a:t>Think</a:t>
            </a:r>
            <a:r>
              <a:rPr lang="da-DK" dirty="0"/>
              <a:t> </a:t>
            </a:r>
            <a:r>
              <a:rPr lang="da-DK" dirty="0" err="1"/>
              <a:t>slow</a:t>
            </a:r>
            <a:r>
              <a:rPr lang="da-DK" dirty="0"/>
              <a:t>, </a:t>
            </a:r>
            <a:r>
              <a:rPr lang="da-DK" dirty="0" err="1"/>
              <a:t>act</a:t>
            </a:r>
            <a:r>
              <a:rPr lang="da-DK" dirty="0"/>
              <a:t> fast. </a:t>
            </a:r>
          </a:p>
          <a:p>
            <a:pPr lvl="1"/>
            <a:r>
              <a:rPr lang="da-DK" dirty="0"/>
              <a:t>Hold muligheder åbne</a:t>
            </a:r>
          </a:p>
          <a:p>
            <a:pPr lvl="1"/>
            <a:r>
              <a:rPr lang="da-DK" dirty="0"/>
              <a:t>Vær obs på bias mod at bruge tid på at tænke når prioriterer handling</a:t>
            </a:r>
          </a:p>
          <a:p>
            <a:pPr lvl="1"/>
            <a:endParaRPr lang="da-DK" dirty="0"/>
          </a:p>
          <a:p>
            <a:r>
              <a:rPr lang="da-DK" dirty="0"/>
              <a:t>Erfaring er guld</a:t>
            </a:r>
          </a:p>
          <a:p>
            <a:pPr lvl="1"/>
            <a:r>
              <a:rPr lang="da-DK" dirty="0"/>
              <a:t>Er oppe mod politiske visioner, hvor først, størst, nyest tæller mere</a:t>
            </a:r>
          </a:p>
          <a:p>
            <a:pPr lvl="1"/>
            <a:r>
              <a:rPr lang="da-DK" dirty="0"/>
              <a:t>Hvad siger markedet, hvad siger erfaringerne</a:t>
            </a:r>
          </a:p>
          <a:p>
            <a:pPr lvl="1"/>
            <a:endParaRPr lang="da-DK" dirty="0"/>
          </a:p>
          <a:p>
            <a:r>
              <a:rPr lang="da-DK" dirty="0" err="1"/>
              <a:t>Uniqueness</a:t>
            </a:r>
            <a:r>
              <a:rPr lang="da-DK" dirty="0"/>
              <a:t> bias</a:t>
            </a:r>
          </a:p>
          <a:p>
            <a:pPr lvl="1"/>
            <a:r>
              <a:rPr lang="da-DK" dirty="0"/>
              <a:t>Fokuser på de typiske risici, den typiske tidsplan, de typiske </a:t>
            </a:r>
            <a:r>
              <a:rPr lang="da-DK" dirty="0" err="1"/>
              <a:t>black</a:t>
            </a:r>
            <a:r>
              <a:rPr lang="da-DK" dirty="0"/>
              <a:t> </a:t>
            </a:r>
            <a:r>
              <a:rPr lang="da-DK" dirty="0" err="1"/>
              <a:t>swans</a:t>
            </a:r>
            <a:r>
              <a:rPr lang="da-DK" dirty="0"/>
              <a:t> og planlæg efter det</a:t>
            </a:r>
          </a:p>
          <a:p>
            <a:pPr lvl="1"/>
            <a:endParaRPr lang="da-DK" dirty="0"/>
          </a:p>
          <a:p>
            <a:r>
              <a:rPr lang="da-DK" dirty="0"/>
              <a:t>Det er ikke overskridelserne, men planen den er galt med </a:t>
            </a:r>
          </a:p>
          <a:p>
            <a:pPr lvl="1"/>
            <a:r>
              <a:rPr lang="da-DK" dirty="0"/>
              <a:t>Tager ikke højde for typiske risici</a:t>
            </a:r>
          </a:p>
          <a:p>
            <a:pPr lvl="1"/>
            <a:endParaRPr lang="da-DK" dirty="0"/>
          </a:p>
          <a:p>
            <a:pPr lvl="1"/>
            <a:endParaRPr lang="da-DK" dirty="0"/>
          </a:p>
          <a:p>
            <a:endParaRPr lang="da-DK" dirty="0"/>
          </a:p>
        </p:txBody>
      </p:sp>
      <p:sp>
        <p:nvSpPr>
          <p:cNvPr id="4" name="Date Placeholder 3">
            <a:extLst>
              <a:ext uri="{FF2B5EF4-FFF2-40B4-BE49-F238E27FC236}">
                <a16:creationId xmlns:a16="http://schemas.microsoft.com/office/drawing/2014/main" id="{62D71345-414C-3E92-7D76-4CBDA92A6FB6}"/>
              </a:ext>
            </a:extLst>
          </p:cNvPr>
          <p:cNvSpPr>
            <a:spLocks noGrp="1"/>
          </p:cNvSpPr>
          <p:nvPr>
            <p:ph type="dt" sz="half" idx="20"/>
          </p:nvPr>
        </p:nvSpPr>
        <p:spPr/>
        <p:txBody>
          <a:bodyPr/>
          <a:lstStyle/>
          <a:p>
            <a:fld id="{58E0B477-ED4F-4515-8E61-F505CB003BCC}" type="datetime1">
              <a:rPr lang="da-DK" smtClean="0"/>
              <a:t>09-05-2025</a:t>
            </a:fld>
            <a:endParaRPr lang="da-DK"/>
          </a:p>
        </p:txBody>
      </p:sp>
      <p:sp>
        <p:nvSpPr>
          <p:cNvPr id="5" name="Footer Placeholder 4">
            <a:extLst>
              <a:ext uri="{FF2B5EF4-FFF2-40B4-BE49-F238E27FC236}">
                <a16:creationId xmlns:a16="http://schemas.microsoft.com/office/drawing/2014/main" id="{7D7AD328-24A8-EFA3-B2D4-2FE2877F2EED}"/>
              </a:ext>
            </a:extLst>
          </p:cNvPr>
          <p:cNvSpPr>
            <a:spLocks noGrp="1"/>
          </p:cNvSpPr>
          <p:nvPr>
            <p:ph type="ftr" sz="quarter" idx="21"/>
          </p:nvPr>
        </p:nvSpPr>
        <p:spPr/>
        <p:txBody>
          <a:bodyPr/>
          <a:lstStyle/>
          <a:p>
            <a:endParaRPr lang="da-DK"/>
          </a:p>
        </p:txBody>
      </p:sp>
      <p:sp>
        <p:nvSpPr>
          <p:cNvPr id="6" name="Slide Number Placeholder 5">
            <a:extLst>
              <a:ext uri="{FF2B5EF4-FFF2-40B4-BE49-F238E27FC236}">
                <a16:creationId xmlns:a16="http://schemas.microsoft.com/office/drawing/2014/main" id="{D751C8EB-F9E3-EFC0-1578-F146DFAF7500}"/>
              </a:ext>
            </a:extLst>
          </p:cNvPr>
          <p:cNvSpPr>
            <a:spLocks noGrp="1"/>
          </p:cNvSpPr>
          <p:nvPr>
            <p:ph type="sldNum" sz="quarter" idx="22"/>
          </p:nvPr>
        </p:nvSpPr>
        <p:spPr/>
        <p:txBody>
          <a:bodyPr/>
          <a:lstStyle/>
          <a:p>
            <a:fld id="{45D37B1E-C366-494F-A587-962AD9AABC83}" type="slidenum">
              <a:rPr lang="da-DK" smtClean="0"/>
              <a:pPr/>
              <a:t>21</a:t>
            </a:fld>
            <a:endParaRPr lang="da-DK"/>
          </a:p>
        </p:txBody>
      </p:sp>
      <p:pic>
        <p:nvPicPr>
          <p:cNvPr id="13314" name="Picture 2" descr="🤔 What Do These Emojis Actually Mean? Quiz">
            <a:extLst>
              <a:ext uri="{FF2B5EF4-FFF2-40B4-BE49-F238E27FC236}">
                <a16:creationId xmlns:a16="http://schemas.microsoft.com/office/drawing/2014/main" id="{91557286-956F-F7FC-5E8D-E2DEC9F7FA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8046" y="2596842"/>
            <a:ext cx="4167868" cy="25007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764562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451458-7A77-61DC-B053-6248929C7F6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82A7FE3-0FE6-60A5-3A23-7BCD7D776567}"/>
              </a:ext>
            </a:extLst>
          </p:cNvPr>
          <p:cNvSpPr>
            <a:spLocks noGrp="1"/>
          </p:cNvSpPr>
          <p:nvPr>
            <p:ph type="title"/>
          </p:nvPr>
        </p:nvSpPr>
        <p:spPr>
          <a:xfrm>
            <a:off x="431874" y="2584903"/>
            <a:ext cx="8973383" cy="2547058"/>
          </a:xfrm>
        </p:spPr>
        <p:txBody>
          <a:bodyPr/>
          <a:lstStyle/>
          <a:p>
            <a:r>
              <a:rPr lang="da-DK" dirty="0"/>
              <a:t>Hvordan styrer vi</a:t>
            </a:r>
            <a:br>
              <a:rPr lang="da-DK" dirty="0"/>
            </a:br>
            <a:r>
              <a:rPr lang="da-DK" dirty="0"/>
              <a:t>- ressourcer / kompetencer</a:t>
            </a:r>
            <a:br>
              <a:rPr lang="da-DK" dirty="0"/>
            </a:br>
            <a:r>
              <a:rPr lang="da-DK" dirty="0"/>
              <a:t>- motivation</a:t>
            </a:r>
            <a:br>
              <a:rPr lang="da-DK" dirty="0"/>
            </a:br>
            <a:r>
              <a:rPr lang="da-DK" dirty="0"/>
              <a:t>gennem bump og </a:t>
            </a:r>
            <a:r>
              <a:rPr lang="da-DK" dirty="0" err="1"/>
              <a:t>klumpning</a:t>
            </a:r>
            <a:r>
              <a:rPr lang="da-DK" dirty="0"/>
              <a:t> af opgaver?</a:t>
            </a:r>
            <a:br>
              <a:rPr lang="da-DK" dirty="0"/>
            </a:br>
            <a:br>
              <a:rPr lang="da-DK" dirty="0"/>
            </a:br>
            <a:r>
              <a:rPr lang="da-DK" dirty="0"/>
              <a:t>Hvordan lykkes I?</a:t>
            </a:r>
          </a:p>
        </p:txBody>
      </p:sp>
      <p:sp>
        <p:nvSpPr>
          <p:cNvPr id="4" name="Date Placeholder 3">
            <a:extLst>
              <a:ext uri="{FF2B5EF4-FFF2-40B4-BE49-F238E27FC236}">
                <a16:creationId xmlns:a16="http://schemas.microsoft.com/office/drawing/2014/main" id="{1E339CEC-9B8A-FB11-B0F4-FCD0591B9E4B}"/>
              </a:ext>
            </a:extLst>
          </p:cNvPr>
          <p:cNvSpPr>
            <a:spLocks noGrp="1"/>
          </p:cNvSpPr>
          <p:nvPr>
            <p:ph type="dt" sz="half" idx="20"/>
          </p:nvPr>
        </p:nvSpPr>
        <p:spPr/>
        <p:txBody>
          <a:bodyPr/>
          <a:lstStyle/>
          <a:p>
            <a:fld id="{AC0D5A4D-24AC-4CD9-A3AB-4CE6D9EC501E}" type="datetime1">
              <a:rPr lang="da-DK" smtClean="0"/>
              <a:t>09-05-2025</a:t>
            </a:fld>
            <a:endParaRPr lang="da-DK"/>
          </a:p>
        </p:txBody>
      </p:sp>
      <p:sp>
        <p:nvSpPr>
          <p:cNvPr id="5" name="Slide Number Placeholder 4">
            <a:extLst>
              <a:ext uri="{FF2B5EF4-FFF2-40B4-BE49-F238E27FC236}">
                <a16:creationId xmlns:a16="http://schemas.microsoft.com/office/drawing/2014/main" id="{5479B40F-C95F-C31B-B671-E992662B0096}"/>
              </a:ext>
            </a:extLst>
          </p:cNvPr>
          <p:cNvSpPr>
            <a:spLocks noGrp="1"/>
          </p:cNvSpPr>
          <p:nvPr>
            <p:ph type="sldNum" sz="quarter" idx="22"/>
          </p:nvPr>
        </p:nvSpPr>
        <p:spPr/>
        <p:txBody>
          <a:bodyPr/>
          <a:lstStyle/>
          <a:p>
            <a:fld id="{45D37B1E-C366-494F-A587-962AD9AABC83}" type="slidenum">
              <a:rPr lang="da-DK" smtClean="0"/>
              <a:pPr/>
              <a:t>22</a:t>
            </a:fld>
            <a:endParaRPr lang="da-DK"/>
          </a:p>
        </p:txBody>
      </p:sp>
      <p:pic>
        <p:nvPicPr>
          <p:cNvPr id="3" name="Picture 2">
            <a:extLst>
              <a:ext uri="{FF2B5EF4-FFF2-40B4-BE49-F238E27FC236}">
                <a16:creationId xmlns:a16="http://schemas.microsoft.com/office/drawing/2014/main" id="{0F398361-2759-A14B-7643-4DEC10266B81}"/>
              </a:ext>
            </a:extLst>
          </p:cNvPr>
          <p:cNvPicPr>
            <a:picLocks noChangeAspect="1"/>
          </p:cNvPicPr>
          <p:nvPr/>
        </p:nvPicPr>
        <p:blipFill>
          <a:blip r:embed="rId2"/>
          <a:stretch>
            <a:fillRect/>
          </a:stretch>
        </p:blipFill>
        <p:spPr>
          <a:xfrm>
            <a:off x="7116299" y="4195712"/>
            <a:ext cx="4139530" cy="2373584"/>
          </a:xfrm>
          <a:prstGeom prst="rect">
            <a:avLst/>
          </a:prstGeom>
        </p:spPr>
      </p:pic>
      <p:pic>
        <p:nvPicPr>
          <p:cNvPr id="7" name="Picture 2" descr="bump på vejen - Galerie Pi">
            <a:extLst>
              <a:ext uri="{FF2B5EF4-FFF2-40B4-BE49-F238E27FC236}">
                <a16:creationId xmlns:a16="http://schemas.microsoft.com/office/drawing/2014/main" id="{17793F27-A3DD-8213-0429-F13BF78163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03532" y="139164"/>
            <a:ext cx="4312306" cy="323422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Ketchup sauce falling ketchup bottle ...">
            <a:extLst>
              <a:ext uri="{FF2B5EF4-FFF2-40B4-BE49-F238E27FC236}">
                <a16:creationId xmlns:a16="http://schemas.microsoft.com/office/drawing/2014/main" id="{E9A7975D-EA3D-F7FD-4082-13C1396EA41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57840" y="557670"/>
            <a:ext cx="2845623" cy="18923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27402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rgbClr val="E0A526"/>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DB56E-B30D-0509-BA5C-E9AF9AA5B5F8}"/>
              </a:ext>
            </a:extLst>
          </p:cNvPr>
          <p:cNvSpPr>
            <a:spLocks noGrp="1"/>
          </p:cNvSpPr>
          <p:nvPr>
            <p:ph type="title"/>
          </p:nvPr>
        </p:nvSpPr>
        <p:spPr>
          <a:xfrm>
            <a:off x="1122876" y="4351477"/>
            <a:ext cx="8859323" cy="694480"/>
          </a:xfrm>
        </p:spPr>
        <p:txBody>
          <a:bodyPr>
            <a:noAutofit/>
          </a:bodyPr>
          <a:lstStyle/>
          <a:p>
            <a:r>
              <a:rPr lang="en-US" sz="4000" dirty="0" err="1"/>
              <a:t>Samarbejde</a:t>
            </a:r>
            <a:r>
              <a:rPr lang="en-US" sz="4000" dirty="0"/>
              <a:t> / mange </a:t>
            </a:r>
            <a:r>
              <a:rPr lang="en-US" sz="4000" dirty="0" err="1"/>
              <a:t>interessenter</a:t>
            </a:r>
            <a:br>
              <a:rPr lang="en-US" sz="4000" dirty="0"/>
            </a:br>
            <a:r>
              <a:rPr lang="en-US" sz="4000" dirty="0"/>
              <a:t>- </a:t>
            </a:r>
            <a:r>
              <a:rPr lang="en-US" sz="4000" dirty="0" err="1"/>
              <a:t>tillid</a:t>
            </a:r>
            <a:br>
              <a:rPr lang="en-US" sz="4000" dirty="0"/>
            </a:br>
            <a:r>
              <a:rPr lang="en-US" sz="4000" dirty="0"/>
              <a:t>- </a:t>
            </a:r>
            <a:r>
              <a:rPr lang="en-US" sz="4000" dirty="0" err="1"/>
              <a:t>hurtige</a:t>
            </a:r>
            <a:r>
              <a:rPr lang="en-US" sz="4000" dirty="0"/>
              <a:t> </a:t>
            </a:r>
            <a:r>
              <a:rPr lang="en-US" sz="4000" dirty="0" err="1"/>
              <a:t>beslutninger</a:t>
            </a:r>
            <a:endParaRPr lang="en-US" sz="4000" dirty="0"/>
          </a:p>
        </p:txBody>
      </p:sp>
      <p:sp>
        <p:nvSpPr>
          <p:cNvPr id="3" name="Footer Placeholder 2">
            <a:extLst>
              <a:ext uri="{FF2B5EF4-FFF2-40B4-BE49-F238E27FC236}">
                <a16:creationId xmlns:a16="http://schemas.microsoft.com/office/drawing/2014/main" id="{727DADA5-DC9B-9116-ED36-444A711526F3}"/>
              </a:ext>
            </a:extLst>
          </p:cNvPr>
          <p:cNvSpPr>
            <a:spLocks noGrp="1"/>
          </p:cNvSpPr>
          <p:nvPr>
            <p:ph type="ftr" sz="quarter" idx="3"/>
          </p:nvPr>
        </p:nvSpPr>
        <p:spPr/>
        <p:txBody>
          <a:bodyPr/>
          <a:lstStyle/>
          <a:p>
            <a:r>
              <a:rPr lang="da-DK">
                <a:ea typeface="Campton Book"/>
                <a:cs typeface="Times New Roman" panose="02020603050405020304" pitchFamily="18" charset="0"/>
              </a:rPr>
              <a:t>Lettere studieliv. Fælles processer. Nye muligheder.</a:t>
            </a:r>
            <a:endParaRPr lang="da-DK" b="1">
              <a:ea typeface="Campton Book"/>
              <a:cs typeface="Times New Roman" panose="02020603050405020304" pitchFamily="18" charset="0"/>
            </a:endParaRPr>
          </a:p>
        </p:txBody>
      </p:sp>
      <p:sp>
        <p:nvSpPr>
          <p:cNvPr id="4" name="Slide Number Placeholder 3">
            <a:extLst>
              <a:ext uri="{FF2B5EF4-FFF2-40B4-BE49-F238E27FC236}">
                <a16:creationId xmlns:a16="http://schemas.microsoft.com/office/drawing/2014/main" id="{D89DF77A-82A0-6C15-B50E-B89DF299504D}"/>
              </a:ext>
            </a:extLst>
          </p:cNvPr>
          <p:cNvSpPr>
            <a:spLocks noGrp="1"/>
          </p:cNvSpPr>
          <p:nvPr>
            <p:ph type="sldNum" sz="quarter" idx="4"/>
          </p:nvPr>
        </p:nvSpPr>
        <p:spPr/>
        <p:txBody>
          <a:bodyPr/>
          <a:lstStyle/>
          <a:p>
            <a:fld id="{39DF810D-F77C-4BB2-BE6A-BDC67BB44902}" type="slidenum">
              <a:rPr lang="da-DK" smtClean="0"/>
              <a:pPr/>
              <a:t>23</a:t>
            </a:fld>
            <a:endParaRPr lang="da-DK"/>
          </a:p>
        </p:txBody>
      </p:sp>
      <p:sp>
        <p:nvSpPr>
          <p:cNvPr id="5" name="Date Placeholder 4">
            <a:extLst>
              <a:ext uri="{FF2B5EF4-FFF2-40B4-BE49-F238E27FC236}">
                <a16:creationId xmlns:a16="http://schemas.microsoft.com/office/drawing/2014/main" id="{DC07288C-D02E-1F7E-FE05-B157139C45E9}"/>
              </a:ext>
            </a:extLst>
          </p:cNvPr>
          <p:cNvSpPr>
            <a:spLocks noGrp="1"/>
          </p:cNvSpPr>
          <p:nvPr>
            <p:ph type="dt" sz="half" idx="2"/>
          </p:nvPr>
        </p:nvSpPr>
        <p:spPr/>
        <p:txBody>
          <a:bodyPr/>
          <a:lstStyle/>
          <a:p>
            <a:fld id="{B997A535-D0D4-43B5-AD8A-8D9F9278F202}" type="datetime1">
              <a:rPr lang="da-DK" smtClean="0"/>
              <a:t>08-05-2025</a:t>
            </a:fld>
            <a:endParaRPr lang="da-DK"/>
          </a:p>
        </p:txBody>
      </p:sp>
      <p:pic>
        <p:nvPicPr>
          <p:cNvPr id="4098" name="Picture 2" descr="Tillidsøvelser: Grib 10 gratis øvelser til arbejdspladsen!">
            <a:extLst>
              <a:ext uri="{FF2B5EF4-FFF2-40B4-BE49-F238E27FC236}">
                <a16:creationId xmlns:a16="http://schemas.microsoft.com/office/drawing/2014/main" id="{378FF4AE-E0A6-1960-10BB-82A45797248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9673" y="0"/>
            <a:ext cx="5128964" cy="3417173"/>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How Do Internet Speed Tests Work? | NCTA — The Internet &amp; Television  Association">
            <a:extLst>
              <a:ext uri="{FF2B5EF4-FFF2-40B4-BE49-F238E27FC236}">
                <a16:creationId xmlns:a16="http://schemas.microsoft.com/office/drawing/2014/main" id="{E3819615-5444-791A-7853-102C6FE90AB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48487" y="791936"/>
            <a:ext cx="3076575" cy="14859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368119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58E9727-F1AF-2CAF-8175-EA2B0DF84BDA}"/>
              </a:ext>
            </a:extLst>
          </p:cNvPr>
          <p:cNvSpPr>
            <a:spLocks noGrp="1"/>
          </p:cNvSpPr>
          <p:nvPr>
            <p:ph type="title"/>
          </p:nvPr>
        </p:nvSpPr>
        <p:spPr>
          <a:xfrm>
            <a:off x="2156760" y="72377"/>
            <a:ext cx="8835766" cy="694480"/>
          </a:xfrm>
        </p:spPr>
        <p:txBody>
          <a:bodyPr>
            <a:noAutofit/>
          </a:bodyPr>
          <a:lstStyle/>
          <a:p>
            <a:r>
              <a:rPr lang="da-DK" sz="5400" dirty="0"/>
              <a:t>Fælles national løsning</a:t>
            </a:r>
          </a:p>
        </p:txBody>
      </p:sp>
      <p:sp>
        <p:nvSpPr>
          <p:cNvPr id="6" name="Rektangel: afrundede hjørner 5">
            <a:extLst>
              <a:ext uri="{FF2B5EF4-FFF2-40B4-BE49-F238E27FC236}">
                <a16:creationId xmlns:a16="http://schemas.microsoft.com/office/drawing/2014/main" id="{C911C875-2E67-EC3D-2CCA-B23FB01743C2}"/>
              </a:ext>
            </a:extLst>
          </p:cNvPr>
          <p:cNvSpPr/>
          <p:nvPr/>
        </p:nvSpPr>
        <p:spPr>
          <a:xfrm>
            <a:off x="767964" y="977196"/>
            <a:ext cx="1574463" cy="5552182"/>
          </a:xfrm>
          <a:prstGeom prst="roundRect">
            <a:avLst/>
          </a:prstGeom>
          <a:solidFill>
            <a:srgbClr val="D7F4FD"/>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7" name="Rektangel: afrundede hjørner 6">
            <a:extLst>
              <a:ext uri="{FF2B5EF4-FFF2-40B4-BE49-F238E27FC236}">
                <a16:creationId xmlns:a16="http://schemas.microsoft.com/office/drawing/2014/main" id="{3C48AC04-C0CC-6043-EAEF-504446FED4D9}"/>
              </a:ext>
            </a:extLst>
          </p:cNvPr>
          <p:cNvSpPr/>
          <p:nvPr/>
        </p:nvSpPr>
        <p:spPr>
          <a:xfrm>
            <a:off x="2379899" y="942976"/>
            <a:ext cx="1574463" cy="5544447"/>
          </a:xfrm>
          <a:prstGeom prst="roundRect">
            <a:avLst/>
          </a:prstGeom>
          <a:solidFill>
            <a:srgbClr val="D7F4FD"/>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8" name="Rektangel: afrundede hjørner 7">
            <a:extLst>
              <a:ext uri="{FF2B5EF4-FFF2-40B4-BE49-F238E27FC236}">
                <a16:creationId xmlns:a16="http://schemas.microsoft.com/office/drawing/2014/main" id="{D4B66E67-5875-DEBE-1929-AD62BB07180A}"/>
              </a:ext>
            </a:extLst>
          </p:cNvPr>
          <p:cNvSpPr/>
          <p:nvPr/>
        </p:nvSpPr>
        <p:spPr>
          <a:xfrm>
            <a:off x="3991834" y="942976"/>
            <a:ext cx="1574463" cy="5557247"/>
          </a:xfrm>
          <a:prstGeom prst="roundRect">
            <a:avLst/>
          </a:prstGeom>
          <a:solidFill>
            <a:srgbClr val="D7F4FD"/>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9" name="Rektangel: afrundede hjørner 8">
            <a:extLst>
              <a:ext uri="{FF2B5EF4-FFF2-40B4-BE49-F238E27FC236}">
                <a16:creationId xmlns:a16="http://schemas.microsoft.com/office/drawing/2014/main" id="{A5B3240C-A8E3-F2D0-9572-5724FE992BC5}"/>
              </a:ext>
            </a:extLst>
          </p:cNvPr>
          <p:cNvSpPr/>
          <p:nvPr/>
        </p:nvSpPr>
        <p:spPr>
          <a:xfrm>
            <a:off x="5603769" y="942976"/>
            <a:ext cx="1574463" cy="5507615"/>
          </a:xfrm>
          <a:prstGeom prst="roundRect">
            <a:avLst/>
          </a:prstGeom>
          <a:solidFill>
            <a:srgbClr val="D7F4FD"/>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0" name="Rektangel: afrundede hjørner 9">
            <a:extLst>
              <a:ext uri="{FF2B5EF4-FFF2-40B4-BE49-F238E27FC236}">
                <a16:creationId xmlns:a16="http://schemas.microsoft.com/office/drawing/2014/main" id="{B87EF134-27BE-3E8F-93FD-F00E2DE7E1E8}"/>
              </a:ext>
            </a:extLst>
          </p:cNvPr>
          <p:cNvSpPr/>
          <p:nvPr/>
        </p:nvSpPr>
        <p:spPr>
          <a:xfrm>
            <a:off x="7215704" y="942976"/>
            <a:ext cx="1574463" cy="5537051"/>
          </a:xfrm>
          <a:prstGeom prst="roundRect">
            <a:avLst/>
          </a:prstGeom>
          <a:solidFill>
            <a:srgbClr val="D7F4FD"/>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1" name="Rektangel: afrundede hjørner 10">
            <a:extLst>
              <a:ext uri="{FF2B5EF4-FFF2-40B4-BE49-F238E27FC236}">
                <a16:creationId xmlns:a16="http://schemas.microsoft.com/office/drawing/2014/main" id="{45A4DD2A-1125-0792-47DB-67B6A20407B4}"/>
              </a:ext>
            </a:extLst>
          </p:cNvPr>
          <p:cNvSpPr/>
          <p:nvPr/>
        </p:nvSpPr>
        <p:spPr>
          <a:xfrm>
            <a:off x="8827639" y="953710"/>
            <a:ext cx="1574463" cy="5537051"/>
          </a:xfrm>
          <a:prstGeom prst="roundRect">
            <a:avLst/>
          </a:prstGeom>
          <a:solidFill>
            <a:srgbClr val="D7F4FD"/>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2" name="Rektangel: afrundede hjørner 11">
            <a:extLst>
              <a:ext uri="{FF2B5EF4-FFF2-40B4-BE49-F238E27FC236}">
                <a16:creationId xmlns:a16="http://schemas.microsoft.com/office/drawing/2014/main" id="{B77C21BA-BD28-35F7-27C3-51541F6DC5DD}"/>
              </a:ext>
            </a:extLst>
          </p:cNvPr>
          <p:cNvSpPr/>
          <p:nvPr/>
        </p:nvSpPr>
        <p:spPr>
          <a:xfrm>
            <a:off x="10439574" y="935521"/>
            <a:ext cx="1574463" cy="5537051"/>
          </a:xfrm>
          <a:prstGeom prst="roundRect">
            <a:avLst/>
          </a:prstGeom>
          <a:solidFill>
            <a:srgbClr val="D7F4FD"/>
          </a:solidFill>
          <a:ln w="9525" cap="flat" cmpd="sng" algn="ctr">
            <a:solidFill>
              <a:srgbClr val="4F81BD">
                <a:lumMod val="20000"/>
                <a:lumOff val="80000"/>
              </a:srgbClr>
            </a:solidFill>
            <a:prstDash val="solid"/>
          </a:ln>
          <a:effectLst/>
        </p:spPr>
        <p:txBody>
          <a:bodyPr lIns="35998" tIns="0" rIns="35998"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900" b="1"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13" name="Tekstfelt 12">
            <a:extLst>
              <a:ext uri="{FF2B5EF4-FFF2-40B4-BE49-F238E27FC236}">
                <a16:creationId xmlns:a16="http://schemas.microsoft.com/office/drawing/2014/main" id="{B8294704-7702-78FD-A9DC-05A634703F66}"/>
              </a:ext>
            </a:extLst>
          </p:cNvPr>
          <p:cNvSpPr txBox="1"/>
          <p:nvPr/>
        </p:nvSpPr>
        <p:spPr>
          <a:xfrm>
            <a:off x="2607803" y="2109222"/>
            <a:ext cx="1230435"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srgbClr val="000000"/>
                </a:solidFill>
                <a:effectLst/>
                <a:uLnTx/>
                <a:uFillTx/>
                <a:latin typeface="Arial"/>
                <a:ea typeface="+mn-ea"/>
                <a:cs typeface="+mn-cs"/>
              </a:rPr>
              <a:t>Optag studerende og betaling</a:t>
            </a:r>
          </a:p>
        </p:txBody>
      </p:sp>
      <p:sp>
        <p:nvSpPr>
          <p:cNvPr id="14" name="Tekstfelt 13">
            <a:extLst>
              <a:ext uri="{FF2B5EF4-FFF2-40B4-BE49-F238E27FC236}">
                <a16:creationId xmlns:a16="http://schemas.microsoft.com/office/drawing/2014/main" id="{715F2268-E70A-D97D-47B0-1E653D682E89}"/>
              </a:ext>
            </a:extLst>
          </p:cNvPr>
          <p:cNvSpPr txBox="1"/>
          <p:nvPr/>
        </p:nvSpPr>
        <p:spPr>
          <a:xfrm>
            <a:off x="4132265" y="1970722"/>
            <a:ext cx="1387249"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srgbClr val="000000"/>
                </a:solidFill>
                <a:effectLst/>
                <a:uLnTx/>
                <a:uFillTx/>
                <a:latin typeface="Arial"/>
                <a:ea typeface="+mn-ea"/>
                <a:cs typeface="+mn-cs"/>
              </a:rPr>
              <a:t>Tilmelding til fagelement eller prøve samt registrering af studs. prøveresultat</a:t>
            </a:r>
          </a:p>
        </p:txBody>
      </p:sp>
      <p:sp>
        <p:nvSpPr>
          <p:cNvPr id="15" name="Tekstfelt 14">
            <a:extLst>
              <a:ext uri="{FF2B5EF4-FFF2-40B4-BE49-F238E27FC236}">
                <a16:creationId xmlns:a16="http://schemas.microsoft.com/office/drawing/2014/main" id="{76BC7677-E868-2111-38FC-E3B5745DC00C}"/>
              </a:ext>
            </a:extLst>
          </p:cNvPr>
          <p:cNvSpPr txBox="1"/>
          <p:nvPr/>
        </p:nvSpPr>
        <p:spPr>
          <a:xfrm>
            <a:off x="5912228" y="2109222"/>
            <a:ext cx="958242"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srgbClr val="000000"/>
                </a:solidFill>
                <a:effectLst/>
                <a:uLnTx/>
                <a:uFillTx/>
                <a:latin typeface="Arial"/>
                <a:ea typeface="+mn-ea"/>
                <a:cs typeface="+mn-cs"/>
              </a:rPr>
              <a:t>Behandling af studentersager</a:t>
            </a:r>
          </a:p>
        </p:txBody>
      </p:sp>
      <p:sp>
        <p:nvSpPr>
          <p:cNvPr id="16" name="Tekstfelt 15">
            <a:extLst>
              <a:ext uri="{FF2B5EF4-FFF2-40B4-BE49-F238E27FC236}">
                <a16:creationId xmlns:a16="http://schemas.microsoft.com/office/drawing/2014/main" id="{7F8136D2-7B3D-A088-7A51-18B8A602EE08}"/>
              </a:ext>
            </a:extLst>
          </p:cNvPr>
          <p:cNvSpPr txBox="1"/>
          <p:nvPr/>
        </p:nvSpPr>
        <p:spPr>
          <a:xfrm>
            <a:off x="7480297" y="2109222"/>
            <a:ext cx="1116549"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srgbClr val="000000"/>
                </a:solidFill>
                <a:effectLst/>
                <a:uLnTx/>
                <a:uFillTx/>
                <a:latin typeface="Arial"/>
                <a:ea typeface="+mn-ea"/>
                <a:cs typeface="+mn-cs"/>
              </a:rPr>
              <a:t>Afslut eller afbryd studerendes forløb </a:t>
            </a:r>
          </a:p>
        </p:txBody>
      </p:sp>
      <p:sp>
        <p:nvSpPr>
          <p:cNvPr id="17" name="Tekstfelt 16">
            <a:extLst>
              <a:ext uri="{FF2B5EF4-FFF2-40B4-BE49-F238E27FC236}">
                <a16:creationId xmlns:a16="http://schemas.microsoft.com/office/drawing/2014/main" id="{AA80ADBC-AE0B-E982-7A85-1E6539C9D4D9}"/>
              </a:ext>
            </a:extLst>
          </p:cNvPr>
          <p:cNvSpPr txBox="1"/>
          <p:nvPr/>
        </p:nvSpPr>
        <p:spPr>
          <a:xfrm>
            <a:off x="988457" y="2178472"/>
            <a:ext cx="1118642" cy="1384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0000"/>
                </a:solidFill>
                <a:effectLst/>
                <a:uLnTx/>
                <a:uFillTx/>
                <a:latin typeface="Arial"/>
                <a:ea typeface="+mn-ea"/>
                <a:cs typeface="+mn-cs"/>
              </a:rPr>
              <a:t>Opbyg uddannelse</a:t>
            </a:r>
          </a:p>
        </p:txBody>
      </p:sp>
      <p:sp>
        <p:nvSpPr>
          <p:cNvPr id="40" name="Tekstfelt 39">
            <a:extLst>
              <a:ext uri="{FF2B5EF4-FFF2-40B4-BE49-F238E27FC236}">
                <a16:creationId xmlns:a16="http://schemas.microsoft.com/office/drawing/2014/main" id="{E29268F1-A72E-A69C-E4DF-D99532F4751C}"/>
              </a:ext>
            </a:extLst>
          </p:cNvPr>
          <p:cNvSpPr txBox="1"/>
          <p:nvPr/>
        </p:nvSpPr>
        <p:spPr>
          <a:xfrm>
            <a:off x="8899249" y="3130422"/>
            <a:ext cx="137793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Kommunikation til en eller flere studerende</a:t>
            </a: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41" name="Tekstfelt 40">
            <a:extLst>
              <a:ext uri="{FF2B5EF4-FFF2-40B4-BE49-F238E27FC236}">
                <a16:creationId xmlns:a16="http://schemas.microsoft.com/office/drawing/2014/main" id="{E875A2FC-5CBD-9C1A-F918-0AFBCE7251E2}"/>
              </a:ext>
            </a:extLst>
          </p:cNvPr>
          <p:cNvSpPr txBox="1"/>
          <p:nvPr/>
        </p:nvSpPr>
        <p:spPr>
          <a:xfrm>
            <a:off x="8899249" y="2730693"/>
            <a:ext cx="1377934"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Kommunikation med studerende: </a:t>
            </a: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51" name="Tekstfelt 50">
            <a:extLst>
              <a:ext uri="{FF2B5EF4-FFF2-40B4-BE49-F238E27FC236}">
                <a16:creationId xmlns:a16="http://schemas.microsoft.com/office/drawing/2014/main" id="{DBD6924D-F020-7A2C-DC01-95BBF695C435}"/>
              </a:ext>
            </a:extLst>
          </p:cNvPr>
          <p:cNvSpPr txBox="1"/>
          <p:nvPr/>
        </p:nvSpPr>
        <p:spPr>
          <a:xfrm>
            <a:off x="10512620" y="2702366"/>
            <a:ext cx="129711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Behandling af data til indberetning</a:t>
            </a:r>
          </a:p>
        </p:txBody>
      </p:sp>
      <p:sp>
        <p:nvSpPr>
          <p:cNvPr id="52" name="Tekstfelt 51">
            <a:extLst>
              <a:ext uri="{FF2B5EF4-FFF2-40B4-BE49-F238E27FC236}">
                <a16:creationId xmlns:a16="http://schemas.microsoft.com/office/drawing/2014/main" id="{83356900-20C0-989D-955F-75452CF671B5}"/>
              </a:ext>
            </a:extLst>
          </p:cNvPr>
          <p:cNvSpPr txBox="1"/>
          <p:nvPr/>
        </p:nvSpPr>
        <p:spPr>
          <a:xfrm>
            <a:off x="10512620" y="3141154"/>
            <a:ext cx="1452172" cy="123111"/>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Opdatering af STÅ prognose</a:t>
            </a:r>
          </a:p>
        </p:txBody>
      </p:sp>
      <p:sp>
        <p:nvSpPr>
          <p:cNvPr id="53" name="Tekstfelt 52">
            <a:extLst>
              <a:ext uri="{FF2B5EF4-FFF2-40B4-BE49-F238E27FC236}">
                <a16:creationId xmlns:a16="http://schemas.microsoft.com/office/drawing/2014/main" id="{D50948E3-C0D7-3EFC-9078-C9395D235AFC}"/>
              </a:ext>
            </a:extLst>
          </p:cNvPr>
          <p:cNvSpPr txBox="1"/>
          <p:nvPr/>
        </p:nvSpPr>
        <p:spPr>
          <a:xfrm>
            <a:off x="10512620" y="3456832"/>
            <a:ext cx="1452172" cy="246221"/>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Indberetning til det statistiske beredskab</a:t>
            </a:r>
          </a:p>
        </p:txBody>
      </p:sp>
      <p:sp>
        <p:nvSpPr>
          <p:cNvPr id="54" name="Tekstfelt 53">
            <a:extLst>
              <a:ext uri="{FF2B5EF4-FFF2-40B4-BE49-F238E27FC236}">
                <a16:creationId xmlns:a16="http://schemas.microsoft.com/office/drawing/2014/main" id="{EA1201FA-FB12-BC36-8D79-409C1490C395}"/>
              </a:ext>
            </a:extLst>
          </p:cNvPr>
          <p:cNvSpPr txBox="1"/>
          <p:nvPr/>
        </p:nvSpPr>
        <p:spPr>
          <a:xfrm>
            <a:off x="10512620" y="3895619"/>
            <a:ext cx="1452172" cy="123111"/>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Rigsarkivet</a:t>
            </a:r>
          </a:p>
        </p:txBody>
      </p:sp>
      <p:cxnSp>
        <p:nvCxnSpPr>
          <p:cNvPr id="65" name="Lige forbindelse 64">
            <a:extLst>
              <a:ext uri="{FF2B5EF4-FFF2-40B4-BE49-F238E27FC236}">
                <a16:creationId xmlns:a16="http://schemas.microsoft.com/office/drawing/2014/main" id="{F1710832-B114-B0A5-E761-6A372C6E7BDC}"/>
              </a:ext>
            </a:extLst>
          </p:cNvPr>
          <p:cNvCxnSpPr/>
          <p:nvPr/>
        </p:nvCxnSpPr>
        <p:spPr bwMode="auto">
          <a:xfrm flipV="1">
            <a:off x="152400" y="2576020"/>
            <a:ext cx="11950700" cy="69119"/>
          </a:xfrm>
          <a:prstGeom prst="line">
            <a:avLst/>
          </a:pr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6" name="Tekstfelt 65">
            <a:extLst>
              <a:ext uri="{FF2B5EF4-FFF2-40B4-BE49-F238E27FC236}">
                <a16:creationId xmlns:a16="http://schemas.microsoft.com/office/drawing/2014/main" id="{2FC25DBB-7383-2DDB-A96C-014486B6B518}"/>
              </a:ext>
            </a:extLst>
          </p:cNvPr>
          <p:cNvSpPr txBox="1"/>
          <p:nvPr/>
        </p:nvSpPr>
        <p:spPr>
          <a:xfrm>
            <a:off x="100195" y="2117813"/>
            <a:ext cx="63054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000" b="1" i="0" u="none" strike="noStrike" kern="1200" cap="none" spc="0" normalizeH="0" baseline="0" noProof="0" dirty="0">
                <a:ln>
                  <a:noFill/>
                </a:ln>
                <a:solidFill>
                  <a:srgbClr val="000000"/>
                </a:solidFill>
                <a:effectLst/>
                <a:uLnTx/>
                <a:uFillTx/>
                <a:latin typeface="Arial"/>
                <a:ea typeface="+mn-ea"/>
                <a:cs typeface="+mn-cs"/>
              </a:rPr>
              <a:t>Hoved- proces</a:t>
            </a:r>
          </a:p>
        </p:txBody>
      </p:sp>
      <p:sp>
        <p:nvSpPr>
          <p:cNvPr id="67" name="Tekstfelt 66">
            <a:extLst>
              <a:ext uri="{FF2B5EF4-FFF2-40B4-BE49-F238E27FC236}">
                <a16:creationId xmlns:a16="http://schemas.microsoft.com/office/drawing/2014/main" id="{4D325208-0055-1964-275B-483335510BA0}"/>
              </a:ext>
            </a:extLst>
          </p:cNvPr>
          <p:cNvSpPr txBox="1"/>
          <p:nvPr/>
        </p:nvSpPr>
        <p:spPr>
          <a:xfrm>
            <a:off x="101366" y="2974939"/>
            <a:ext cx="629375" cy="307777"/>
          </a:xfrm>
          <a:prstGeom prst="rect">
            <a:avLst/>
          </a:prstGeom>
          <a:noFill/>
        </p:spPr>
        <p:txBody>
          <a:bodyPr wrap="square" lIns="0" tIns="0" rIns="0" bIns="0" rtlCol="0">
            <a:spAutoFit/>
          </a:bodyPr>
          <a:lstStyle>
            <a:defPPr>
              <a:defRPr lang="da-DK"/>
            </a:defPPr>
            <a:lvl1pPr>
              <a:spcBef>
                <a:spcPts val="432"/>
              </a:spcBef>
              <a:defRPr sz="1000" b="1"/>
            </a:lvl1p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000" b="1" i="0" u="none" strike="noStrike" kern="1200" cap="none" spc="0" normalizeH="0" baseline="0" noProof="0" dirty="0">
                <a:ln>
                  <a:noFill/>
                </a:ln>
                <a:solidFill>
                  <a:srgbClr val="000000"/>
                </a:solidFill>
                <a:effectLst/>
                <a:uLnTx/>
                <a:uFillTx/>
                <a:latin typeface="Arial"/>
                <a:ea typeface="+mn-ea"/>
                <a:cs typeface="+mn-cs"/>
              </a:rPr>
              <a:t>Del-processer</a:t>
            </a:r>
          </a:p>
        </p:txBody>
      </p:sp>
      <p:cxnSp>
        <p:nvCxnSpPr>
          <p:cNvPr id="68" name="Lige forbindelse 67">
            <a:extLst>
              <a:ext uri="{FF2B5EF4-FFF2-40B4-BE49-F238E27FC236}">
                <a16:creationId xmlns:a16="http://schemas.microsoft.com/office/drawing/2014/main" id="{965F5372-3B68-6BED-78D5-A73C205A119E}"/>
              </a:ext>
            </a:extLst>
          </p:cNvPr>
          <p:cNvCxnSpPr/>
          <p:nvPr/>
        </p:nvCxnSpPr>
        <p:spPr bwMode="auto">
          <a:xfrm>
            <a:off x="152400" y="1909035"/>
            <a:ext cx="11950700" cy="0"/>
          </a:xfrm>
          <a:prstGeom prst="line">
            <a:avLst/>
          </a:pr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2" name="Tekstfelt 71">
            <a:extLst>
              <a:ext uri="{FF2B5EF4-FFF2-40B4-BE49-F238E27FC236}">
                <a16:creationId xmlns:a16="http://schemas.microsoft.com/office/drawing/2014/main" id="{36A08323-DB39-B108-6165-CB54F81B2BCE}"/>
              </a:ext>
            </a:extLst>
          </p:cNvPr>
          <p:cNvSpPr txBox="1"/>
          <p:nvPr/>
        </p:nvSpPr>
        <p:spPr>
          <a:xfrm>
            <a:off x="9080336" y="2109222"/>
            <a:ext cx="1161077" cy="27699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srgbClr val="000000"/>
                </a:solidFill>
                <a:effectLst/>
                <a:uLnTx/>
                <a:uFillTx/>
                <a:latin typeface="Arial"/>
                <a:ea typeface="+mn-ea"/>
                <a:cs typeface="+mn-cs"/>
              </a:rPr>
              <a:t>Kommunikation og vejledning</a:t>
            </a:r>
          </a:p>
        </p:txBody>
      </p:sp>
      <p:sp>
        <p:nvSpPr>
          <p:cNvPr id="73" name="Tekstfelt 72">
            <a:extLst>
              <a:ext uri="{FF2B5EF4-FFF2-40B4-BE49-F238E27FC236}">
                <a16:creationId xmlns:a16="http://schemas.microsoft.com/office/drawing/2014/main" id="{4CA5C9DE-F21C-32BB-F312-FA3D85DD10BF}"/>
              </a:ext>
            </a:extLst>
          </p:cNvPr>
          <p:cNvSpPr txBox="1"/>
          <p:nvPr/>
        </p:nvSpPr>
        <p:spPr>
          <a:xfrm>
            <a:off x="10477486" y="1924556"/>
            <a:ext cx="157446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900" b="1" i="0" u="none" strike="noStrike" kern="1200" cap="none" spc="0" normalizeH="0" baseline="0" noProof="0" dirty="0">
                <a:ln>
                  <a:noFill/>
                </a:ln>
                <a:solidFill>
                  <a:srgbClr val="000000"/>
                </a:solidFill>
                <a:effectLst/>
                <a:uLnTx/>
                <a:uFillTx/>
                <a:latin typeface="Arial"/>
                <a:ea typeface="+mn-ea"/>
                <a:cs typeface="+mn-cs"/>
              </a:rPr>
              <a:t>Indberetning til indberetningsmyndighed og sammenhæng med nationale integrationer</a:t>
            </a:r>
          </a:p>
        </p:txBody>
      </p:sp>
      <p:sp>
        <p:nvSpPr>
          <p:cNvPr id="82" name="Tekstfelt 81">
            <a:extLst>
              <a:ext uri="{FF2B5EF4-FFF2-40B4-BE49-F238E27FC236}">
                <a16:creationId xmlns:a16="http://schemas.microsoft.com/office/drawing/2014/main" id="{CC8F5F28-3E40-22C8-FA96-02C5EA01CB6F}"/>
              </a:ext>
            </a:extLst>
          </p:cNvPr>
          <p:cNvSpPr txBox="1"/>
          <p:nvPr/>
        </p:nvSpPr>
        <p:spPr>
          <a:xfrm>
            <a:off x="923191" y="2818123"/>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Opret / rediger uddannelse</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3" name="Tekstfelt 82">
            <a:extLst>
              <a:ext uri="{FF2B5EF4-FFF2-40B4-BE49-F238E27FC236}">
                <a16:creationId xmlns:a16="http://schemas.microsoft.com/office/drawing/2014/main" id="{1482D799-C854-3F06-8E55-848003DA8DB0}"/>
              </a:ext>
            </a:extLst>
          </p:cNvPr>
          <p:cNvSpPr txBox="1"/>
          <p:nvPr/>
        </p:nvSpPr>
        <p:spPr>
          <a:xfrm>
            <a:off x="923191" y="3206775"/>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Udarbejd studieordning og uddannelsesstruktu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84" name="Tekstfelt 83">
            <a:extLst>
              <a:ext uri="{FF2B5EF4-FFF2-40B4-BE49-F238E27FC236}">
                <a16:creationId xmlns:a16="http://schemas.microsoft.com/office/drawing/2014/main" id="{1577ECA3-A818-1042-C9C0-0BF2E1330362}"/>
              </a:ext>
            </a:extLst>
          </p:cNvPr>
          <p:cNvSpPr txBox="1"/>
          <p:nvPr/>
        </p:nvSpPr>
        <p:spPr>
          <a:xfrm>
            <a:off x="923191" y="3733926"/>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Gør studieordning offentlig tilgængelig</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5" name="Tekstfelt 84">
            <a:extLst>
              <a:ext uri="{FF2B5EF4-FFF2-40B4-BE49-F238E27FC236}">
                <a16:creationId xmlns:a16="http://schemas.microsoft.com/office/drawing/2014/main" id="{757B1420-93CD-FB24-CE91-CB2E875EBF41}"/>
              </a:ext>
            </a:extLst>
          </p:cNvPr>
          <p:cNvSpPr txBox="1"/>
          <p:nvPr/>
        </p:nvSpPr>
        <p:spPr>
          <a:xfrm>
            <a:off x="923191" y="4122578"/>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Input fra VIP indhentet</a:t>
            </a:r>
            <a:endParaRPr kumimoji="0" lang="da-DK" sz="800" b="0" i="1"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86" name="Tekstfelt 85">
            <a:extLst>
              <a:ext uri="{FF2B5EF4-FFF2-40B4-BE49-F238E27FC236}">
                <a16:creationId xmlns:a16="http://schemas.microsoft.com/office/drawing/2014/main" id="{7798DC87-2D5D-A83D-52C6-55AD20CA31D7}"/>
              </a:ext>
            </a:extLst>
          </p:cNvPr>
          <p:cNvSpPr txBox="1"/>
          <p:nvPr/>
        </p:nvSpPr>
        <p:spPr>
          <a:xfrm>
            <a:off x="923191" y="4511230"/>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Input returneret</a:t>
            </a:r>
            <a:endParaRPr kumimoji="0" lang="da-DK" sz="800" b="0" i="1"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87" name="Tekstfelt 86">
            <a:extLst>
              <a:ext uri="{FF2B5EF4-FFF2-40B4-BE49-F238E27FC236}">
                <a16:creationId xmlns:a16="http://schemas.microsoft.com/office/drawing/2014/main" id="{A15FE8AB-AE48-563B-2C5E-F75276B1112B}"/>
              </a:ext>
            </a:extLst>
          </p:cNvPr>
          <p:cNvSpPr txBox="1"/>
          <p:nvPr/>
        </p:nvSpPr>
        <p:spPr>
          <a:xfrm>
            <a:off x="923191" y="4761382"/>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Udarbejd kursusbeskrivels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88" name="Tekstfelt 87">
            <a:extLst>
              <a:ext uri="{FF2B5EF4-FFF2-40B4-BE49-F238E27FC236}">
                <a16:creationId xmlns:a16="http://schemas.microsoft.com/office/drawing/2014/main" id="{DF1992DC-B56F-EE74-73C3-985689342AD0}"/>
              </a:ext>
            </a:extLst>
          </p:cNvPr>
          <p:cNvSpPr txBox="1"/>
          <p:nvPr/>
        </p:nvSpPr>
        <p:spPr>
          <a:xfrm>
            <a:off x="923191" y="5150033"/>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Gør kursusbeskrivelse offentlig tilgængeli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0" name="Tekstfelt 89">
            <a:extLst>
              <a:ext uri="{FF2B5EF4-FFF2-40B4-BE49-F238E27FC236}">
                <a16:creationId xmlns:a16="http://schemas.microsoft.com/office/drawing/2014/main" id="{21E4CCA1-2AE3-2C93-AEEF-C3D50686B57C}"/>
              </a:ext>
            </a:extLst>
          </p:cNvPr>
          <p:cNvSpPr txBox="1"/>
          <p:nvPr/>
        </p:nvSpPr>
        <p:spPr>
          <a:xfrm>
            <a:off x="2463912" y="2657356"/>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Forbered optag</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1" name="Tekstfelt 90">
            <a:extLst>
              <a:ext uri="{FF2B5EF4-FFF2-40B4-BE49-F238E27FC236}">
                <a16:creationId xmlns:a16="http://schemas.microsoft.com/office/drawing/2014/main" id="{A341F2A6-855E-43AE-626C-3BAD9DBCBB4C}"/>
              </a:ext>
            </a:extLst>
          </p:cNvPr>
          <p:cNvSpPr txBox="1"/>
          <p:nvPr/>
        </p:nvSpPr>
        <p:spPr>
          <a:xfrm>
            <a:off x="2463912" y="2878116"/>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Sagsbehandl ansøgninger</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92" name="Tekstfelt 91">
            <a:extLst>
              <a:ext uri="{FF2B5EF4-FFF2-40B4-BE49-F238E27FC236}">
                <a16:creationId xmlns:a16="http://schemas.microsoft.com/office/drawing/2014/main" id="{1CDB6BDD-B3DA-FFCC-BA6B-4B1C9C002E77}"/>
              </a:ext>
            </a:extLst>
          </p:cNvPr>
          <p:cNvSpPr txBox="1"/>
          <p:nvPr/>
        </p:nvSpPr>
        <p:spPr>
          <a:xfrm>
            <a:off x="2463912" y="3221986"/>
            <a:ext cx="1234266"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oretag faglig vurdering og evt. pointtilde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3" name="Tekstfelt 92">
            <a:extLst>
              <a:ext uri="{FF2B5EF4-FFF2-40B4-BE49-F238E27FC236}">
                <a16:creationId xmlns:a16="http://schemas.microsoft.com/office/drawing/2014/main" id="{1EB27DC8-EBEE-1664-B61A-B17AFC0E931D}"/>
              </a:ext>
            </a:extLst>
          </p:cNvPr>
          <p:cNvSpPr txBox="1"/>
          <p:nvPr/>
        </p:nvSpPr>
        <p:spPr>
          <a:xfrm>
            <a:off x="2463912" y="3565856"/>
            <a:ext cx="1456090"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oretag studiepladsforde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4" name="Tekstfelt 93">
            <a:extLst>
              <a:ext uri="{FF2B5EF4-FFF2-40B4-BE49-F238E27FC236}">
                <a16:creationId xmlns:a16="http://schemas.microsoft.com/office/drawing/2014/main" id="{2D80EF29-0235-2ABD-49A9-98CF85133303}"/>
              </a:ext>
            </a:extLst>
          </p:cNvPr>
          <p:cNvSpPr txBox="1"/>
          <p:nvPr/>
        </p:nvSpPr>
        <p:spPr>
          <a:xfrm>
            <a:off x="2463912" y="3786616"/>
            <a:ext cx="913850"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Send afgørelse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5" name="Tekstfelt 94">
            <a:extLst>
              <a:ext uri="{FF2B5EF4-FFF2-40B4-BE49-F238E27FC236}">
                <a16:creationId xmlns:a16="http://schemas.microsoft.com/office/drawing/2014/main" id="{C70C27CE-63EB-3340-71EC-E29CE362DC9D}"/>
              </a:ext>
            </a:extLst>
          </p:cNvPr>
          <p:cNvSpPr txBox="1"/>
          <p:nvPr/>
        </p:nvSpPr>
        <p:spPr>
          <a:xfrm>
            <a:off x="2463912" y="4007376"/>
            <a:ext cx="1462077"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Indskriv og </a:t>
            </a:r>
            <a:r>
              <a:rPr kumimoji="0" lang="da-DK" sz="800" b="0" i="0" u="none" strike="noStrike" kern="1200" cap="none" spc="0" normalizeH="0" baseline="0" noProof="0" err="1">
                <a:ln>
                  <a:noFill/>
                </a:ln>
                <a:solidFill>
                  <a:srgbClr val="000000"/>
                </a:solidFill>
                <a:effectLst/>
                <a:uLnTx/>
                <a:uFillTx/>
                <a:latin typeface="Arial"/>
                <a:ea typeface="+mn-ea"/>
                <a:cs typeface="+mn-cs"/>
              </a:rPr>
              <a:t>onboard</a:t>
            </a:r>
            <a:r>
              <a:rPr kumimoji="0" lang="da-DK" sz="800" b="0" i="0" u="none" strike="noStrike" kern="1200" cap="none" spc="0" normalizeH="0" baseline="0" noProof="0">
                <a:ln>
                  <a:noFill/>
                </a:ln>
                <a:solidFill>
                  <a:srgbClr val="000000"/>
                </a:solidFill>
                <a:effectLst/>
                <a:uLnTx/>
                <a:uFillTx/>
                <a:latin typeface="Arial"/>
                <a:ea typeface="+mn-ea"/>
                <a:cs typeface="+mn-cs"/>
              </a:rPr>
              <a:t> ansøge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6" name="Tekstfelt 95">
            <a:extLst>
              <a:ext uri="{FF2B5EF4-FFF2-40B4-BE49-F238E27FC236}">
                <a16:creationId xmlns:a16="http://schemas.microsoft.com/office/drawing/2014/main" id="{9408E78F-74F9-5C65-CA92-3ADDBE783057}"/>
              </a:ext>
            </a:extLst>
          </p:cNvPr>
          <p:cNvSpPr txBox="1"/>
          <p:nvPr/>
        </p:nvSpPr>
        <p:spPr>
          <a:xfrm>
            <a:off x="2463912" y="4228136"/>
            <a:ext cx="1502238"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ølg op på evt. ledige pladse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7" name="Tekstfelt 96">
            <a:extLst>
              <a:ext uri="{FF2B5EF4-FFF2-40B4-BE49-F238E27FC236}">
                <a16:creationId xmlns:a16="http://schemas.microsoft.com/office/drawing/2014/main" id="{22E07B98-E5FB-5B4C-B0ED-437C7C2ACDC3}"/>
              </a:ext>
            </a:extLst>
          </p:cNvPr>
          <p:cNvSpPr txBox="1"/>
          <p:nvPr/>
        </p:nvSpPr>
        <p:spPr>
          <a:xfrm>
            <a:off x="2463912" y="4448893"/>
            <a:ext cx="150328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ølg op på betinget optagede ansøger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99" name="Tekstfelt 98">
            <a:extLst>
              <a:ext uri="{FF2B5EF4-FFF2-40B4-BE49-F238E27FC236}">
                <a16:creationId xmlns:a16="http://schemas.microsoft.com/office/drawing/2014/main" id="{27A6F976-A1F4-66CB-3EDC-3C1C5ACAC996}"/>
              </a:ext>
            </a:extLst>
          </p:cNvPr>
          <p:cNvSpPr txBox="1"/>
          <p:nvPr/>
        </p:nvSpPr>
        <p:spPr>
          <a:xfrm>
            <a:off x="2444664" y="5486241"/>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Opsæt beta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00" name="Tekstfelt 99">
            <a:extLst>
              <a:ext uri="{FF2B5EF4-FFF2-40B4-BE49-F238E27FC236}">
                <a16:creationId xmlns:a16="http://schemas.microsoft.com/office/drawing/2014/main" id="{22288718-36BC-DC57-5AC5-681845844E0E}"/>
              </a:ext>
            </a:extLst>
          </p:cNvPr>
          <p:cNvSpPr txBox="1"/>
          <p:nvPr/>
        </p:nvSpPr>
        <p:spPr>
          <a:xfrm>
            <a:off x="2446228" y="5718503"/>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Opkræv beta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01" name="Tekstfelt 100">
            <a:extLst>
              <a:ext uri="{FF2B5EF4-FFF2-40B4-BE49-F238E27FC236}">
                <a16:creationId xmlns:a16="http://schemas.microsoft.com/office/drawing/2014/main" id="{8052D60F-9B40-FD70-9579-919480819A8F}"/>
              </a:ext>
            </a:extLst>
          </p:cNvPr>
          <p:cNvSpPr txBox="1"/>
          <p:nvPr/>
        </p:nvSpPr>
        <p:spPr>
          <a:xfrm>
            <a:off x="2446228" y="5950765"/>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oretag betalin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02" name="Tekstfelt 101">
            <a:extLst>
              <a:ext uri="{FF2B5EF4-FFF2-40B4-BE49-F238E27FC236}">
                <a16:creationId xmlns:a16="http://schemas.microsoft.com/office/drawing/2014/main" id="{97C9721E-3641-3671-34BC-1CA9387E3243}"/>
              </a:ext>
            </a:extLst>
          </p:cNvPr>
          <p:cNvSpPr txBox="1"/>
          <p:nvPr/>
        </p:nvSpPr>
        <p:spPr>
          <a:xfrm>
            <a:off x="2446228" y="6161254"/>
            <a:ext cx="1492894"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Afmeld fagelement eller udmeld studerende</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cxnSp>
        <p:nvCxnSpPr>
          <p:cNvPr id="103" name="Lige forbindelse 102">
            <a:extLst>
              <a:ext uri="{FF2B5EF4-FFF2-40B4-BE49-F238E27FC236}">
                <a16:creationId xmlns:a16="http://schemas.microsoft.com/office/drawing/2014/main" id="{64C12B66-8744-EF0A-E9C9-A280149C18D0}"/>
              </a:ext>
            </a:extLst>
          </p:cNvPr>
          <p:cNvCxnSpPr/>
          <p:nvPr/>
        </p:nvCxnSpPr>
        <p:spPr bwMode="auto">
          <a:xfrm>
            <a:off x="2425237" y="5371793"/>
            <a:ext cx="1437731" cy="0"/>
          </a:xfrm>
          <a:prstGeom prst="line">
            <a:avLst/>
          </a:prstGeom>
          <a:solidFill>
            <a:schemeClr val="accent1"/>
          </a:solidFill>
          <a:ln w="952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4" name="Tekstfelt 103">
            <a:extLst>
              <a:ext uri="{FF2B5EF4-FFF2-40B4-BE49-F238E27FC236}">
                <a16:creationId xmlns:a16="http://schemas.microsoft.com/office/drawing/2014/main" id="{E5607298-1D21-F48F-416B-A9B48F99E6E8}"/>
              </a:ext>
            </a:extLst>
          </p:cNvPr>
          <p:cNvSpPr txBox="1"/>
          <p:nvPr/>
        </p:nvSpPr>
        <p:spPr>
          <a:xfrm>
            <a:off x="2345563" y="5185110"/>
            <a:ext cx="779447" cy="215444"/>
          </a:xfrm>
          <a:prstGeom prst="rect">
            <a:avLst/>
          </a:prstGeom>
          <a:noFill/>
        </p:spPr>
        <p:txBody>
          <a:bodyPr wrap="square">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1" i="0" u="none" strike="noStrike" kern="1200" cap="none" spc="0" normalizeH="0" baseline="0" noProof="0">
                <a:ln>
                  <a:noFill/>
                </a:ln>
                <a:solidFill>
                  <a:srgbClr val="000000"/>
                </a:solidFill>
                <a:effectLst/>
                <a:uLnTx/>
                <a:uFillTx/>
                <a:latin typeface="Arial"/>
                <a:ea typeface="+mn-ea"/>
                <a:cs typeface="+mn-cs"/>
              </a:rPr>
              <a:t>Betaling</a:t>
            </a:r>
          </a:p>
        </p:txBody>
      </p:sp>
      <p:sp>
        <p:nvSpPr>
          <p:cNvPr id="115" name="Tekstfelt 114">
            <a:extLst>
              <a:ext uri="{FF2B5EF4-FFF2-40B4-BE49-F238E27FC236}">
                <a16:creationId xmlns:a16="http://schemas.microsoft.com/office/drawing/2014/main" id="{77E55338-1DB1-4504-2DBA-AEF216C7AF63}"/>
              </a:ext>
            </a:extLst>
          </p:cNvPr>
          <p:cNvSpPr txBox="1"/>
          <p:nvPr/>
        </p:nvSpPr>
        <p:spPr>
          <a:xfrm>
            <a:off x="4120633" y="2707677"/>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Klargør fagelementudbud</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16" name="Tekstfelt 115">
            <a:extLst>
              <a:ext uri="{FF2B5EF4-FFF2-40B4-BE49-F238E27FC236}">
                <a16:creationId xmlns:a16="http://schemas.microsoft.com/office/drawing/2014/main" id="{B3E7C08D-BEAA-A5FF-1A2A-AA498D6E0EBD}"/>
              </a:ext>
            </a:extLst>
          </p:cNvPr>
          <p:cNvSpPr txBox="1"/>
          <p:nvPr/>
        </p:nvSpPr>
        <p:spPr>
          <a:xfrm>
            <a:off x="4120633" y="3058158"/>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ind og tilmeld studerend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17" name="Tekstfelt 116">
            <a:extLst>
              <a:ext uri="{FF2B5EF4-FFF2-40B4-BE49-F238E27FC236}">
                <a16:creationId xmlns:a16="http://schemas.microsoft.com/office/drawing/2014/main" id="{169AB4E2-E364-22D7-C96B-E74B75EAC2C5}"/>
              </a:ext>
            </a:extLst>
          </p:cNvPr>
          <p:cNvSpPr txBox="1"/>
          <p:nvPr/>
        </p:nvSpPr>
        <p:spPr>
          <a:xfrm>
            <a:off x="4120633" y="3408639"/>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oretag tilmelding (stud.)</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18" name="Tekstfelt 117">
            <a:extLst>
              <a:ext uri="{FF2B5EF4-FFF2-40B4-BE49-F238E27FC236}">
                <a16:creationId xmlns:a16="http://schemas.microsoft.com/office/drawing/2014/main" id="{5645720E-5740-ADED-59F5-7A96A2A38FC0}"/>
              </a:ext>
            </a:extLst>
          </p:cNvPr>
          <p:cNvSpPr txBox="1"/>
          <p:nvPr/>
        </p:nvSpPr>
        <p:spPr>
          <a:xfrm>
            <a:off x="4120633" y="3759120"/>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dirty="0">
                <a:ln>
                  <a:noFill/>
                </a:ln>
                <a:solidFill>
                  <a:srgbClr val="000000"/>
                </a:solidFill>
                <a:effectLst/>
                <a:uLnTx/>
                <a:uFillTx/>
                <a:latin typeface="Arial"/>
                <a:ea typeface="+mn-ea"/>
                <a:cs typeface="+mn-cs"/>
              </a:rPr>
              <a:t>Tjek uddannelsesregler (løsningen)</a:t>
            </a:r>
            <a:endParaRPr kumimoji="0" lang="da-DK" sz="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119" name="Tekstfelt 118">
            <a:extLst>
              <a:ext uri="{FF2B5EF4-FFF2-40B4-BE49-F238E27FC236}">
                <a16:creationId xmlns:a16="http://schemas.microsoft.com/office/drawing/2014/main" id="{1D94A481-30DB-30C7-E672-0D1B33469165}"/>
              </a:ext>
            </a:extLst>
          </p:cNvPr>
          <p:cNvSpPr txBox="1"/>
          <p:nvPr/>
        </p:nvSpPr>
        <p:spPr>
          <a:xfrm>
            <a:off x="4120633" y="4109601"/>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Tildel plads</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0" name="Tekstfelt 119">
            <a:extLst>
              <a:ext uri="{FF2B5EF4-FFF2-40B4-BE49-F238E27FC236}">
                <a16:creationId xmlns:a16="http://schemas.microsoft.com/office/drawing/2014/main" id="{F2402702-D58A-A698-64BF-E91E482CF85E}"/>
              </a:ext>
            </a:extLst>
          </p:cNvPr>
          <p:cNvSpPr txBox="1"/>
          <p:nvPr/>
        </p:nvSpPr>
        <p:spPr>
          <a:xfrm>
            <a:off x="4120633" y="4336972"/>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Tjek forudsætningskrav (løsningen)</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1" name="Tekstfelt 120">
            <a:extLst>
              <a:ext uri="{FF2B5EF4-FFF2-40B4-BE49-F238E27FC236}">
                <a16:creationId xmlns:a16="http://schemas.microsoft.com/office/drawing/2014/main" id="{F837187A-48DC-7B56-5B83-A401AB37840E}"/>
              </a:ext>
            </a:extLst>
          </p:cNvPr>
          <p:cNvSpPr txBox="1"/>
          <p:nvPr/>
        </p:nvSpPr>
        <p:spPr>
          <a:xfrm>
            <a:off x="4120633" y="4687453"/>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Registrér resultat</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2" name="Tekstfelt 121">
            <a:extLst>
              <a:ext uri="{FF2B5EF4-FFF2-40B4-BE49-F238E27FC236}">
                <a16:creationId xmlns:a16="http://schemas.microsoft.com/office/drawing/2014/main" id="{F948BA55-F064-E30C-B023-4CCB443BDD4A}"/>
              </a:ext>
            </a:extLst>
          </p:cNvPr>
          <p:cNvSpPr txBox="1"/>
          <p:nvPr/>
        </p:nvSpPr>
        <p:spPr>
          <a:xfrm>
            <a:off x="4120633" y="4914824"/>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Opsæt evaluering og send til studerend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3" name="Tekstfelt 122">
            <a:extLst>
              <a:ext uri="{FF2B5EF4-FFF2-40B4-BE49-F238E27FC236}">
                <a16:creationId xmlns:a16="http://schemas.microsoft.com/office/drawing/2014/main" id="{93D9678B-59D4-8023-CFA0-F7DD7212EAC0}"/>
              </a:ext>
            </a:extLst>
          </p:cNvPr>
          <p:cNvSpPr txBox="1"/>
          <p:nvPr/>
        </p:nvSpPr>
        <p:spPr>
          <a:xfrm>
            <a:off x="4120633" y="5265308"/>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Evaluer fagelement (stud.)</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5" name="Tekstfelt 124">
            <a:extLst>
              <a:ext uri="{FF2B5EF4-FFF2-40B4-BE49-F238E27FC236}">
                <a16:creationId xmlns:a16="http://schemas.microsoft.com/office/drawing/2014/main" id="{22DF18A2-DDD0-E623-8875-1D81AC90CC42}"/>
              </a:ext>
            </a:extLst>
          </p:cNvPr>
          <p:cNvSpPr txBox="1"/>
          <p:nvPr/>
        </p:nvSpPr>
        <p:spPr>
          <a:xfrm>
            <a:off x="5752532" y="2712130"/>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Behandl studentersag</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6" name="Tekstfelt 125">
            <a:extLst>
              <a:ext uri="{FF2B5EF4-FFF2-40B4-BE49-F238E27FC236}">
                <a16:creationId xmlns:a16="http://schemas.microsoft.com/office/drawing/2014/main" id="{B9D721F9-FE47-0BF4-A691-429F4F795EFA}"/>
              </a:ext>
            </a:extLst>
          </p:cNvPr>
          <p:cNvSpPr txBox="1"/>
          <p:nvPr/>
        </p:nvSpPr>
        <p:spPr>
          <a:xfrm>
            <a:off x="5752532" y="3035185"/>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oretag faglig vurdering (VIP)</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7" name="Tekstfelt 126">
            <a:extLst>
              <a:ext uri="{FF2B5EF4-FFF2-40B4-BE49-F238E27FC236}">
                <a16:creationId xmlns:a16="http://schemas.microsoft.com/office/drawing/2014/main" id="{DA845950-A7A0-0EB0-88DE-A5752D611BFF}"/>
              </a:ext>
            </a:extLst>
          </p:cNvPr>
          <p:cNvSpPr txBox="1"/>
          <p:nvPr/>
        </p:nvSpPr>
        <p:spPr>
          <a:xfrm>
            <a:off x="5752532" y="3481350"/>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Udarbejd afgørelsessva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8" name="Tekstfelt 127">
            <a:extLst>
              <a:ext uri="{FF2B5EF4-FFF2-40B4-BE49-F238E27FC236}">
                <a16:creationId xmlns:a16="http://schemas.microsoft.com/office/drawing/2014/main" id="{1E595DB0-B1F1-8B74-DE6A-58C5BA2ABE29}"/>
              </a:ext>
            </a:extLst>
          </p:cNvPr>
          <p:cNvSpPr txBox="1"/>
          <p:nvPr/>
        </p:nvSpPr>
        <p:spPr>
          <a:xfrm>
            <a:off x="5752532" y="3927515"/>
            <a:ext cx="1092025"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Udarbejd afgørelsessvar</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29" name="Tekstfelt 128">
            <a:extLst>
              <a:ext uri="{FF2B5EF4-FFF2-40B4-BE49-F238E27FC236}">
                <a16:creationId xmlns:a16="http://schemas.microsoft.com/office/drawing/2014/main" id="{B14DBA0C-465F-1C4E-DC8F-7B2BEE2E85A4}"/>
              </a:ext>
            </a:extLst>
          </p:cNvPr>
          <p:cNvSpPr txBox="1"/>
          <p:nvPr/>
        </p:nvSpPr>
        <p:spPr>
          <a:xfrm>
            <a:off x="5752532" y="4373680"/>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Registrer afgørelse</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1" name="Tekstfelt 130">
            <a:extLst>
              <a:ext uri="{FF2B5EF4-FFF2-40B4-BE49-F238E27FC236}">
                <a16:creationId xmlns:a16="http://schemas.microsoft.com/office/drawing/2014/main" id="{8ED1134D-60EC-3EFC-1A17-54CC41CD0D28}"/>
              </a:ext>
            </a:extLst>
          </p:cNvPr>
          <p:cNvSpPr txBox="1"/>
          <p:nvPr/>
        </p:nvSpPr>
        <p:spPr>
          <a:xfrm>
            <a:off x="7353794" y="2763045"/>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Dan bevis</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2" name="Tekstfelt 131">
            <a:extLst>
              <a:ext uri="{FF2B5EF4-FFF2-40B4-BE49-F238E27FC236}">
                <a16:creationId xmlns:a16="http://schemas.microsoft.com/office/drawing/2014/main" id="{0AA473EA-634D-80BD-32A8-98C157AEC30F}"/>
              </a:ext>
            </a:extLst>
          </p:cNvPr>
          <p:cNvSpPr txBox="1"/>
          <p:nvPr/>
        </p:nvSpPr>
        <p:spPr>
          <a:xfrm>
            <a:off x="7353794" y="3048554"/>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Foretag kvalitetstjek</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3" name="Tekstfelt 132">
            <a:extLst>
              <a:ext uri="{FF2B5EF4-FFF2-40B4-BE49-F238E27FC236}">
                <a16:creationId xmlns:a16="http://schemas.microsoft.com/office/drawing/2014/main" id="{9449C301-F735-4462-01C8-3A00806FC7A3}"/>
              </a:ext>
            </a:extLst>
          </p:cNvPr>
          <p:cNvSpPr txBox="1"/>
          <p:nvPr/>
        </p:nvSpPr>
        <p:spPr>
          <a:xfrm>
            <a:off x="7353794" y="3334063"/>
            <a:ext cx="1092025" cy="12311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Distribuer bevis</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4" name="Tekstfelt 133">
            <a:extLst>
              <a:ext uri="{FF2B5EF4-FFF2-40B4-BE49-F238E27FC236}">
                <a16:creationId xmlns:a16="http://schemas.microsoft.com/office/drawing/2014/main" id="{24E411CC-A4C8-BE7D-D53B-DB905B46F322}"/>
              </a:ext>
            </a:extLst>
          </p:cNvPr>
          <p:cNvSpPr txBox="1"/>
          <p:nvPr/>
        </p:nvSpPr>
        <p:spPr>
          <a:xfrm>
            <a:off x="7353794" y="3619572"/>
            <a:ext cx="1218411" cy="246221"/>
          </a:xfrm>
          <a:prstGeom prst="rect">
            <a:avLst/>
          </a:prstGeom>
          <a:noFill/>
        </p:spPr>
        <p:txBody>
          <a:bodyPr wrap="square" lIns="0" tIns="0" rIns="0" bIns="0"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Afbryd studerendes studieforløb (stud / TAP)</a:t>
            </a:r>
            <a:endParaRPr kumimoji="0" lang="da-DK" sz="8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
        <p:nvSpPr>
          <p:cNvPr id="135" name="Tekstfelt 134">
            <a:extLst>
              <a:ext uri="{FF2B5EF4-FFF2-40B4-BE49-F238E27FC236}">
                <a16:creationId xmlns:a16="http://schemas.microsoft.com/office/drawing/2014/main" id="{042460DE-6A9D-3E4C-F828-72AB3913D24D}"/>
              </a:ext>
            </a:extLst>
          </p:cNvPr>
          <p:cNvSpPr txBox="1"/>
          <p:nvPr/>
        </p:nvSpPr>
        <p:spPr>
          <a:xfrm>
            <a:off x="8899249" y="3530151"/>
            <a:ext cx="137793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Automatiseringer</a:t>
            </a: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139" name="Tekstfelt 138">
            <a:extLst>
              <a:ext uri="{FF2B5EF4-FFF2-40B4-BE49-F238E27FC236}">
                <a16:creationId xmlns:a16="http://schemas.microsoft.com/office/drawing/2014/main" id="{75CBBF00-3B94-0E19-44C1-CB4D7677E759}"/>
              </a:ext>
            </a:extLst>
          </p:cNvPr>
          <p:cNvSpPr txBox="1"/>
          <p:nvPr/>
        </p:nvSpPr>
        <p:spPr>
          <a:xfrm>
            <a:off x="8899249" y="4083389"/>
            <a:ext cx="141459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Vejledning henvendt til studievejledning</a:t>
            </a:r>
            <a:endParaRPr kumimoji="0" lang="da-DK" sz="1400" b="0" i="0" u="none" strike="noStrike" kern="1200" cap="none" spc="0" normalizeH="0" baseline="0" noProof="0">
              <a:ln>
                <a:noFill/>
              </a:ln>
              <a:solidFill>
                <a:srgbClr val="000000"/>
              </a:solidFill>
              <a:effectLst/>
              <a:uLnTx/>
              <a:uFillTx/>
              <a:latin typeface="Arial"/>
              <a:ea typeface="+mn-ea"/>
              <a:cs typeface="+mn-cs"/>
            </a:endParaRPr>
          </a:p>
        </p:txBody>
      </p:sp>
      <p:sp>
        <p:nvSpPr>
          <p:cNvPr id="140" name="Tekstfelt 139">
            <a:extLst>
              <a:ext uri="{FF2B5EF4-FFF2-40B4-BE49-F238E27FC236}">
                <a16:creationId xmlns:a16="http://schemas.microsoft.com/office/drawing/2014/main" id="{7AD8798C-D764-C80A-FBAF-425D840D1AC1}"/>
              </a:ext>
            </a:extLst>
          </p:cNvPr>
          <p:cNvSpPr txBox="1"/>
          <p:nvPr/>
        </p:nvSpPr>
        <p:spPr>
          <a:xfrm>
            <a:off x="8899249" y="3806770"/>
            <a:ext cx="1377934" cy="12311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Manuel ved behov</a:t>
            </a:r>
            <a:endParaRPr kumimoji="0" lang="da-DK" sz="1200" b="0" i="0" u="none" strike="noStrike" kern="1200" cap="none" spc="0" normalizeH="0" baseline="0" noProof="0">
              <a:ln>
                <a:noFill/>
              </a:ln>
              <a:solidFill>
                <a:srgbClr val="000000"/>
              </a:solidFill>
              <a:effectLst/>
              <a:uLnTx/>
              <a:uFillTx/>
              <a:latin typeface="Arial"/>
              <a:ea typeface="+mn-ea"/>
              <a:cs typeface="+mn-cs"/>
            </a:endParaRPr>
          </a:p>
        </p:txBody>
      </p:sp>
      <p:sp>
        <p:nvSpPr>
          <p:cNvPr id="141" name="Tekstfelt 140">
            <a:extLst>
              <a:ext uri="{FF2B5EF4-FFF2-40B4-BE49-F238E27FC236}">
                <a16:creationId xmlns:a16="http://schemas.microsoft.com/office/drawing/2014/main" id="{B938C31B-0768-966A-0F5C-722637093EC1}"/>
              </a:ext>
            </a:extLst>
          </p:cNvPr>
          <p:cNvSpPr txBox="1"/>
          <p:nvPr/>
        </p:nvSpPr>
        <p:spPr>
          <a:xfrm>
            <a:off x="8899249" y="4483118"/>
            <a:ext cx="141459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Vejledning henvendt til akademisk vejleder</a:t>
            </a:r>
            <a:endParaRPr kumimoji="0" lang="da-DK" sz="1400" b="0" i="0" u="none" strike="noStrike" kern="1200" cap="none" spc="0" normalizeH="0" baseline="0" noProof="0">
              <a:ln>
                <a:noFill/>
              </a:ln>
              <a:solidFill>
                <a:srgbClr val="000000"/>
              </a:solidFill>
              <a:effectLst/>
              <a:uLnTx/>
              <a:uFillTx/>
              <a:latin typeface="Arial"/>
              <a:ea typeface="+mn-ea"/>
              <a:cs typeface="+mn-cs"/>
            </a:endParaRPr>
          </a:p>
        </p:txBody>
      </p:sp>
      <p:sp>
        <p:nvSpPr>
          <p:cNvPr id="143" name="Tekstfelt 142">
            <a:extLst>
              <a:ext uri="{FF2B5EF4-FFF2-40B4-BE49-F238E27FC236}">
                <a16:creationId xmlns:a16="http://schemas.microsoft.com/office/drawing/2014/main" id="{6FAECDE0-D906-47A5-9F26-FA5C67E8525F}"/>
              </a:ext>
            </a:extLst>
          </p:cNvPr>
          <p:cNvSpPr txBox="1"/>
          <p:nvPr/>
        </p:nvSpPr>
        <p:spPr>
          <a:xfrm>
            <a:off x="8899249" y="4882845"/>
            <a:ext cx="1414598"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Vejledning henvendt til studieadministrativ vejledning</a:t>
            </a:r>
            <a:endParaRPr kumimoji="0" lang="da-DK" sz="1400" b="0" i="0" u="none" strike="noStrike" kern="1200" cap="none" spc="0" normalizeH="0" baseline="0" noProof="0">
              <a:ln>
                <a:noFill/>
              </a:ln>
              <a:solidFill>
                <a:srgbClr val="000000"/>
              </a:solidFill>
              <a:effectLst/>
              <a:uLnTx/>
              <a:uFillTx/>
              <a:latin typeface="Arial"/>
              <a:ea typeface="+mn-ea"/>
              <a:cs typeface="+mn-cs"/>
            </a:endParaRPr>
          </a:p>
        </p:txBody>
      </p:sp>
      <p:sp>
        <p:nvSpPr>
          <p:cNvPr id="144" name="Tekstfelt 143">
            <a:extLst>
              <a:ext uri="{FF2B5EF4-FFF2-40B4-BE49-F238E27FC236}">
                <a16:creationId xmlns:a16="http://schemas.microsoft.com/office/drawing/2014/main" id="{12D3E70D-1578-DD2D-D01A-B34814063ABF}"/>
              </a:ext>
            </a:extLst>
          </p:cNvPr>
          <p:cNvSpPr txBox="1"/>
          <p:nvPr/>
        </p:nvSpPr>
        <p:spPr>
          <a:xfrm>
            <a:off x="10512620" y="4211296"/>
            <a:ext cx="1452172" cy="246221"/>
          </a:xfrm>
          <a:prstGeom prst="rect">
            <a:avLst/>
          </a:prstGeom>
          <a:noFill/>
        </p:spPr>
        <p:txBody>
          <a:bodyPr wrap="square" lIns="0" tIns="0" rIns="0" bIns="0" rtlCol="0">
            <a:spAutoFit/>
          </a:bodyPr>
          <a:lstStyle/>
          <a:p>
            <a:pPr marL="0" marR="0" lvl="0" indent="0" algn="l" defTabSz="914400" rtl="0" eaLnBrk="1" fontAlgn="t"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Uddannelse- og forskningsministeriet</a:t>
            </a:r>
          </a:p>
        </p:txBody>
      </p:sp>
      <p:sp>
        <p:nvSpPr>
          <p:cNvPr id="148" name="Tekstfelt 147">
            <a:extLst>
              <a:ext uri="{FF2B5EF4-FFF2-40B4-BE49-F238E27FC236}">
                <a16:creationId xmlns:a16="http://schemas.microsoft.com/office/drawing/2014/main" id="{50C1339C-9970-4E56-9670-A78C02A1D0AF}"/>
              </a:ext>
            </a:extLst>
          </p:cNvPr>
          <p:cNvSpPr txBox="1"/>
          <p:nvPr/>
        </p:nvSpPr>
        <p:spPr>
          <a:xfrm>
            <a:off x="2385589" y="4745547"/>
            <a:ext cx="153776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Optag studerende, ansøgning via optagelse.dk </a:t>
            </a:r>
          </a:p>
        </p:txBody>
      </p:sp>
      <p:sp>
        <p:nvSpPr>
          <p:cNvPr id="89" name="Tekstfelt 88">
            <a:extLst>
              <a:ext uri="{FF2B5EF4-FFF2-40B4-BE49-F238E27FC236}">
                <a16:creationId xmlns:a16="http://schemas.microsoft.com/office/drawing/2014/main" id="{1BC0137A-384F-7092-0B68-5351E40A1F4D}"/>
              </a:ext>
            </a:extLst>
          </p:cNvPr>
          <p:cNvSpPr txBox="1"/>
          <p:nvPr/>
        </p:nvSpPr>
        <p:spPr>
          <a:xfrm>
            <a:off x="10439574" y="4544291"/>
            <a:ext cx="1525218"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mn-ea"/>
                <a:cs typeface="+mn-cs"/>
              </a:rPr>
              <a:t>Sammenhæng med nationale integrationer: SU m.v.</a:t>
            </a:r>
          </a:p>
        </p:txBody>
      </p:sp>
      <p:pic>
        <p:nvPicPr>
          <p:cNvPr id="24" name="Picture 10" descr="Logo og designguide - Syddansk Universitet">
            <a:extLst>
              <a:ext uri="{FF2B5EF4-FFF2-40B4-BE49-F238E27FC236}">
                <a16:creationId xmlns:a16="http://schemas.microsoft.com/office/drawing/2014/main" id="{89DA7448-E304-5359-A14A-3A0B399D9513}"/>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02426" y="1341855"/>
            <a:ext cx="1036151" cy="276306"/>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Copenhagen Business School | lex.dk – Den Store Danske">
            <a:extLst>
              <a:ext uri="{FF2B5EF4-FFF2-40B4-BE49-F238E27FC236}">
                <a16:creationId xmlns:a16="http://schemas.microsoft.com/office/drawing/2014/main" id="{9807E735-B5BE-B599-F65F-529500A2716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26144" y="1283925"/>
            <a:ext cx="409618" cy="546756"/>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4" descr="Designguide">
            <a:extLst>
              <a:ext uri="{FF2B5EF4-FFF2-40B4-BE49-F238E27FC236}">
                <a16:creationId xmlns:a16="http://schemas.microsoft.com/office/drawing/2014/main" id="{0DDCF7F7-B872-0A0A-DC1E-BED05459312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77773" y="1288159"/>
            <a:ext cx="357068" cy="520245"/>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4" descr="Logoer til download | Roskilde Universitet">
            <a:extLst>
              <a:ext uri="{FF2B5EF4-FFF2-40B4-BE49-F238E27FC236}">
                <a16:creationId xmlns:a16="http://schemas.microsoft.com/office/drawing/2014/main" id="{D369A09D-6854-0E43-AA2C-FB468F49CFB8}"/>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42827" y="1316307"/>
            <a:ext cx="622220" cy="361110"/>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2" descr="Logo til samarbejde – Københavns Universitet">
            <a:extLst>
              <a:ext uri="{FF2B5EF4-FFF2-40B4-BE49-F238E27FC236}">
                <a16:creationId xmlns:a16="http://schemas.microsoft.com/office/drawing/2014/main" id="{FED841F8-17B8-D542-E3E7-91F2879D86F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r="66621" b="1058"/>
          <a:stretch/>
        </p:blipFill>
        <p:spPr bwMode="auto">
          <a:xfrm>
            <a:off x="7757126" y="1283925"/>
            <a:ext cx="456126" cy="503342"/>
          </a:xfrm>
          <a:prstGeom prst="rect">
            <a:avLst/>
          </a:prstGeom>
          <a:noFill/>
          <a:extLst>
            <a:ext uri="{909E8E84-426E-40DD-AFC4-6F175D3DCCD1}">
              <a14:hiddenFill xmlns:a14="http://schemas.microsoft.com/office/drawing/2010/main">
                <a:solidFill>
                  <a:srgbClr val="FFFFFF"/>
                </a:solidFill>
              </a14:hiddenFill>
            </a:ext>
          </a:extLst>
        </p:spPr>
      </p:pic>
      <p:pic>
        <p:nvPicPr>
          <p:cNvPr id="180" name="Picture 8" descr="Logoer">
            <a:extLst>
              <a:ext uri="{FF2B5EF4-FFF2-40B4-BE49-F238E27FC236}">
                <a16:creationId xmlns:a16="http://schemas.microsoft.com/office/drawing/2014/main" id="{A5216058-85CE-7075-0D6B-256523DE562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956136" y="1357792"/>
            <a:ext cx="1321047" cy="272117"/>
          </a:xfrm>
          <a:prstGeom prst="rect">
            <a:avLst/>
          </a:prstGeom>
          <a:noFill/>
          <a:extLst>
            <a:ext uri="{909E8E84-426E-40DD-AFC4-6F175D3DCCD1}">
              <a14:hiddenFill xmlns:a14="http://schemas.microsoft.com/office/drawing/2010/main">
                <a:solidFill>
                  <a:srgbClr val="FFFFFF"/>
                </a:solidFill>
              </a14:hiddenFill>
            </a:ext>
          </a:extLst>
        </p:spPr>
      </p:pic>
      <p:pic>
        <p:nvPicPr>
          <p:cNvPr id="182" name="Picture 12" descr="AAU Designguide">
            <a:extLst>
              <a:ext uri="{FF2B5EF4-FFF2-40B4-BE49-F238E27FC236}">
                <a16:creationId xmlns:a16="http://schemas.microsoft.com/office/drawing/2014/main" id="{BDC3993C-3C42-BF65-26DD-5AC6C35C1BB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992525" y="1244371"/>
            <a:ext cx="568558" cy="606462"/>
          </a:xfrm>
          <a:prstGeom prst="rect">
            <a:avLst/>
          </a:prstGeom>
          <a:noFill/>
          <a:extLst>
            <a:ext uri="{909E8E84-426E-40DD-AFC4-6F175D3DCCD1}">
              <a14:hiddenFill xmlns:a14="http://schemas.microsoft.com/office/drawing/2010/main">
                <a:solidFill>
                  <a:srgbClr val="FFFFFF"/>
                </a:solidFill>
              </a14:hiddenFill>
            </a:ext>
          </a:extLst>
        </p:spPr>
      </p:pic>
      <p:sp>
        <p:nvSpPr>
          <p:cNvPr id="98" name="Tekstfelt 97">
            <a:extLst>
              <a:ext uri="{FF2B5EF4-FFF2-40B4-BE49-F238E27FC236}">
                <a16:creationId xmlns:a16="http://schemas.microsoft.com/office/drawing/2014/main" id="{BD341B75-DEE2-6F00-C3EE-2B9CA935C29F}"/>
              </a:ext>
            </a:extLst>
          </p:cNvPr>
          <p:cNvSpPr txBox="1"/>
          <p:nvPr/>
        </p:nvSpPr>
        <p:spPr>
          <a:xfrm>
            <a:off x="100195" y="1249583"/>
            <a:ext cx="630546"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432"/>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Proces-ejerskab</a:t>
            </a:r>
          </a:p>
        </p:txBody>
      </p:sp>
      <p:sp>
        <p:nvSpPr>
          <p:cNvPr id="3" name="TextBox 2">
            <a:extLst>
              <a:ext uri="{FF2B5EF4-FFF2-40B4-BE49-F238E27FC236}">
                <a16:creationId xmlns:a16="http://schemas.microsoft.com/office/drawing/2014/main" id="{97E68B7A-A61E-6A5F-C70C-9C3A698967CE}"/>
              </a:ext>
            </a:extLst>
          </p:cNvPr>
          <p:cNvSpPr txBox="1"/>
          <p:nvPr/>
        </p:nvSpPr>
        <p:spPr>
          <a:xfrm>
            <a:off x="286327" y="166255"/>
            <a:ext cx="1728889" cy="649978"/>
          </a:xfrm>
          <a:prstGeom prst="rect">
            <a:avLst/>
          </a:prstGeom>
          <a:solidFill>
            <a:schemeClr val="bg1"/>
          </a:solidFill>
        </p:spPr>
        <p:txBody>
          <a:bodyPr wrap="square" lIns="0" tIns="0" rIns="0" bIns="0" rtlCol="0">
            <a:spAutoFit/>
          </a:bodyPr>
          <a:lstStyle/>
          <a:p>
            <a:endParaRPr lang="da-DK" sz="1600" dirty="0" err="1"/>
          </a:p>
        </p:txBody>
      </p:sp>
    </p:spTree>
    <p:extLst>
      <p:ext uri="{BB962C8B-B14F-4D97-AF65-F5344CB8AC3E}">
        <p14:creationId xmlns:p14="http://schemas.microsoft.com/office/powerpoint/2010/main" val="743606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F996EF2-2812-4E50-5703-5B20FC19EC2D}"/>
              </a:ext>
            </a:extLst>
          </p:cNvPr>
          <p:cNvSpPr>
            <a:spLocks noGrp="1"/>
          </p:cNvSpPr>
          <p:nvPr>
            <p:ph type="title"/>
          </p:nvPr>
        </p:nvSpPr>
        <p:spPr>
          <a:noFill/>
        </p:spPr>
        <p:txBody>
          <a:bodyPr wrap="square" rtlCol="0">
            <a:spAutoFit/>
          </a:bodyPr>
          <a:lstStyle/>
          <a:p>
            <a:pPr algn="ctr" defTabSz="914400"/>
            <a:r>
              <a:rPr lang="da-DK" sz="1200" dirty="0">
                <a:latin typeface="+mn-lt"/>
                <a:ea typeface="+mn-ea"/>
                <a:cs typeface="+mn-cs"/>
              </a:rPr>
              <a:t> </a:t>
            </a:r>
          </a:p>
        </p:txBody>
      </p:sp>
      <p:sp>
        <p:nvSpPr>
          <p:cNvPr id="3" name="Pladsholder til slidenummer 2">
            <a:extLst>
              <a:ext uri="{FF2B5EF4-FFF2-40B4-BE49-F238E27FC236}">
                <a16:creationId xmlns:a16="http://schemas.microsoft.com/office/drawing/2014/main" id="{46BFF3CD-C953-1D49-3E76-9C98CEED79A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F810D-F77C-4BB2-BE6A-BDC67BB44902}" type="slidenum">
              <a:rPr kumimoji="0" lang="da-DK" sz="800" b="1" i="0" u="none" strike="noStrike" kern="1200" cap="none" spc="0" normalizeH="0" baseline="0" noProof="0" smtClean="0">
                <a:ln>
                  <a:noFill/>
                </a:ln>
                <a:solidFill>
                  <a:srgbClr val="7A604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a-DK" sz="800" b="1" i="0" u="none" strike="noStrike" kern="1200" cap="none" spc="0" normalizeH="0" baseline="0" noProof="0" dirty="0">
              <a:ln>
                <a:noFill/>
              </a:ln>
              <a:solidFill>
                <a:srgbClr val="7A6040"/>
              </a:solidFill>
              <a:effectLst/>
              <a:uLnTx/>
              <a:uFillTx/>
              <a:latin typeface="Arial"/>
              <a:ea typeface="+mn-ea"/>
              <a:cs typeface="+mn-cs"/>
            </a:endParaRPr>
          </a:p>
        </p:txBody>
      </p:sp>
      <p:sp>
        <p:nvSpPr>
          <p:cNvPr id="12" name="Tekstfelt 11">
            <a:extLst>
              <a:ext uri="{FF2B5EF4-FFF2-40B4-BE49-F238E27FC236}">
                <a16:creationId xmlns:a16="http://schemas.microsoft.com/office/drawing/2014/main" id="{5D4E7235-3B71-B73A-8350-76BF185BBA6A}"/>
              </a:ext>
            </a:extLst>
          </p:cNvPr>
          <p:cNvSpPr txBox="1"/>
          <p:nvPr/>
        </p:nvSpPr>
        <p:spPr>
          <a:xfrm>
            <a:off x="2072763" y="2334433"/>
            <a:ext cx="2076811"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Procesejer</a:t>
            </a:r>
          </a:p>
        </p:txBody>
      </p:sp>
      <p:grpSp>
        <p:nvGrpSpPr>
          <p:cNvPr id="28" name="Group 27">
            <a:extLst>
              <a:ext uri="{FF2B5EF4-FFF2-40B4-BE49-F238E27FC236}">
                <a16:creationId xmlns:a16="http://schemas.microsoft.com/office/drawing/2014/main" id="{1C2BE4C5-E5B5-54C3-B43A-AE3DB76C5D2C}"/>
              </a:ext>
            </a:extLst>
          </p:cNvPr>
          <p:cNvGrpSpPr/>
          <p:nvPr/>
        </p:nvGrpSpPr>
        <p:grpSpPr>
          <a:xfrm>
            <a:off x="1040282" y="1300673"/>
            <a:ext cx="3016959" cy="1987881"/>
            <a:chOff x="173898" y="3035543"/>
            <a:chExt cx="3016959" cy="1987881"/>
          </a:xfrm>
        </p:grpSpPr>
        <p:sp>
          <p:nvSpPr>
            <p:cNvPr id="36" name="Tekstfelt 35">
              <a:extLst>
                <a:ext uri="{FF2B5EF4-FFF2-40B4-BE49-F238E27FC236}">
                  <a16:creationId xmlns:a16="http://schemas.microsoft.com/office/drawing/2014/main" id="{612FE0DF-2653-58AA-E10D-8113A3D81E8C}"/>
                </a:ext>
              </a:extLst>
            </p:cNvPr>
            <p:cNvSpPr txBox="1"/>
            <p:nvPr/>
          </p:nvSpPr>
          <p:spPr>
            <a:xfrm>
              <a:off x="729918" y="3121378"/>
              <a:ext cx="2178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Arial"/>
                  <a:ea typeface="+mn-ea"/>
                  <a:cs typeface="+mn-cs"/>
                </a:rPr>
                <a:t>National procesgruppe</a:t>
              </a:r>
            </a:p>
          </p:txBody>
        </p:sp>
        <p:pic>
          <p:nvPicPr>
            <p:cNvPr id="39" name="Grafik 38" descr="Superhelt mand med massiv udfyldning">
              <a:extLst>
                <a:ext uri="{FF2B5EF4-FFF2-40B4-BE49-F238E27FC236}">
                  <a16:creationId xmlns:a16="http://schemas.microsoft.com/office/drawing/2014/main" id="{9BE40B04-FB33-1F7B-12BE-376C3051C2D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27634" y="4381712"/>
              <a:ext cx="404437" cy="405872"/>
            </a:xfrm>
            <a:prstGeom prst="rect">
              <a:avLst/>
            </a:prstGeom>
          </p:spPr>
        </p:pic>
        <p:grpSp>
          <p:nvGrpSpPr>
            <p:cNvPr id="50" name="Gruppe 49">
              <a:extLst>
                <a:ext uri="{FF2B5EF4-FFF2-40B4-BE49-F238E27FC236}">
                  <a16:creationId xmlns:a16="http://schemas.microsoft.com/office/drawing/2014/main" id="{1B0F55C8-204B-58B2-88A6-D361124B2167}"/>
                </a:ext>
              </a:extLst>
            </p:cNvPr>
            <p:cNvGrpSpPr/>
            <p:nvPr/>
          </p:nvGrpSpPr>
          <p:grpSpPr>
            <a:xfrm>
              <a:off x="1075809" y="4242576"/>
              <a:ext cx="1346844" cy="780848"/>
              <a:chOff x="5520670" y="3224634"/>
              <a:chExt cx="1346844" cy="780848"/>
            </a:xfrm>
          </p:grpSpPr>
          <p:pic>
            <p:nvPicPr>
              <p:cNvPr id="51" name="Grafik 50" descr="Gruppe med massiv udfyldning">
                <a:extLst>
                  <a:ext uri="{FF2B5EF4-FFF2-40B4-BE49-F238E27FC236}">
                    <a16:creationId xmlns:a16="http://schemas.microsoft.com/office/drawing/2014/main" id="{33B99D4B-36A0-F728-290E-951A5F6EB52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67254" y="3224634"/>
                <a:ext cx="925437" cy="679529"/>
              </a:xfrm>
              <a:prstGeom prst="rect">
                <a:avLst/>
              </a:prstGeom>
            </p:spPr>
          </p:pic>
          <p:sp>
            <p:nvSpPr>
              <p:cNvPr id="52" name="Tekstfelt 51">
                <a:extLst>
                  <a:ext uri="{FF2B5EF4-FFF2-40B4-BE49-F238E27FC236}">
                    <a16:creationId xmlns:a16="http://schemas.microsoft.com/office/drawing/2014/main" id="{B5104B40-FDC8-E0C1-71F1-5E33CE88EEA7}"/>
                  </a:ext>
                </a:extLst>
              </p:cNvPr>
              <p:cNvSpPr txBox="1"/>
              <p:nvPr/>
            </p:nvSpPr>
            <p:spPr>
              <a:xfrm>
                <a:off x="5520670" y="3728483"/>
                <a:ext cx="134684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Procesgruppe 1</a:t>
                </a:r>
              </a:p>
            </p:txBody>
          </p:sp>
        </p:grpSp>
        <p:pic>
          <p:nvPicPr>
            <p:cNvPr id="88" name="Grafik 87" descr="Office-arbejder med kvinde med massiv udfyldning">
              <a:extLst>
                <a:ext uri="{FF2B5EF4-FFF2-40B4-BE49-F238E27FC236}">
                  <a16:creationId xmlns:a16="http://schemas.microsoft.com/office/drawing/2014/main" id="{E843DA4F-8436-157C-FF11-00B7C61D0F2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30166" y="3670402"/>
              <a:ext cx="483070" cy="483070"/>
            </a:xfrm>
            <a:prstGeom prst="rect">
              <a:avLst/>
            </a:prstGeom>
          </p:spPr>
        </p:pic>
        <p:sp>
          <p:nvSpPr>
            <p:cNvPr id="89" name="Rektangel: afrundede hjørner 88">
              <a:extLst>
                <a:ext uri="{FF2B5EF4-FFF2-40B4-BE49-F238E27FC236}">
                  <a16:creationId xmlns:a16="http://schemas.microsoft.com/office/drawing/2014/main" id="{7543FFDC-2DDC-735A-0C3B-1B364EF8131E}"/>
                </a:ext>
              </a:extLst>
            </p:cNvPr>
            <p:cNvSpPr/>
            <p:nvPr/>
          </p:nvSpPr>
          <p:spPr>
            <a:xfrm>
              <a:off x="173898" y="3035543"/>
              <a:ext cx="3016959" cy="1975689"/>
            </a:xfrm>
            <a:prstGeom prst="round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100" name="Titel 1">
            <a:extLst>
              <a:ext uri="{FF2B5EF4-FFF2-40B4-BE49-F238E27FC236}">
                <a16:creationId xmlns:a16="http://schemas.microsoft.com/office/drawing/2014/main" id="{FBBD6031-A588-B3FD-21A2-A8A4F7749123}"/>
              </a:ext>
            </a:extLst>
          </p:cNvPr>
          <p:cNvSpPr txBox="1">
            <a:spLocks/>
          </p:cNvSpPr>
          <p:nvPr/>
        </p:nvSpPr>
        <p:spPr>
          <a:xfrm>
            <a:off x="2088777" y="290245"/>
            <a:ext cx="10084684" cy="972716"/>
          </a:xfrm>
          <a:prstGeom prst="rect">
            <a:avLst/>
          </a:prstGeom>
        </p:spPr>
        <p:txBody>
          <a:bodyPr vert="horz" lIns="91440" tIns="45720" rIns="91440" bIns="45720" rtlCol="0" anchor="t">
            <a:normAutofit/>
          </a:bodyPr>
          <a:lstStyle>
            <a:lvl1pPr algn="l" defTabSz="914406"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6" rtl="0" eaLnBrk="1" fontAlgn="auto" latinLnBrk="0" hangingPunct="1">
              <a:lnSpc>
                <a:spcPct val="90000"/>
              </a:lnSpc>
              <a:spcBef>
                <a:spcPct val="0"/>
              </a:spcBef>
              <a:spcAft>
                <a:spcPts val="0"/>
              </a:spcAft>
              <a:buClrTx/>
              <a:buSzTx/>
              <a:buFontTx/>
              <a:buNone/>
              <a:tabLst/>
              <a:defRPr/>
            </a:pPr>
            <a:r>
              <a:rPr kumimoji="0" lang="da-DK" sz="3600" b="0" i="0" u="none" strike="noStrike" kern="1200" cap="none" spc="0" normalizeH="0" baseline="0" noProof="0" dirty="0">
                <a:ln>
                  <a:noFill/>
                </a:ln>
                <a:solidFill>
                  <a:srgbClr val="000000"/>
                </a:solidFill>
                <a:effectLst/>
                <a:uLnTx/>
                <a:uFillTx/>
                <a:latin typeface="Arial"/>
                <a:ea typeface="+mj-ea"/>
                <a:cs typeface="+mj-cs"/>
              </a:rPr>
              <a:t>Sammenhæng i procesarbejdet </a:t>
            </a:r>
            <a:r>
              <a:rPr kumimoji="0" lang="da-DK" sz="2400" b="0" i="0" u="none" strike="noStrike" kern="1200" cap="none" spc="0" normalizeH="0" baseline="0" noProof="0" dirty="0">
                <a:ln>
                  <a:noFill/>
                </a:ln>
                <a:solidFill>
                  <a:srgbClr val="000000"/>
                </a:solidFill>
                <a:effectLst/>
                <a:uLnTx/>
                <a:uFillTx/>
                <a:latin typeface="Arial"/>
                <a:ea typeface="+mj-ea"/>
                <a:cs typeface="+mj-cs"/>
              </a:rPr>
              <a:t>– nationalt og lokalt</a:t>
            </a:r>
            <a:endParaRPr kumimoji="0" lang="da-DK" sz="3600" b="0" i="0" u="none" strike="noStrike" kern="1200" cap="none" spc="0" normalizeH="0" baseline="0" noProof="0" dirty="0">
              <a:ln>
                <a:noFill/>
              </a:ln>
              <a:solidFill>
                <a:srgbClr val="000000"/>
              </a:solidFill>
              <a:effectLst/>
              <a:uLnTx/>
              <a:uFillTx/>
              <a:latin typeface="Arial"/>
              <a:ea typeface="+mj-ea"/>
              <a:cs typeface="+mj-cs"/>
            </a:endParaRPr>
          </a:p>
        </p:txBody>
      </p:sp>
      <p:sp>
        <p:nvSpPr>
          <p:cNvPr id="90" name="Tekstfelt 11">
            <a:extLst>
              <a:ext uri="{FF2B5EF4-FFF2-40B4-BE49-F238E27FC236}">
                <a16:creationId xmlns:a16="http://schemas.microsoft.com/office/drawing/2014/main" id="{8A337948-6653-C509-6626-FEC3949755CA}"/>
              </a:ext>
            </a:extLst>
          </p:cNvPr>
          <p:cNvSpPr txBox="1"/>
          <p:nvPr/>
        </p:nvSpPr>
        <p:spPr>
          <a:xfrm>
            <a:off x="1214532" y="4922643"/>
            <a:ext cx="284270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Procesejer     Fakultetspartner</a:t>
            </a:r>
          </a:p>
        </p:txBody>
      </p:sp>
      <p:sp>
        <p:nvSpPr>
          <p:cNvPr id="95" name="Tekstfelt 35">
            <a:extLst>
              <a:ext uri="{FF2B5EF4-FFF2-40B4-BE49-F238E27FC236}">
                <a16:creationId xmlns:a16="http://schemas.microsoft.com/office/drawing/2014/main" id="{2B563521-8D29-B3FA-E96E-1BB64005FD66}"/>
              </a:ext>
            </a:extLst>
          </p:cNvPr>
          <p:cNvSpPr txBox="1"/>
          <p:nvPr/>
        </p:nvSpPr>
        <p:spPr>
          <a:xfrm>
            <a:off x="1878834" y="4014858"/>
            <a:ext cx="217840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Arial"/>
                <a:ea typeface="+mn-ea"/>
                <a:cs typeface="+mn-cs"/>
              </a:rPr>
              <a:t>SDU procesgruppe</a:t>
            </a:r>
          </a:p>
        </p:txBody>
      </p:sp>
      <p:grpSp>
        <p:nvGrpSpPr>
          <p:cNvPr id="98" name="Gruppe 49">
            <a:extLst>
              <a:ext uri="{FF2B5EF4-FFF2-40B4-BE49-F238E27FC236}">
                <a16:creationId xmlns:a16="http://schemas.microsoft.com/office/drawing/2014/main" id="{BED08009-8DAD-AA32-7520-60E4FEBE9E99}"/>
              </a:ext>
            </a:extLst>
          </p:cNvPr>
          <p:cNvGrpSpPr/>
          <p:nvPr/>
        </p:nvGrpSpPr>
        <p:grpSpPr>
          <a:xfrm>
            <a:off x="1875340" y="5075006"/>
            <a:ext cx="1483098" cy="780848"/>
            <a:chOff x="5520670" y="3224634"/>
            <a:chExt cx="1483098" cy="780848"/>
          </a:xfrm>
          <a:solidFill>
            <a:schemeClr val="accent2">
              <a:lumMod val="60000"/>
              <a:lumOff val="40000"/>
            </a:schemeClr>
          </a:solidFill>
        </p:grpSpPr>
        <p:pic>
          <p:nvPicPr>
            <p:cNvPr id="102" name="Grafik 50" descr="Gruppe med massiv udfyldning">
              <a:extLst>
                <a:ext uri="{FF2B5EF4-FFF2-40B4-BE49-F238E27FC236}">
                  <a16:creationId xmlns:a16="http://schemas.microsoft.com/office/drawing/2014/main" id="{862116E7-27D2-1CA6-0D32-E53CD729C4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667254" y="3224634"/>
              <a:ext cx="925437" cy="679529"/>
            </a:xfrm>
            <a:prstGeom prst="rect">
              <a:avLst/>
            </a:prstGeom>
          </p:spPr>
        </p:pic>
        <p:sp>
          <p:nvSpPr>
            <p:cNvPr id="103" name="Tekstfelt 51">
              <a:extLst>
                <a:ext uri="{FF2B5EF4-FFF2-40B4-BE49-F238E27FC236}">
                  <a16:creationId xmlns:a16="http://schemas.microsoft.com/office/drawing/2014/main" id="{39FFFB99-E905-D3AE-1ACB-41283AD6F593}"/>
                </a:ext>
              </a:extLst>
            </p:cNvPr>
            <p:cNvSpPr txBox="1"/>
            <p:nvPr/>
          </p:nvSpPr>
          <p:spPr>
            <a:xfrm>
              <a:off x="5520670" y="3728483"/>
              <a:ext cx="148309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Procesgruppe 1-8</a:t>
              </a:r>
            </a:p>
          </p:txBody>
        </p:sp>
      </p:grpSp>
      <p:pic>
        <p:nvPicPr>
          <p:cNvPr id="99" name="Grafik 87" descr="Office-arbejder med kvinde med massiv udfyldning">
            <a:extLst>
              <a:ext uri="{FF2B5EF4-FFF2-40B4-BE49-F238E27FC236}">
                <a16:creationId xmlns:a16="http://schemas.microsoft.com/office/drawing/2014/main" id="{948BF891-1450-416F-E022-CEBA841F953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779487" y="4476797"/>
            <a:ext cx="483070" cy="483070"/>
          </a:xfrm>
          <a:prstGeom prst="rect">
            <a:avLst/>
          </a:prstGeom>
        </p:spPr>
      </p:pic>
      <p:sp>
        <p:nvSpPr>
          <p:cNvPr id="101" name="Rektangel: afrundede hjørner 88">
            <a:extLst>
              <a:ext uri="{FF2B5EF4-FFF2-40B4-BE49-F238E27FC236}">
                <a16:creationId xmlns:a16="http://schemas.microsoft.com/office/drawing/2014/main" id="{8CB0424E-957D-F5A0-5FED-6AE352C63072}"/>
              </a:ext>
            </a:extLst>
          </p:cNvPr>
          <p:cNvSpPr/>
          <p:nvPr/>
        </p:nvSpPr>
        <p:spPr>
          <a:xfrm>
            <a:off x="426720" y="3867973"/>
            <a:ext cx="4133088" cy="1975689"/>
          </a:xfrm>
          <a:prstGeom prst="roundRect">
            <a:avLst/>
          </a:prstGeom>
          <a:noFill/>
          <a:ln w="28575">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a:ea typeface="+mn-ea"/>
              <a:cs typeface="+mn-cs"/>
            </a:endParaRPr>
          </a:p>
        </p:txBody>
      </p:sp>
      <p:sp>
        <p:nvSpPr>
          <p:cNvPr id="106" name="Isosceles Triangle 105">
            <a:extLst>
              <a:ext uri="{FF2B5EF4-FFF2-40B4-BE49-F238E27FC236}">
                <a16:creationId xmlns:a16="http://schemas.microsoft.com/office/drawing/2014/main" id="{B14229D8-1191-1A44-E93D-04EE47BE622C}"/>
              </a:ext>
            </a:extLst>
          </p:cNvPr>
          <p:cNvSpPr/>
          <p:nvPr/>
        </p:nvSpPr>
        <p:spPr>
          <a:xfrm>
            <a:off x="2204431" y="3302562"/>
            <a:ext cx="518595" cy="559933"/>
          </a:xfrm>
          <a:prstGeom prst="triangle">
            <a:avLst/>
          </a:prstGeom>
          <a:solidFill>
            <a:schemeClr val="accent2">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07" name="TextBox 106">
            <a:extLst>
              <a:ext uri="{FF2B5EF4-FFF2-40B4-BE49-F238E27FC236}">
                <a16:creationId xmlns:a16="http://schemas.microsoft.com/office/drawing/2014/main" id="{51B0AF1B-60EF-56B8-EEB2-C04A1255A45C}"/>
              </a:ext>
            </a:extLst>
          </p:cNvPr>
          <p:cNvSpPr txBox="1"/>
          <p:nvPr/>
        </p:nvSpPr>
        <p:spPr>
          <a:xfrm>
            <a:off x="4183717" y="1329873"/>
            <a:ext cx="3436443" cy="49244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0000"/>
                </a:solidFill>
                <a:effectLst/>
                <a:uLnTx/>
                <a:uFillTx/>
                <a:latin typeface="Arial"/>
                <a:ea typeface="+mn-ea"/>
                <a:cs typeface="+mn-cs"/>
              </a:rPr>
              <a:t>Procesgrupperne arbejder med de fælles hovedprocesser (90%)</a:t>
            </a:r>
          </a:p>
        </p:txBody>
      </p:sp>
      <p:sp>
        <p:nvSpPr>
          <p:cNvPr id="108" name="TextBox 107">
            <a:extLst>
              <a:ext uri="{FF2B5EF4-FFF2-40B4-BE49-F238E27FC236}">
                <a16:creationId xmlns:a16="http://schemas.microsoft.com/office/drawing/2014/main" id="{F912B85A-DFDF-4B8E-D4E2-8114AB607EA7}"/>
              </a:ext>
            </a:extLst>
          </p:cNvPr>
          <p:cNvSpPr txBox="1"/>
          <p:nvPr/>
        </p:nvSpPr>
        <p:spPr>
          <a:xfrm>
            <a:off x="4715718" y="5104998"/>
            <a:ext cx="4327818" cy="73866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0" i="0" u="none" strike="noStrike" kern="1200" cap="none" spc="0" normalizeH="0" baseline="0" noProof="0" dirty="0">
                <a:ln>
                  <a:noFill/>
                </a:ln>
                <a:solidFill>
                  <a:srgbClr val="000000"/>
                </a:solidFill>
                <a:effectLst/>
                <a:uLnTx/>
                <a:uFillTx/>
                <a:latin typeface="Arial"/>
                <a:ea typeface="+mn-ea"/>
                <a:cs typeface="+mn-cs"/>
              </a:rPr>
              <a:t>Procesgrupperne arbejder med de fælles hoved- og delprocesser + SDU specifikke processer</a:t>
            </a:r>
          </a:p>
        </p:txBody>
      </p:sp>
      <p:pic>
        <p:nvPicPr>
          <p:cNvPr id="13" name="Grafik 38" descr="Superhelt mand med massiv udfyldning">
            <a:extLst>
              <a:ext uri="{FF2B5EF4-FFF2-40B4-BE49-F238E27FC236}">
                <a16:creationId xmlns:a16="http://schemas.microsoft.com/office/drawing/2014/main" id="{2C9A0B2C-8123-BD3B-7E4B-186EB68D93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268538" y="2662486"/>
            <a:ext cx="404437" cy="405872"/>
          </a:xfrm>
          <a:prstGeom prst="rect">
            <a:avLst/>
          </a:prstGeom>
        </p:spPr>
      </p:pic>
      <p:grpSp>
        <p:nvGrpSpPr>
          <p:cNvPr id="17" name="Group 16">
            <a:extLst>
              <a:ext uri="{FF2B5EF4-FFF2-40B4-BE49-F238E27FC236}">
                <a16:creationId xmlns:a16="http://schemas.microsoft.com/office/drawing/2014/main" id="{1A9D65E9-AA0D-DCA1-4DEE-3168C9B8CDE5}"/>
              </a:ext>
            </a:extLst>
          </p:cNvPr>
          <p:cNvGrpSpPr/>
          <p:nvPr/>
        </p:nvGrpSpPr>
        <p:grpSpPr>
          <a:xfrm>
            <a:off x="6524745" y="2615745"/>
            <a:ext cx="5648716" cy="1997399"/>
            <a:chOff x="6078607" y="2251469"/>
            <a:chExt cx="5648716" cy="1997399"/>
          </a:xfrm>
        </p:grpSpPr>
        <p:pic>
          <p:nvPicPr>
            <p:cNvPr id="6" name="Picture 5">
              <a:extLst>
                <a:ext uri="{FF2B5EF4-FFF2-40B4-BE49-F238E27FC236}">
                  <a16:creationId xmlns:a16="http://schemas.microsoft.com/office/drawing/2014/main" id="{9B4D29EC-45D7-A82E-0FF6-E4E7074E2FB0}"/>
                </a:ext>
              </a:extLst>
            </p:cNvPr>
            <p:cNvPicPr>
              <a:picLocks noChangeAspect="1"/>
            </p:cNvPicPr>
            <p:nvPr/>
          </p:nvPicPr>
          <p:blipFill>
            <a:blip r:embed="rId14"/>
            <a:stretch>
              <a:fillRect/>
            </a:stretch>
          </p:blipFill>
          <p:spPr>
            <a:xfrm>
              <a:off x="6078607" y="3147003"/>
              <a:ext cx="5648716" cy="1101865"/>
            </a:xfrm>
            <a:prstGeom prst="rect">
              <a:avLst/>
            </a:prstGeom>
          </p:spPr>
        </p:pic>
        <p:sp>
          <p:nvSpPr>
            <p:cNvPr id="9" name="Isosceles Triangle 8">
              <a:extLst>
                <a:ext uri="{FF2B5EF4-FFF2-40B4-BE49-F238E27FC236}">
                  <a16:creationId xmlns:a16="http://schemas.microsoft.com/office/drawing/2014/main" id="{4CC1B12E-F953-8DB3-D5EB-C0AB67EDF910}"/>
                </a:ext>
              </a:extLst>
            </p:cNvPr>
            <p:cNvSpPr/>
            <p:nvPr/>
          </p:nvSpPr>
          <p:spPr>
            <a:xfrm>
              <a:off x="6078607" y="2646842"/>
              <a:ext cx="5648716" cy="1602026"/>
            </a:xfrm>
            <a:prstGeom prst="triangle">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prstClr val="white"/>
                </a:solidFill>
                <a:effectLst/>
                <a:uLnTx/>
                <a:uFillTx/>
                <a:latin typeface="Arial"/>
                <a:ea typeface="+mn-ea"/>
                <a:cs typeface="+mn-cs"/>
              </a:endParaRPr>
            </a:p>
          </p:txBody>
        </p:sp>
        <p:pic>
          <p:nvPicPr>
            <p:cNvPr id="11" name="Graphic 10" descr="Group with solid fill">
              <a:extLst>
                <a:ext uri="{FF2B5EF4-FFF2-40B4-BE49-F238E27FC236}">
                  <a16:creationId xmlns:a16="http://schemas.microsoft.com/office/drawing/2014/main" id="{86437FB2-676A-4A03-F591-29C083894C36}"/>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8646834" y="2366885"/>
              <a:ext cx="551148" cy="551148"/>
            </a:xfrm>
            <a:prstGeom prst="rect">
              <a:avLst/>
            </a:prstGeom>
          </p:spPr>
        </p:pic>
        <p:sp>
          <p:nvSpPr>
            <p:cNvPr id="15" name="Tekstfelt 51">
              <a:extLst>
                <a:ext uri="{FF2B5EF4-FFF2-40B4-BE49-F238E27FC236}">
                  <a16:creationId xmlns:a16="http://schemas.microsoft.com/office/drawing/2014/main" id="{5D542B4C-DA95-1E90-6E70-8C3151A2F92C}"/>
                </a:ext>
              </a:extLst>
            </p:cNvPr>
            <p:cNvSpPr txBox="1"/>
            <p:nvPr/>
          </p:nvSpPr>
          <p:spPr>
            <a:xfrm>
              <a:off x="8373077" y="2251469"/>
              <a:ext cx="1005403"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00" b="1" i="0" u="none" strike="noStrike" kern="1200" cap="none" spc="0" normalizeH="0" baseline="0" noProof="0" dirty="0">
                  <a:ln>
                    <a:noFill/>
                  </a:ln>
                  <a:solidFill>
                    <a:srgbClr val="000000"/>
                  </a:solidFill>
                  <a:effectLst/>
                  <a:uLnTx/>
                  <a:uFillTx/>
                  <a:latin typeface="Arial"/>
                  <a:ea typeface="+mn-ea"/>
                  <a:cs typeface="+mn-cs"/>
                </a:rPr>
                <a:t>Beslutningsvej</a:t>
              </a:r>
            </a:p>
          </p:txBody>
        </p:sp>
      </p:grpSp>
      <p:sp>
        <p:nvSpPr>
          <p:cNvPr id="16" name="Arrow: Up 15">
            <a:extLst>
              <a:ext uri="{FF2B5EF4-FFF2-40B4-BE49-F238E27FC236}">
                <a16:creationId xmlns:a16="http://schemas.microsoft.com/office/drawing/2014/main" id="{FEAC0CF9-D544-D606-6629-EDD626FABD4A}"/>
              </a:ext>
            </a:extLst>
          </p:cNvPr>
          <p:cNvSpPr/>
          <p:nvPr/>
        </p:nvSpPr>
        <p:spPr>
          <a:xfrm>
            <a:off x="1609140" y="3188868"/>
            <a:ext cx="66937" cy="1770999"/>
          </a:xfrm>
          <a:prstGeom prst="upArrow">
            <a:avLst/>
          </a:prstGeom>
          <a:solidFill>
            <a:schemeClr val="accent2">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prstClr val="white"/>
              </a:solidFill>
              <a:effectLst/>
              <a:uLnTx/>
              <a:uFillTx/>
              <a:latin typeface="Arial"/>
              <a:ea typeface="+mn-ea"/>
              <a:cs typeface="+mn-cs"/>
            </a:endParaRPr>
          </a:p>
        </p:txBody>
      </p:sp>
      <p:sp>
        <p:nvSpPr>
          <p:cNvPr id="18" name="Arrow: Right 17">
            <a:extLst>
              <a:ext uri="{FF2B5EF4-FFF2-40B4-BE49-F238E27FC236}">
                <a16:creationId xmlns:a16="http://schemas.microsoft.com/office/drawing/2014/main" id="{2156D67D-56E0-821F-1601-CB47953A784F}"/>
              </a:ext>
            </a:extLst>
          </p:cNvPr>
          <p:cNvSpPr/>
          <p:nvPr/>
        </p:nvSpPr>
        <p:spPr>
          <a:xfrm>
            <a:off x="3651886" y="2847470"/>
            <a:ext cx="734748" cy="103356"/>
          </a:xfrm>
          <a:prstGeom prs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dirty="0" err="1">
              <a:ln>
                <a:noFill/>
              </a:ln>
              <a:solidFill>
                <a:prstClr val="white"/>
              </a:solidFill>
              <a:effectLst/>
              <a:uLnTx/>
              <a:uFillTx/>
              <a:latin typeface="Arial"/>
              <a:ea typeface="+mn-ea"/>
              <a:cs typeface="+mn-cs"/>
            </a:endParaRPr>
          </a:p>
        </p:txBody>
      </p:sp>
      <p:grpSp>
        <p:nvGrpSpPr>
          <p:cNvPr id="34" name="Group 33">
            <a:extLst>
              <a:ext uri="{FF2B5EF4-FFF2-40B4-BE49-F238E27FC236}">
                <a16:creationId xmlns:a16="http://schemas.microsoft.com/office/drawing/2014/main" id="{F40E9BAF-B6C4-9AD4-8418-CB165CB2AA1D}"/>
              </a:ext>
            </a:extLst>
          </p:cNvPr>
          <p:cNvGrpSpPr/>
          <p:nvPr/>
        </p:nvGrpSpPr>
        <p:grpSpPr>
          <a:xfrm>
            <a:off x="4500737" y="2033321"/>
            <a:ext cx="3521522" cy="1430336"/>
            <a:chOff x="4528423" y="1813523"/>
            <a:chExt cx="3714591" cy="1543357"/>
          </a:xfrm>
        </p:grpSpPr>
        <p:sp>
          <p:nvSpPr>
            <p:cNvPr id="19" name="TextBox 18">
              <a:extLst>
                <a:ext uri="{FF2B5EF4-FFF2-40B4-BE49-F238E27FC236}">
                  <a16:creationId xmlns:a16="http://schemas.microsoft.com/office/drawing/2014/main" id="{49B0043D-C3A8-9323-B2D9-598034DAD1A1}"/>
                </a:ext>
              </a:extLst>
            </p:cNvPr>
            <p:cNvSpPr txBox="1"/>
            <p:nvPr/>
          </p:nvSpPr>
          <p:spPr>
            <a:xfrm>
              <a:off x="4806571" y="3172214"/>
              <a:ext cx="3436443"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0" i="0" u="none" strike="noStrike" kern="1200" cap="none" spc="0" normalizeH="0" baseline="0" noProof="0" dirty="0">
                  <a:ln>
                    <a:noFill/>
                  </a:ln>
                  <a:solidFill>
                    <a:srgbClr val="000000"/>
                  </a:solidFill>
                  <a:effectLst/>
                  <a:uLnTx/>
                  <a:uFillTx/>
                  <a:latin typeface="Arial"/>
                  <a:ea typeface="+mn-ea"/>
                  <a:cs typeface="+mn-cs"/>
                </a:rPr>
                <a:t>Leverandørsamarbejde</a:t>
              </a:r>
            </a:p>
          </p:txBody>
        </p:sp>
        <p:grpSp>
          <p:nvGrpSpPr>
            <p:cNvPr id="30" name="Group 29">
              <a:extLst>
                <a:ext uri="{FF2B5EF4-FFF2-40B4-BE49-F238E27FC236}">
                  <a16:creationId xmlns:a16="http://schemas.microsoft.com/office/drawing/2014/main" id="{664197F1-BCCC-FB99-7C11-50D07137B706}"/>
                </a:ext>
              </a:extLst>
            </p:cNvPr>
            <p:cNvGrpSpPr/>
            <p:nvPr/>
          </p:nvGrpSpPr>
          <p:grpSpPr>
            <a:xfrm>
              <a:off x="4528423" y="2792534"/>
              <a:ext cx="2108035" cy="373288"/>
              <a:chOff x="4517433" y="2814886"/>
              <a:chExt cx="2206412" cy="405872"/>
            </a:xfrm>
          </p:grpSpPr>
          <p:pic>
            <p:nvPicPr>
              <p:cNvPr id="20" name="Grafik 38" descr="Superhelt mand med massiv udfyldning">
                <a:extLst>
                  <a:ext uri="{FF2B5EF4-FFF2-40B4-BE49-F238E27FC236}">
                    <a16:creationId xmlns:a16="http://schemas.microsoft.com/office/drawing/2014/main" id="{463BA269-1211-CA4C-0E1E-FD335B2521F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517433" y="2814886"/>
                <a:ext cx="404437" cy="405872"/>
              </a:xfrm>
              <a:prstGeom prst="rect">
                <a:avLst/>
              </a:prstGeom>
            </p:spPr>
          </p:pic>
          <p:pic>
            <p:nvPicPr>
              <p:cNvPr id="21" name="Grafik 38" descr="Superhelt mand med massiv udfyldning">
                <a:extLst>
                  <a:ext uri="{FF2B5EF4-FFF2-40B4-BE49-F238E27FC236}">
                    <a16:creationId xmlns:a16="http://schemas.microsoft.com/office/drawing/2014/main" id="{93233584-41AF-B530-7706-E0DEB5B1A1A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17762" y="2814886"/>
                <a:ext cx="404437" cy="405872"/>
              </a:xfrm>
              <a:prstGeom prst="rect">
                <a:avLst/>
              </a:prstGeom>
            </p:spPr>
          </p:pic>
          <p:pic>
            <p:nvPicPr>
              <p:cNvPr id="22" name="Grafik 38" descr="Superhelt mand med massiv udfyldning">
                <a:extLst>
                  <a:ext uri="{FF2B5EF4-FFF2-40B4-BE49-F238E27FC236}">
                    <a16:creationId xmlns:a16="http://schemas.microsoft.com/office/drawing/2014/main" id="{2700889B-53FE-D983-DA55-C0CB73180CC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118091" y="2814886"/>
                <a:ext cx="404437" cy="405872"/>
              </a:xfrm>
              <a:prstGeom prst="rect">
                <a:avLst/>
              </a:prstGeom>
            </p:spPr>
          </p:pic>
          <p:pic>
            <p:nvPicPr>
              <p:cNvPr id="23" name="Grafik 38" descr="Superhelt mand med massiv udfyldning">
                <a:extLst>
                  <a:ext uri="{FF2B5EF4-FFF2-40B4-BE49-F238E27FC236}">
                    <a16:creationId xmlns:a16="http://schemas.microsoft.com/office/drawing/2014/main" id="{9277E01C-30D4-CDA5-1000-C74FF6F5949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418420" y="2814886"/>
                <a:ext cx="404437" cy="405872"/>
              </a:xfrm>
              <a:prstGeom prst="rect">
                <a:avLst/>
              </a:prstGeom>
            </p:spPr>
          </p:pic>
          <p:pic>
            <p:nvPicPr>
              <p:cNvPr id="24" name="Grafik 38" descr="Superhelt mand med massiv udfyldning">
                <a:extLst>
                  <a:ext uri="{FF2B5EF4-FFF2-40B4-BE49-F238E27FC236}">
                    <a16:creationId xmlns:a16="http://schemas.microsoft.com/office/drawing/2014/main" id="{3F35ABA1-178E-8520-1AF3-EAD60AF1F3AA}"/>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18749" y="2814886"/>
                <a:ext cx="404437" cy="405872"/>
              </a:xfrm>
              <a:prstGeom prst="rect">
                <a:avLst/>
              </a:prstGeom>
            </p:spPr>
          </p:pic>
          <p:pic>
            <p:nvPicPr>
              <p:cNvPr id="25" name="Grafik 38" descr="Superhelt mand med massiv udfyldning">
                <a:extLst>
                  <a:ext uri="{FF2B5EF4-FFF2-40B4-BE49-F238E27FC236}">
                    <a16:creationId xmlns:a16="http://schemas.microsoft.com/office/drawing/2014/main" id="{0F7D9B60-EAB1-C35D-8EB9-3039BBB86B9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019078" y="2814886"/>
                <a:ext cx="404437" cy="405872"/>
              </a:xfrm>
              <a:prstGeom prst="rect">
                <a:avLst/>
              </a:prstGeom>
            </p:spPr>
          </p:pic>
          <p:pic>
            <p:nvPicPr>
              <p:cNvPr id="26" name="Grafik 38" descr="Superhelt mand med massiv udfyldning">
                <a:extLst>
                  <a:ext uri="{FF2B5EF4-FFF2-40B4-BE49-F238E27FC236}">
                    <a16:creationId xmlns:a16="http://schemas.microsoft.com/office/drawing/2014/main" id="{C0F27D4F-E109-70EE-A162-09899CCB5FA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19408" y="2814886"/>
                <a:ext cx="404437" cy="405872"/>
              </a:xfrm>
              <a:prstGeom prst="rect">
                <a:avLst/>
              </a:prstGeom>
            </p:spPr>
          </p:pic>
        </p:grpSp>
        <p:pic>
          <p:nvPicPr>
            <p:cNvPr id="31" name="Grafik 38" descr="Superhelt mand med massiv udfyldning">
              <a:extLst>
                <a:ext uri="{FF2B5EF4-FFF2-40B4-BE49-F238E27FC236}">
                  <a16:creationId xmlns:a16="http://schemas.microsoft.com/office/drawing/2014/main" id="{AF4D11D0-7C2F-185D-B8DE-1574E5DDBAD2}"/>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5380221" y="2386662"/>
              <a:ext cx="404437" cy="405872"/>
            </a:xfrm>
            <a:prstGeom prst="rect">
              <a:avLst/>
            </a:prstGeom>
          </p:spPr>
        </p:pic>
        <p:pic>
          <p:nvPicPr>
            <p:cNvPr id="33" name="Graphic 32" descr="Cycle with people with solid fill">
              <a:extLst>
                <a:ext uri="{FF2B5EF4-FFF2-40B4-BE49-F238E27FC236}">
                  <a16:creationId xmlns:a16="http://schemas.microsoft.com/office/drawing/2014/main" id="{45211585-F315-387F-7091-74F651ACC113}"/>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5323677" y="1813523"/>
              <a:ext cx="659409" cy="659409"/>
            </a:xfrm>
            <a:prstGeom prst="rect">
              <a:avLst/>
            </a:prstGeom>
          </p:spPr>
        </p:pic>
      </p:grpSp>
      <p:sp>
        <p:nvSpPr>
          <p:cNvPr id="4" name="Tekstfelt 3">
            <a:extLst>
              <a:ext uri="{FF2B5EF4-FFF2-40B4-BE49-F238E27FC236}">
                <a16:creationId xmlns:a16="http://schemas.microsoft.com/office/drawing/2014/main" id="{43D1738D-194A-DA7A-C231-EDDE41D29AFD}"/>
              </a:ext>
            </a:extLst>
          </p:cNvPr>
          <p:cNvSpPr txBox="1"/>
          <p:nvPr/>
        </p:nvSpPr>
        <p:spPr>
          <a:xfrm>
            <a:off x="3199108" y="2451872"/>
            <a:ext cx="561504"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PGR</a:t>
            </a:r>
          </a:p>
        </p:txBody>
      </p:sp>
      <p:pic>
        <p:nvPicPr>
          <p:cNvPr id="7" name="Graphic 6" descr="Owl outline">
            <a:extLst>
              <a:ext uri="{FF2B5EF4-FFF2-40B4-BE49-F238E27FC236}">
                <a16:creationId xmlns:a16="http://schemas.microsoft.com/office/drawing/2014/main" id="{F9DB121D-0592-F05D-A920-A1A16F2C2D36}"/>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2463728" y="4476797"/>
            <a:ext cx="471486" cy="471486"/>
          </a:xfrm>
          <a:prstGeom prst="rect">
            <a:avLst/>
          </a:prstGeom>
        </p:spPr>
      </p:pic>
      <p:sp>
        <p:nvSpPr>
          <p:cNvPr id="5" name="TextBox 4">
            <a:extLst>
              <a:ext uri="{FF2B5EF4-FFF2-40B4-BE49-F238E27FC236}">
                <a16:creationId xmlns:a16="http://schemas.microsoft.com/office/drawing/2014/main" id="{CCB657C7-D3C4-F470-2223-7C6ED5EB8453}"/>
              </a:ext>
            </a:extLst>
          </p:cNvPr>
          <p:cNvSpPr txBox="1"/>
          <p:nvPr/>
        </p:nvSpPr>
        <p:spPr>
          <a:xfrm rot="20402905">
            <a:off x="7941204" y="1360010"/>
            <a:ext cx="3212418" cy="984885"/>
          </a:xfrm>
          <a:prstGeom prst="rect">
            <a:avLst/>
          </a:prstGeom>
          <a:noFill/>
        </p:spPr>
        <p:txBody>
          <a:bodyPr wrap="none" lIns="0" tIns="0" rIns="0" bIns="0" rtlCol="0">
            <a:spAutoFit/>
          </a:bodyPr>
          <a:lstStyle/>
          <a:p>
            <a:r>
              <a:rPr lang="da-DK" sz="3200" dirty="0">
                <a:solidFill>
                  <a:srgbClr val="FF0000"/>
                </a:solidFill>
              </a:rPr>
              <a:t>Repræsentativitet</a:t>
            </a:r>
          </a:p>
          <a:p>
            <a:r>
              <a:rPr lang="da-DK" sz="3200" dirty="0">
                <a:solidFill>
                  <a:srgbClr val="FF0000"/>
                </a:solidFill>
              </a:rPr>
              <a:t>Mandat</a:t>
            </a:r>
          </a:p>
        </p:txBody>
      </p:sp>
    </p:spTree>
    <p:extLst>
      <p:ext uri="{BB962C8B-B14F-4D97-AF65-F5344CB8AC3E}">
        <p14:creationId xmlns:p14="http://schemas.microsoft.com/office/powerpoint/2010/main" val="341482843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a:extLst>
              <a:ext uri="{FF2B5EF4-FFF2-40B4-BE49-F238E27FC236}">
                <a16:creationId xmlns:a16="http://schemas.microsoft.com/office/drawing/2014/main" id="{1C2BE4C5-E5B5-54C3-B43A-AE3DB76C5D2C}"/>
              </a:ext>
            </a:extLst>
          </p:cNvPr>
          <p:cNvGrpSpPr/>
          <p:nvPr/>
        </p:nvGrpSpPr>
        <p:grpSpPr>
          <a:xfrm>
            <a:off x="4428095" y="2167545"/>
            <a:ext cx="3016959" cy="1692175"/>
            <a:chOff x="173898" y="3372277"/>
            <a:chExt cx="3016959" cy="1692175"/>
          </a:xfrm>
        </p:grpSpPr>
        <p:grpSp>
          <p:nvGrpSpPr>
            <p:cNvPr id="50" name="Gruppe 49">
              <a:extLst>
                <a:ext uri="{FF2B5EF4-FFF2-40B4-BE49-F238E27FC236}">
                  <a16:creationId xmlns:a16="http://schemas.microsoft.com/office/drawing/2014/main" id="{1B0F55C8-204B-58B2-88A6-D361124B2167}"/>
                </a:ext>
              </a:extLst>
            </p:cNvPr>
            <p:cNvGrpSpPr/>
            <p:nvPr/>
          </p:nvGrpSpPr>
          <p:grpSpPr>
            <a:xfrm>
              <a:off x="803127" y="3486170"/>
              <a:ext cx="1404552" cy="1578282"/>
              <a:chOff x="5247988" y="2468228"/>
              <a:chExt cx="1404552" cy="1578282"/>
            </a:xfrm>
          </p:grpSpPr>
          <p:pic>
            <p:nvPicPr>
              <p:cNvPr id="51" name="Grafik 50" descr="Gruppe med massiv udfyldning">
                <a:extLst>
                  <a:ext uri="{FF2B5EF4-FFF2-40B4-BE49-F238E27FC236}">
                    <a16:creationId xmlns:a16="http://schemas.microsoft.com/office/drawing/2014/main" id="{33B99D4B-36A0-F728-290E-951A5F6EB5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06060" y="3366981"/>
                <a:ext cx="925437" cy="679529"/>
              </a:xfrm>
              <a:prstGeom prst="rect">
                <a:avLst/>
              </a:prstGeom>
            </p:spPr>
          </p:pic>
          <p:sp>
            <p:nvSpPr>
              <p:cNvPr id="52" name="Tekstfelt 51">
                <a:extLst>
                  <a:ext uri="{FF2B5EF4-FFF2-40B4-BE49-F238E27FC236}">
                    <a16:creationId xmlns:a16="http://schemas.microsoft.com/office/drawing/2014/main" id="{B5104B40-FDC8-E0C1-71F1-5E33CE88EEA7}"/>
                  </a:ext>
                </a:extLst>
              </p:cNvPr>
              <p:cNvSpPr txBox="1"/>
              <p:nvPr/>
            </p:nvSpPr>
            <p:spPr>
              <a:xfrm>
                <a:off x="5247988" y="2468228"/>
                <a:ext cx="1404552" cy="276999"/>
              </a:xfrm>
              <a:prstGeom prst="rect">
                <a:avLst/>
              </a:prstGeom>
              <a:noFill/>
              <a:ln>
                <a:solidFill>
                  <a:schemeClr val="accent2">
                    <a:lumMod val="75000"/>
                  </a:schemeClr>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Procesejerforum</a:t>
                </a:r>
              </a:p>
            </p:txBody>
          </p:sp>
        </p:grpSp>
        <p:pic>
          <p:nvPicPr>
            <p:cNvPr id="88" name="Grafik 87" descr="Office-arbejder med kvinde med massiv udfyldning">
              <a:extLst>
                <a:ext uri="{FF2B5EF4-FFF2-40B4-BE49-F238E27FC236}">
                  <a16:creationId xmlns:a16="http://schemas.microsoft.com/office/drawing/2014/main" id="{E843DA4F-8436-157C-FF11-00B7C61D0F2C}"/>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82382" y="3979875"/>
              <a:ext cx="483070" cy="483070"/>
            </a:xfrm>
            <a:prstGeom prst="rect">
              <a:avLst/>
            </a:prstGeom>
          </p:spPr>
        </p:pic>
        <p:sp>
          <p:nvSpPr>
            <p:cNvPr id="89" name="Rektangel: afrundede hjørner 88">
              <a:extLst>
                <a:ext uri="{FF2B5EF4-FFF2-40B4-BE49-F238E27FC236}">
                  <a16:creationId xmlns:a16="http://schemas.microsoft.com/office/drawing/2014/main" id="{7543FFDC-2DDC-735A-0C3B-1B364EF8131E}"/>
                </a:ext>
              </a:extLst>
            </p:cNvPr>
            <p:cNvSpPr/>
            <p:nvPr/>
          </p:nvSpPr>
          <p:spPr>
            <a:xfrm>
              <a:off x="173898" y="3372277"/>
              <a:ext cx="3016959" cy="1638955"/>
            </a:xfrm>
            <a:prstGeom prst="roundRect">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a:ea typeface="+mn-ea"/>
                <a:cs typeface="+mn-cs"/>
              </a:endParaRPr>
            </a:p>
          </p:txBody>
        </p:sp>
      </p:grpSp>
      <p:grpSp>
        <p:nvGrpSpPr>
          <p:cNvPr id="6" name="Group 5">
            <a:extLst>
              <a:ext uri="{FF2B5EF4-FFF2-40B4-BE49-F238E27FC236}">
                <a16:creationId xmlns:a16="http://schemas.microsoft.com/office/drawing/2014/main" id="{BF1AB58F-D89D-36A4-F9DF-CA26B5550F01}"/>
              </a:ext>
            </a:extLst>
          </p:cNvPr>
          <p:cNvGrpSpPr/>
          <p:nvPr/>
        </p:nvGrpSpPr>
        <p:grpSpPr>
          <a:xfrm>
            <a:off x="811236" y="2167545"/>
            <a:ext cx="3016959" cy="1688493"/>
            <a:chOff x="173898" y="3375963"/>
            <a:chExt cx="3016959" cy="1688493"/>
          </a:xfrm>
        </p:grpSpPr>
        <p:grpSp>
          <p:nvGrpSpPr>
            <p:cNvPr id="8" name="Gruppe 49">
              <a:extLst>
                <a:ext uri="{FF2B5EF4-FFF2-40B4-BE49-F238E27FC236}">
                  <a16:creationId xmlns:a16="http://schemas.microsoft.com/office/drawing/2014/main" id="{F720B1F7-8A9F-5620-AD07-B87D7D290C71}"/>
                </a:ext>
              </a:extLst>
            </p:cNvPr>
            <p:cNvGrpSpPr/>
            <p:nvPr/>
          </p:nvGrpSpPr>
          <p:grpSpPr>
            <a:xfrm>
              <a:off x="927445" y="3495516"/>
              <a:ext cx="1447832" cy="1568940"/>
              <a:chOff x="5372306" y="2477574"/>
              <a:chExt cx="1447832" cy="1568940"/>
            </a:xfrm>
          </p:grpSpPr>
          <p:pic>
            <p:nvPicPr>
              <p:cNvPr id="17" name="Grafik 50" descr="Gruppe med massiv udfyldning">
                <a:extLst>
                  <a:ext uri="{FF2B5EF4-FFF2-40B4-BE49-F238E27FC236}">
                    <a16:creationId xmlns:a16="http://schemas.microsoft.com/office/drawing/2014/main" id="{A10DBC88-74C3-06AD-C443-9BAEE788BFA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6060" y="3366985"/>
                <a:ext cx="925437" cy="679529"/>
              </a:xfrm>
              <a:prstGeom prst="rect">
                <a:avLst/>
              </a:prstGeom>
            </p:spPr>
          </p:pic>
          <p:sp>
            <p:nvSpPr>
              <p:cNvPr id="18" name="Tekstfelt 51">
                <a:extLst>
                  <a:ext uri="{FF2B5EF4-FFF2-40B4-BE49-F238E27FC236}">
                    <a16:creationId xmlns:a16="http://schemas.microsoft.com/office/drawing/2014/main" id="{224D250F-B0C3-59CC-E920-883E59697B9F}"/>
                  </a:ext>
                </a:extLst>
              </p:cNvPr>
              <p:cNvSpPr txBox="1"/>
              <p:nvPr/>
            </p:nvSpPr>
            <p:spPr>
              <a:xfrm>
                <a:off x="5372306" y="2477574"/>
                <a:ext cx="1447832" cy="276999"/>
              </a:xfrm>
              <a:prstGeom prst="rect">
                <a:avLst/>
              </a:prstGeom>
              <a:noFill/>
              <a:ln>
                <a:solidFill>
                  <a:schemeClr val="accent2">
                    <a:lumMod val="75000"/>
                  </a:schemeClr>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Referencegruppe</a:t>
                </a:r>
              </a:p>
            </p:txBody>
          </p:sp>
        </p:grpSp>
        <p:pic>
          <p:nvPicPr>
            <p:cNvPr id="13" name="Grafik 87" descr="Office-arbejder med kvinde med massiv udfyldning">
              <a:extLst>
                <a:ext uri="{FF2B5EF4-FFF2-40B4-BE49-F238E27FC236}">
                  <a16:creationId xmlns:a16="http://schemas.microsoft.com/office/drawing/2014/main" id="{E0359C44-688B-7CE0-A2A5-37814975AC0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82382" y="3980945"/>
              <a:ext cx="483070" cy="483070"/>
            </a:xfrm>
            <a:prstGeom prst="rect">
              <a:avLst/>
            </a:prstGeom>
          </p:spPr>
        </p:pic>
        <p:sp>
          <p:nvSpPr>
            <p:cNvPr id="16" name="Rektangel: afrundede hjørner 88">
              <a:extLst>
                <a:ext uri="{FF2B5EF4-FFF2-40B4-BE49-F238E27FC236}">
                  <a16:creationId xmlns:a16="http://schemas.microsoft.com/office/drawing/2014/main" id="{FC39DA2E-55CF-82EA-D888-523904DA4664}"/>
                </a:ext>
              </a:extLst>
            </p:cNvPr>
            <p:cNvSpPr/>
            <p:nvPr/>
          </p:nvSpPr>
          <p:spPr>
            <a:xfrm>
              <a:off x="173898" y="3375963"/>
              <a:ext cx="3016959" cy="1635269"/>
            </a:xfrm>
            <a:prstGeom prst="roundRect">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Titel 1">
            <a:extLst>
              <a:ext uri="{FF2B5EF4-FFF2-40B4-BE49-F238E27FC236}">
                <a16:creationId xmlns:a16="http://schemas.microsoft.com/office/drawing/2014/main" id="{4F996EF2-2812-4E50-5703-5B20FC19EC2D}"/>
              </a:ext>
            </a:extLst>
          </p:cNvPr>
          <p:cNvSpPr>
            <a:spLocks noGrp="1"/>
          </p:cNvSpPr>
          <p:nvPr>
            <p:ph type="title"/>
          </p:nvPr>
        </p:nvSpPr>
        <p:spPr>
          <a:xfrm>
            <a:off x="764059" y="226462"/>
            <a:ext cx="10633284" cy="694480"/>
          </a:xfrm>
          <a:noFill/>
        </p:spPr>
        <p:txBody>
          <a:bodyPr wrap="square" rtlCol="0">
            <a:spAutoFit/>
          </a:bodyPr>
          <a:lstStyle/>
          <a:p>
            <a:pPr algn="ctr" defTabSz="914400"/>
            <a:r>
              <a:rPr lang="da-DK" sz="1200" dirty="0">
                <a:latin typeface="+mn-lt"/>
                <a:ea typeface="+mn-ea"/>
                <a:cs typeface="+mn-cs"/>
              </a:rPr>
              <a:t> </a:t>
            </a:r>
          </a:p>
        </p:txBody>
      </p:sp>
      <p:sp>
        <p:nvSpPr>
          <p:cNvPr id="3" name="Pladsholder til slidenummer 2">
            <a:extLst>
              <a:ext uri="{FF2B5EF4-FFF2-40B4-BE49-F238E27FC236}">
                <a16:creationId xmlns:a16="http://schemas.microsoft.com/office/drawing/2014/main" id="{46BFF3CD-C953-1D49-3E76-9C98CEED79A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F810D-F77C-4BB2-BE6A-BDC67BB44902}" type="slidenum">
              <a:rPr kumimoji="0" lang="da-DK" sz="800" b="1" i="0" u="none" strike="noStrike" kern="1200" cap="none" spc="0" normalizeH="0" baseline="0" noProof="0" smtClean="0">
                <a:ln>
                  <a:noFill/>
                </a:ln>
                <a:solidFill>
                  <a:srgbClr val="7A604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a-DK" sz="800" b="1" i="0" u="none" strike="noStrike" kern="1200" cap="none" spc="0" normalizeH="0" baseline="0" noProof="0" dirty="0">
              <a:ln>
                <a:noFill/>
              </a:ln>
              <a:solidFill>
                <a:srgbClr val="7A6040"/>
              </a:solidFill>
              <a:effectLst/>
              <a:uLnTx/>
              <a:uFillTx/>
              <a:latin typeface="Arial"/>
              <a:ea typeface="+mn-ea"/>
              <a:cs typeface="+mn-cs"/>
            </a:endParaRPr>
          </a:p>
        </p:txBody>
      </p:sp>
      <p:sp>
        <p:nvSpPr>
          <p:cNvPr id="100" name="Titel 1">
            <a:extLst>
              <a:ext uri="{FF2B5EF4-FFF2-40B4-BE49-F238E27FC236}">
                <a16:creationId xmlns:a16="http://schemas.microsoft.com/office/drawing/2014/main" id="{FBBD6031-A588-B3FD-21A2-A8A4F7749123}"/>
              </a:ext>
            </a:extLst>
          </p:cNvPr>
          <p:cNvSpPr txBox="1">
            <a:spLocks/>
          </p:cNvSpPr>
          <p:nvPr/>
        </p:nvSpPr>
        <p:spPr>
          <a:xfrm>
            <a:off x="2088777" y="290245"/>
            <a:ext cx="9312374" cy="972716"/>
          </a:xfrm>
          <a:prstGeom prst="rect">
            <a:avLst/>
          </a:prstGeom>
        </p:spPr>
        <p:txBody>
          <a:bodyPr vert="horz" lIns="91440" tIns="45720" rIns="91440" bIns="45720" rtlCol="0" anchor="t">
            <a:normAutofit/>
          </a:bodyPr>
          <a:lstStyle>
            <a:lvl1pPr algn="l" defTabSz="914406" rtl="0" eaLnBrk="1" latinLnBrk="0" hangingPunct="1">
              <a:lnSpc>
                <a:spcPct val="90000"/>
              </a:lnSpc>
              <a:spcBef>
                <a:spcPct val="0"/>
              </a:spcBef>
              <a:buNone/>
              <a:defRPr sz="3600" kern="1200">
                <a:solidFill>
                  <a:schemeClr val="tx1"/>
                </a:solidFill>
                <a:latin typeface="+mj-lt"/>
                <a:ea typeface="+mj-ea"/>
                <a:cs typeface="+mj-cs"/>
              </a:defRPr>
            </a:lvl1pPr>
          </a:lstStyle>
          <a:p>
            <a:pPr marL="0" marR="0" lvl="0" indent="0" algn="l" defTabSz="914406" rtl="0" eaLnBrk="1" fontAlgn="auto" latinLnBrk="0" hangingPunct="1">
              <a:lnSpc>
                <a:spcPct val="90000"/>
              </a:lnSpc>
              <a:spcBef>
                <a:spcPct val="0"/>
              </a:spcBef>
              <a:spcAft>
                <a:spcPts val="0"/>
              </a:spcAft>
              <a:buClrTx/>
              <a:buSzTx/>
              <a:buFontTx/>
              <a:buNone/>
              <a:tabLst/>
              <a:defRPr/>
            </a:pPr>
            <a:r>
              <a:rPr kumimoji="0" lang="da-DK" sz="3600" b="0" i="0" u="none" strike="noStrike" kern="1200" cap="none" spc="0" normalizeH="0" baseline="0" noProof="0" dirty="0">
                <a:ln>
                  <a:noFill/>
                </a:ln>
                <a:solidFill>
                  <a:srgbClr val="000000"/>
                </a:solidFill>
                <a:effectLst/>
                <a:uLnTx/>
                <a:uFillTx/>
                <a:latin typeface="Arial"/>
                <a:ea typeface="+mj-ea"/>
                <a:cs typeface="+mj-cs"/>
              </a:rPr>
              <a:t>SDU </a:t>
            </a:r>
            <a:r>
              <a:rPr kumimoji="0" lang="da-DK" sz="3600" b="0" i="0" u="none" strike="noStrike" kern="1200" cap="none" spc="0" normalizeH="0" baseline="0" noProof="0" dirty="0" err="1">
                <a:ln>
                  <a:noFill/>
                </a:ln>
                <a:solidFill>
                  <a:srgbClr val="000000"/>
                </a:solidFill>
                <a:effectLst/>
                <a:uLnTx/>
                <a:uFillTx/>
                <a:latin typeface="Arial"/>
                <a:ea typeface="+mj-ea"/>
                <a:cs typeface="+mj-cs"/>
              </a:rPr>
              <a:t>procesgovernance</a:t>
            </a:r>
            <a:r>
              <a:rPr kumimoji="0" lang="da-DK" sz="3600" b="0" i="0" u="none" strike="noStrike" kern="1200" cap="none" spc="0" normalizeH="0" baseline="0" noProof="0" dirty="0">
                <a:ln>
                  <a:noFill/>
                </a:ln>
                <a:solidFill>
                  <a:srgbClr val="000000"/>
                </a:solidFill>
                <a:effectLst/>
                <a:uLnTx/>
                <a:uFillTx/>
                <a:latin typeface="Arial"/>
                <a:ea typeface="+mj-ea"/>
                <a:cs typeface="+mj-cs"/>
              </a:rPr>
              <a:t>, </a:t>
            </a:r>
            <a:r>
              <a:rPr kumimoji="0" lang="da-DK" sz="3600" b="0" i="0" u="none" strike="noStrike" kern="1200" cap="none" spc="0" normalizeH="0" baseline="0" noProof="0" dirty="0" err="1">
                <a:ln>
                  <a:noFill/>
                </a:ln>
                <a:solidFill>
                  <a:srgbClr val="000000"/>
                </a:solidFill>
                <a:effectLst/>
                <a:uLnTx/>
                <a:uFillTx/>
                <a:latin typeface="Arial"/>
                <a:ea typeface="+mj-ea"/>
                <a:cs typeface="+mj-cs"/>
              </a:rPr>
              <a:t>ver</a:t>
            </a:r>
            <a:r>
              <a:rPr kumimoji="0" lang="da-DK" sz="3600" b="0" i="0" u="none" strike="noStrike" kern="1200" cap="none" spc="0" normalizeH="0" baseline="0" noProof="0" dirty="0">
                <a:ln>
                  <a:noFill/>
                </a:ln>
                <a:solidFill>
                  <a:srgbClr val="000000"/>
                </a:solidFill>
                <a:effectLst/>
                <a:uLnTx/>
                <a:uFillTx/>
                <a:latin typeface="Arial"/>
                <a:ea typeface="+mj-ea"/>
                <a:cs typeface="+mj-cs"/>
              </a:rPr>
              <a:t>. 2.0</a:t>
            </a:r>
          </a:p>
        </p:txBody>
      </p:sp>
      <p:sp>
        <p:nvSpPr>
          <p:cNvPr id="11" name="Arrow: Left-Right 10">
            <a:extLst>
              <a:ext uri="{FF2B5EF4-FFF2-40B4-BE49-F238E27FC236}">
                <a16:creationId xmlns:a16="http://schemas.microsoft.com/office/drawing/2014/main" id="{282850D8-34DD-2D1A-C22E-2762DA032D29}"/>
              </a:ext>
            </a:extLst>
          </p:cNvPr>
          <p:cNvSpPr/>
          <p:nvPr/>
        </p:nvSpPr>
        <p:spPr>
          <a:xfrm>
            <a:off x="7381373" y="4156910"/>
            <a:ext cx="1147391" cy="244333"/>
          </a:xfrm>
          <a:prstGeom prst="leftRightArrow">
            <a:avLst/>
          </a:prstGeom>
          <a:solidFill>
            <a:schemeClr val="accent6">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14" name="Arrow: Up-Down 13">
            <a:extLst>
              <a:ext uri="{FF2B5EF4-FFF2-40B4-BE49-F238E27FC236}">
                <a16:creationId xmlns:a16="http://schemas.microsoft.com/office/drawing/2014/main" id="{A5492991-394B-B18F-2FE7-D63E6C686940}"/>
              </a:ext>
            </a:extLst>
          </p:cNvPr>
          <p:cNvSpPr/>
          <p:nvPr/>
        </p:nvSpPr>
        <p:spPr>
          <a:xfrm>
            <a:off x="3937180" y="3766625"/>
            <a:ext cx="375459" cy="573499"/>
          </a:xfrm>
          <a:prstGeom prst="upDownArrow">
            <a:avLst/>
          </a:prstGeom>
          <a:solidFill>
            <a:schemeClr val="accent6">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grpSp>
        <p:nvGrpSpPr>
          <p:cNvPr id="19" name="Group 18">
            <a:extLst>
              <a:ext uri="{FF2B5EF4-FFF2-40B4-BE49-F238E27FC236}">
                <a16:creationId xmlns:a16="http://schemas.microsoft.com/office/drawing/2014/main" id="{F464799B-5EF0-414C-1EF3-35E4FD3F8B3C}"/>
              </a:ext>
            </a:extLst>
          </p:cNvPr>
          <p:cNvGrpSpPr/>
          <p:nvPr/>
        </p:nvGrpSpPr>
        <p:grpSpPr>
          <a:xfrm>
            <a:off x="2793803" y="976285"/>
            <a:ext cx="2836223" cy="972716"/>
            <a:chOff x="173898" y="3375963"/>
            <a:chExt cx="3016959" cy="1688493"/>
          </a:xfrm>
        </p:grpSpPr>
        <p:grpSp>
          <p:nvGrpSpPr>
            <p:cNvPr id="20" name="Gruppe 49">
              <a:extLst>
                <a:ext uri="{FF2B5EF4-FFF2-40B4-BE49-F238E27FC236}">
                  <a16:creationId xmlns:a16="http://schemas.microsoft.com/office/drawing/2014/main" id="{CF0638DD-AEBF-0325-C43D-1E435AF3E489}"/>
                </a:ext>
              </a:extLst>
            </p:cNvPr>
            <p:cNvGrpSpPr/>
            <p:nvPr/>
          </p:nvGrpSpPr>
          <p:grpSpPr>
            <a:xfrm>
              <a:off x="927445" y="3495516"/>
              <a:ext cx="1451426" cy="1568940"/>
              <a:chOff x="5372306" y="2477574"/>
              <a:chExt cx="1451426" cy="1568940"/>
            </a:xfrm>
          </p:grpSpPr>
          <p:pic>
            <p:nvPicPr>
              <p:cNvPr id="23" name="Grafik 50" descr="Gruppe med massiv udfyldning">
                <a:extLst>
                  <a:ext uri="{FF2B5EF4-FFF2-40B4-BE49-F238E27FC236}">
                    <a16:creationId xmlns:a16="http://schemas.microsoft.com/office/drawing/2014/main" id="{E74C40D5-E357-DB33-622C-28BCB37BCD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706060" y="3366985"/>
                <a:ext cx="925437" cy="679529"/>
              </a:xfrm>
              <a:prstGeom prst="rect">
                <a:avLst/>
              </a:prstGeom>
            </p:spPr>
          </p:pic>
          <p:sp>
            <p:nvSpPr>
              <p:cNvPr id="24" name="Tekstfelt 51">
                <a:extLst>
                  <a:ext uri="{FF2B5EF4-FFF2-40B4-BE49-F238E27FC236}">
                    <a16:creationId xmlns:a16="http://schemas.microsoft.com/office/drawing/2014/main" id="{3928BDA9-D34B-FB93-01E2-E03DA01DF304}"/>
                  </a:ext>
                </a:extLst>
              </p:cNvPr>
              <p:cNvSpPr txBox="1"/>
              <p:nvPr/>
            </p:nvSpPr>
            <p:spPr>
              <a:xfrm>
                <a:off x="5372306" y="2477574"/>
                <a:ext cx="1451426" cy="480830"/>
              </a:xfrm>
              <a:prstGeom prst="rect">
                <a:avLst/>
              </a:prstGeom>
              <a:noFill/>
              <a:ln>
                <a:solidFill>
                  <a:schemeClr val="accent2">
                    <a:lumMod val="75000"/>
                  </a:schemeClr>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SIS styregruppe</a:t>
                </a:r>
              </a:p>
            </p:txBody>
          </p:sp>
        </p:grpSp>
        <p:pic>
          <p:nvPicPr>
            <p:cNvPr id="21" name="Grafik 87" descr="Office-arbejder med kvinde med massiv udfyldning">
              <a:extLst>
                <a:ext uri="{FF2B5EF4-FFF2-40B4-BE49-F238E27FC236}">
                  <a16:creationId xmlns:a16="http://schemas.microsoft.com/office/drawing/2014/main" id="{5B53014F-3CD9-5816-D0D2-C111C5C6805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82382" y="3980945"/>
              <a:ext cx="483070" cy="483070"/>
            </a:xfrm>
            <a:prstGeom prst="rect">
              <a:avLst/>
            </a:prstGeom>
          </p:spPr>
        </p:pic>
        <p:sp>
          <p:nvSpPr>
            <p:cNvPr id="22" name="Rektangel: afrundede hjørner 88">
              <a:extLst>
                <a:ext uri="{FF2B5EF4-FFF2-40B4-BE49-F238E27FC236}">
                  <a16:creationId xmlns:a16="http://schemas.microsoft.com/office/drawing/2014/main" id="{1E3C7DAB-B28E-8A4F-FE73-299A5DFFDE8E}"/>
                </a:ext>
              </a:extLst>
            </p:cNvPr>
            <p:cNvSpPr/>
            <p:nvPr/>
          </p:nvSpPr>
          <p:spPr>
            <a:xfrm>
              <a:off x="173898" y="3375963"/>
              <a:ext cx="3016959" cy="1635269"/>
            </a:xfrm>
            <a:prstGeom prst="roundRect">
              <a:avLst/>
            </a:prstGeom>
            <a:no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5" name="Arrow: Left-Right 24">
            <a:extLst>
              <a:ext uri="{FF2B5EF4-FFF2-40B4-BE49-F238E27FC236}">
                <a16:creationId xmlns:a16="http://schemas.microsoft.com/office/drawing/2014/main" id="{B6142953-7157-9B24-D149-9C6DD63A2142}"/>
              </a:ext>
            </a:extLst>
          </p:cNvPr>
          <p:cNvSpPr/>
          <p:nvPr/>
        </p:nvSpPr>
        <p:spPr>
          <a:xfrm>
            <a:off x="5933023" y="1343242"/>
            <a:ext cx="804058" cy="208139"/>
          </a:xfrm>
          <a:prstGeom prst="leftRightArrow">
            <a:avLst/>
          </a:prstGeom>
          <a:solidFill>
            <a:schemeClr val="bg1">
              <a:lumMod val="5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12" name="Tekstfelt 11">
            <a:extLst>
              <a:ext uri="{FF2B5EF4-FFF2-40B4-BE49-F238E27FC236}">
                <a16:creationId xmlns:a16="http://schemas.microsoft.com/office/drawing/2014/main" id="{5D4E7235-3B71-B73A-8350-76BF185BBA6A}"/>
              </a:ext>
            </a:extLst>
          </p:cNvPr>
          <p:cNvSpPr txBox="1"/>
          <p:nvPr/>
        </p:nvSpPr>
        <p:spPr>
          <a:xfrm>
            <a:off x="3572334" y="2916998"/>
            <a:ext cx="1182583" cy="646331"/>
          </a:xfrm>
          <a:prstGeom prst="rect">
            <a:avLst/>
          </a:prstGeom>
          <a:solidFill>
            <a:schemeClr val="bg1"/>
          </a:solidFill>
          <a:ln>
            <a:solidFill>
              <a:schemeClr val="accent2">
                <a:lumMod val="75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Chef for Uddannelses-service</a:t>
            </a:r>
          </a:p>
        </p:txBody>
      </p:sp>
      <p:sp>
        <p:nvSpPr>
          <p:cNvPr id="26" name="Tekstfelt 51">
            <a:extLst>
              <a:ext uri="{FF2B5EF4-FFF2-40B4-BE49-F238E27FC236}">
                <a16:creationId xmlns:a16="http://schemas.microsoft.com/office/drawing/2014/main" id="{6674D344-854F-5257-4C7F-F04D13111F44}"/>
              </a:ext>
            </a:extLst>
          </p:cNvPr>
          <p:cNvSpPr txBox="1"/>
          <p:nvPr/>
        </p:nvSpPr>
        <p:spPr>
          <a:xfrm>
            <a:off x="6902365" y="1090399"/>
            <a:ext cx="2755691" cy="646331"/>
          </a:xfrm>
          <a:prstGeom prst="rect">
            <a:avLst/>
          </a:prstGeom>
          <a:noFill/>
          <a:ln>
            <a:solidFill>
              <a:schemeClr val="bg1">
                <a:lumMod val="50000"/>
              </a:schemeClr>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chemeClr val="bg1">
                    <a:lumMod val="50000"/>
                  </a:schemeClr>
                </a:solidFill>
                <a:effectLst/>
                <a:uLnTx/>
                <a:uFillTx/>
                <a:latin typeface="Arial"/>
                <a:ea typeface="+mn-ea"/>
                <a:cs typeface="+mn-cs"/>
              </a:rPr>
              <a:t>Linjeledels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a-DK" sz="1200" b="1" dirty="0">
                <a:solidFill>
                  <a:schemeClr val="bg1">
                    <a:lumMod val="50000"/>
                  </a:schemeClr>
                </a:solidFill>
                <a:latin typeface="Arial"/>
              </a:rPr>
              <a:t>DIR</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200" b="1" i="0" u="none" strike="noStrike" kern="1200" cap="none" spc="0" normalizeH="0" baseline="0" noProof="0" dirty="0">
                <a:ln>
                  <a:noFill/>
                </a:ln>
                <a:solidFill>
                  <a:schemeClr val="bg1">
                    <a:lumMod val="50000"/>
                  </a:schemeClr>
                </a:solidFill>
                <a:effectLst/>
                <a:uLnTx/>
                <a:uFillTx/>
                <a:latin typeface="Arial"/>
                <a:ea typeface="+mn-ea"/>
                <a:cs typeface="+mn-cs"/>
              </a:rPr>
              <a:t>ALT</a:t>
            </a:r>
            <a:r>
              <a:rPr lang="da-DK" sz="1200" b="1" dirty="0">
                <a:solidFill>
                  <a:schemeClr val="bg1">
                    <a:lumMod val="50000"/>
                  </a:schemeClr>
                </a:solidFill>
                <a:latin typeface="Arial"/>
              </a:rPr>
              <a:t> (administrativ ledelsesteam)</a:t>
            </a:r>
            <a:endParaRPr kumimoji="0" lang="da-DK" sz="1200" b="1" i="0" u="none" strike="noStrike" kern="1200" cap="none" spc="0" normalizeH="0" baseline="0" noProof="0" dirty="0">
              <a:ln>
                <a:noFill/>
              </a:ln>
              <a:solidFill>
                <a:schemeClr val="bg1">
                  <a:lumMod val="50000"/>
                </a:schemeClr>
              </a:solidFill>
              <a:effectLst/>
              <a:uLnTx/>
              <a:uFillTx/>
              <a:latin typeface="Arial"/>
              <a:ea typeface="+mn-ea"/>
              <a:cs typeface="+mn-cs"/>
            </a:endParaRPr>
          </a:p>
        </p:txBody>
      </p:sp>
      <p:sp>
        <p:nvSpPr>
          <p:cNvPr id="27" name="Arrow: Up-Down 26">
            <a:extLst>
              <a:ext uri="{FF2B5EF4-FFF2-40B4-BE49-F238E27FC236}">
                <a16:creationId xmlns:a16="http://schemas.microsoft.com/office/drawing/2014/main" id="{6D7C2B6C-1D34-C5DE-3A66-F1D7382DACD6}"/>
              </a:ext>
            </a:extLst>
          </p:cNvPr>
          <p:cNvSpPr/>
          <p:nvPr/>
        </p:nvSpPr>
        <p:spPr>
          <a:xfrm>
            <a:off x="3925751" y="2054797"/>
            <a:ext cx="375459" cy="573499"/>
          </a:xfrm>
          <a:prstGeom prst="upDownArrow">
            <a:avLst/>
          </a:prstGeom>
          <a:solidFill>
            <a:schemeClr val="accent6">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err="1"/>
          </a:p>
        </p:txBody>
      </p:sp>
      <p:sp>
        <p:nvSpPr>
          <p:cNvPr id="30" name="Tekstfelt 11">
            <a:extLst>
              <a:ext uri="{FF2B5EF4-FFF2-40B4-BE49-F238E27FC236}">
                <a16:creationId xmlns:a16="http://schemas.microsoft.com/office/drawing/2014/main" id="{7159E291-1437-D432-E78C-22BFDD782BE5}"/>
              </a:ext>
            </a:extLst>
          </p:cNvPr>
          <p:cNvSpPr txBox="1"/>
          <p:nvPr/>
        </p:nvSpPr>
        <p:spPr>
          <a:xfrm>
            <a:off x="7381188" y="4422664"/>
            <a:ext cx="2076811" cy="461665"/>
          </a:xfrm>
          <a:prstGeom prst="rect">
            <a:avLst/>
          </a:prstGeom>
          <a:noFill/>
          <a:ln>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Koordinering og understøttelse</a:t>
            </a:r>
          </a:p>
        </p:txBody>
      </p:sp>
      <p:grpSp>
        <p:nvGrpSpPr>
          <p:cNvPr id="35" name="Group 34">
            <a:extLst>
              <a:ext uri="{FF2B5EF4-FFF2-40B4-BE49-F238E27FC236}">
                <a16:creationId xmlns:a16="http://schemas.microsoft.com/office/drawing/2014/main" id="{E234AD64-039B-FCAB-E7AF-78D4D59CE4D1}"/>
              </a:ext>
            </a:extLst>
          </p:cNvPr>
          <p:cNvGrpSpPr/>
          <p:nvPr/>
        </p:nvGrpSpPr>
        <p:grpSpPr>
          <a:xfrm>
            <a:off x="2145371" y="4409256"/>
            <a:ext cx="4133088" cy="2180287"/>
            <a:chOff x="2145371" y="4409256"/>
            <a:chExt cx="4133088" cy="2180287"/>
          </a:xfrm>
        </p:grpSpPr>
        <p:sp>
          <p:nvSpPr>
            <p:cNvPr id="101" name="Rektangel: afrundede hjørner 88">
              <a:extLst>
                <a:ext uri="{FF2B5EF4-FFF2-40B4-BE49-F238E27FC236}">
                  <a16:creationId xmlns:a16="http://schemas.microsoft.com/office/drawing/2014/main" id="{8CB0424E-957D-F5A0-5FED-6AE352C63072}"/>
                </a:ext>
              </a:extLst>
            </p:cNvPr>
            <p:cNvSpPr/>
            <p:nvPr/>
          </p:nvSpPr>
          <p:spPr>
            <a:xfrm>
              <a:off x="2145371" y="4409256"/>
              <a:ext cx="4133088" cy="2180287"/>
            </a:xfrm>
            <a:prstGeom prst="roundRect">
              <a:avLst/>
            </a:prstGeom>
            <a:solidFill>
              <a:schemeClr val="bg1"/>
            </a:solidFill>
            <a:ln w="28575">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FFFFFF"/>
                </a:solidFill>
                <a:effectLst/>
                <a:uLnTx/>
                <a:uFillTx/>
                <a:latin typeface="Arial"/>
                <a:ea typeface="+mn-ea"/>
                <a:cs typeface="+mn-cs"/>
              </a:endParaRPr>
            </a:p>
          </p:txBody>
        </p:sp>
        <p:sp>
          <p:nvSpPr>
            <p:cNvPr id="90" name="Tekstfelt 11">
              <a:extLst>
                <a:ext uri="{FF2B5EF4-FFF2-40B4-BE49-F238E27FC236}">
                  <a16:creationId xmlns:a16="http://schemas.microsoft.com/office/drawing/2014/main" id="{8A337948-6653-C509-6626-FEC3949755CA}"/>
                </a:ext>
              </a:extLst>
            </p:cNvPr>
            <p:cNvSpPr txBox="1"/>
            <p:nvPr/>
          </p:nvSpPr>
          <p:spPr>
            <a:xfrm>
              <a:off x="3220583" y="5412266"/>
              <a:ext cx="240944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200" b="1" i="0" u="none" strike="noStrike" kern="1200" cap="none" spc="0" normalizeH="0" baseline="0" noProof="0" dirty="0">
                  <a:ln>
                    <a:noFill/>
                  </a:ln>
                  <a:solidFill>
                    <a:srgbClr val="000000"/>
                  </a:solidFill>
                  <a:effectLst/>
                  <a:uLnTx/>
                  <a:uFillTx/>
                  <a:latin typeface="Arial"/>
                  <a:ea typeface="+mn-ea"/>
                  <a:cs typeface="+mn-cs"/>
                </a:rPr>
                <a:t>Procesejer     Fakultetspartner</a:t>
              </a:r>
            </a:p>
          </p:txBody>
        </p:sp>
        <p:pic>
          <p:nvPicPr>
            <p:cNvPr id="102" name="Grafik 50" descr="Gruppe med massiv udfyldning">
              <a:extLst>
                <a:ext uri="{FF2B5EF4-FFF2-40B4-BE49-F238E27FC236}">
                  <a16:creationId xmlns:a16="http://schemas.microsoft.com/office/drawing/2014/main" id="{862116E7-27D2-1CA6-0D32-E53CD729C41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38741" y="5616289"/>
              <a:ext cx="925437" cy="679529"/>
            </a:xfrm>
            <a:prstGeom prst="rect">
              <a:avLst/>
            </a:prstGeom>
          </p:spPr>
        </p:pic>
        <p:pic>
          <p:nvPicPr>
            <p:cNvPr id="99" name="Grafik 87" descr="Office-arbejder med kvinde med massiv udfyldning">
              <a:extLst>
                <a:ext uri="{FF2B5EF4-FFF2-40B4-BE49-F238E27FC236}">
                  <a16:creationId xmlns:a16="http://schemas.microsoft.com/office/drawing/2014/main" id="{948BF891-1450-416F-E022-CEBA841F953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454109" y="4960565"/>
              <a:ext cx="483070" cy="483070"/>
            </a:xfrm>
            <a:prstGeom prst="rect">
              <a:avLst/>
            </a:prstGeom>
          </p:spPr>
        </p:pic>
        <p:sp>
          <p:nvSpPr>
            <p:cNvPr id="95" name="Tekstfelt 35">
              <a:extLst>
                <a:ext uri="{FF2B5EF4-FFF2-40B4-BE49-F238E27FC236}">
                  <a16:creationId xmlns:a16="http://schemas.microsoft.com/office/drawing/2014/main" id="{2B563521-8D29-B3FA-E96E-1BB64005FD66}"/>
                </a:ext>
              </a:extLst>
            </p:cNvPr>
            <p:cNvSpPr txBox="1"/>
            <p:nvPr/>
          </p:nvSpPr>
          <p:spPr>
            <a:xfrm>
              <a:off x="3105980" y="4609635"/>
              <a:ext cx="2178407" cy="307777"/>
            </a:xfrm>
            <a:prstGeom prst="rect">
              <a:avLst/>
            </a:prstGeom>
            <a:noFill/>
            <a:ln>
              <a:solidFill>
                <a:schemeClr val="accent2">
                  <a:lumMod val="75000"/>
                </a:schemeClr>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1" i="0" u="none" strike="noStrike" kern="1200" cap="none" spc="0" normalizeH="0" baseline="0" noProof="0" dirty="0">
                  <a:ln>
                    <a:noFill/>
                  </a:ln>
                  <a:solidFill>
                    <a:srgbClr val="000000"/>
                  </a:solidFill>
                  <a:effectLst/>
                  <a:uLnTx/>
                  <a:uFillTx/>
                  <a:latin typeface="Arial"/>
                  <a:ea typeface="+mn-ea"/>
                  <a:cs typeface="+mn-cs"/>
                </a:rPr>
                <a:t>SDU procesgruppe 1-8</a:t>
              </a:r>
            </a:p>
          </p:txBody>
        </p:sp>
        <p:pic>
          <p:nvPicPr>
            <p:cNvPr id="5" name="Grafik 50" descr="Gruppe med massiv udfyldning">
              <a:extLst>
                <a:ext uri="{FF2B5EF4-FFF2-40B4-BE49-F238E27FC236}">
                  <a16:creationId xmlns:a16="http://schemas.microsoft.com/office/drawing/2014/main" id="{EFE1E556-2B5F-F394-A07F-D96A3855FE4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45002" y="5613333"/>
              <a:ext cx="925437" cy="679529"/>
            </a:xfrm>
            <a:prstGeom prst="rect">
              <a:avLst/>
            </a:prstGeom>
          </p:spPr>
        </p:pic>
        <p:pic>
          <p:nvPicPr>
            <p:cNvPr id="7" name="Graphic 6" descr="Owl outline">
              <a:extLst>
                <a:ext uri="{FF2B5EF4-FFF2-40B4-BE49-F238E27FC236}">
                  <a16:creationId xmlns:a16="http://schemas.microsoft.com/office/drawing/2014/main" id="{C511621F-3C03-7B36-250E-D24A3C4C23A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4283431" y="4959867"/>
              <a:ext cx="471486" cy="471486"/>
            </a:xfrm>
            <a:prstGeom prst="rect">
              <a:avLst/>
            </a:prstGeom>
          </p:spPr>
        </p:pic>
      </p:grpSp>
      <p:sp>
        <p:nvSpPr>
          <p:cNvPr id="10" name="TextBox 9">
            <a:extLst>
              <a:ext uri="{FF2B5EF4-FFF2-40B4-BE49-F238E27FC236}">
                <a16:creationId xmlns:a16="http://schemas.microsoft.com/office/drawing/2014/main" id="{E2D154DB-86F7-EB99-B6FE-7768E98C0BF8}"/>
              </a:ext>
            </a:extLst>
          </p:cNvPr>
          <p:cNvSpPr txBox="1"/>
          <p:nvPr/>
        </p:nvSpPr>
        <p:spPr>
          <a:xfrm>
            <a:off x="5070439" y="5806397"/>
            <a:ext cx="862584" cy="276999"/>
          </a:xfrm>
          <a:prstGeom prst="rect">
            <a:avLst/>
          </a:prstGeom>
          <a:noFill/>
        </p:spPr>
        <p:txBody>
          <a:bodyPr wrap="square">
            <a:spAutoFit/>
          </a:bodyPr>
          <a:lstStyle/>
          <a:p>
            <a:r>
              <a:rPr kumimoji="0" lang="da-DK" sz="1200" b="1" i="0" u="none" strike="noStrike" kern="1200" cap="none" spc="0" normalizeH="0" baseline="0" noProof="0" dirty="0" err="1">
                <a:ln>
                  <a:noFill/>
                </a:ln>
                <a:solidFill>
                  <a:srgbClr val="000000"/>
                </a:solidFill>
                <a:effectLst/>
                <a:uLnTx/>
                <a:uFillTx/>
                <a:latin typeface="Arial"/>
                <a:ea typeface="+mn-ea"/>
                <a:cs typeface="+mn-cs"/>
              </a:rPr>
              <a:t>SME´er</a:t>
            </a:r>
            <a:endParaRPr lang="da-DK" sz="1200" dirty="0"/>
          </a:p>
        </p:txBody>
      </p:sp>
      <p:pic>
        <p:nvPicPr>
          <p:cNvPr id="15" name="Picture 14">
            <a:extLst>
              <a:ext uri="{FF2B5EF4-FFF2-40B4-BE49-F238E27FC236}">
                <a16:creationId xmlns:a16="http://schemas.microsoft.com/office/drawing/2014/main" id="{B4F15AE0-6239-A997-F365-032EC2EE1FA8}"/>
              </a:ext>
            </a:extLst>
          </p:cNvPr>
          <p:cNvPicPr>
            <a:picLocks noChangeAspect="1"/>
          </p:cNvPicPr>
          <p:nvPr/>
        </p:nvPicPr>
        <p:blipFill>
          <a:blip r:embed="rId15"/>
          <a:stretch>
            <a:fillRect/>
          </a:stretch>
        </p:blipFill>
        <p:spPr>
          <a:xfrm>
            <a:off x="8993144" y="3470769"/>
            <a:ext cx="1761897" cy="2365453"/>
          </a:xfrm>
          <a:prstGeom prst="rect">
            <a:avLst/>
          </a:prstGeom>
        </p:spPr>
      </p:pic>
      <p:sp>
        <p:nvSpPr>
          <p:cNvPr id="29" name="TextBox 28">
            <a:extLst>
              <a:ext uri="{FF2B5EF4-FFF2-40B4-BE49-F238E27FC236}">
                <a16:creationId xmlns:a16="http://schemas.microsoft.com/office/drawing/2014/main" id="{1510041F-D393-B5F0-302D-59250E0D8922}"/>
              </a:ext>
            </a:extLst>
          </p:cNvPr>
          <p:cNvSpPr txBox="1"/>
          <p:nvPr/>
        </p:nvSpPr>
        <p:spPr>
          <a:xfrm>
            <a:off x="8691538" y="3071003"/>
            <a:ext cx="2640916" cy="246221"/>
          </a:xfrm>
          <a:prstGeom prst="rect">
            <a:avLst/>
          </a:prstGeom>
          <a:noFill/>
        </p:spPr>
        <p:txBody>
          <a:bodyPr wrap="none" lIns="0" tIns="0" rIns="0" bIns="0" rtlCol="0">
            <a:spAutoFit/>
          </a:bodyPr>
          <a:lstStyle/>
          <a:p>
            <a:r>
              <a:rPr lang="da-DK" sz="1600" b="1" dirty="0"/>
              <a:t>Team forretningsprocesser</a:t>
            </a:r>
          </a:p>
        </p:txBody>
      </p:sp>
    </p:spTree>
    <p:extLst>
      <p:ext uri="{BB962C8B-B14F-4D97-AF65-F5344CB8AC3E}">
        <p14:creationId xmlns:p14="http://schemas.microsoft.com/office/powerpoint/2010/main" val="19644505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DD678A99-0141-7E2E-36B2-9760543BC0D4}"/>
              </a:ext>
            </a:extLst>
          </p:cNvPr>
          <p:cNvSpPr txBox="1"/>
          <p:nvPr/>
        </p:nvSpPr>
        <p:spPr>
          <a:xfrm>
            <a:off x="280850" y="272143"/>
            <a:ext cx="2214699" cy="467178"/>
          </a:xfrm>
          <a:prstGeom prst="rect">
            <a:avLst/>
          </a:prstGeom>
          <a:solidFill>
            <a:schemeClr val="bg1"/>
          </a:solidFill>
        </p:spPr>
        <p:txBody>
          <a:bodyPr wrap="square" lIns="0" tIns="0" rIns="0" bIns="0" rtlCol="0">
            <a:spAutoFit/>
          </a:bodyPr>
          <a:lstStyle/>
          <a:p>
            <a:endParaRPr lang="da-DK" sz="1600" err="1"/>
          </a:p>
        </p:txBody>
      </p:sp>
      <p:pic>
        <p:nvPicPr>
          <p:cNvPr id="8" name="Content Placeholder 6">
            <a:extLst>
              <a:ext uri="{FF2B5EF4-FFF2-40B4-BE49-F238E27FC236}">
                <a16:creationId xmlns:a16="http://schemas.microsoft.com/office/drawing/2014/main" id="{CFC72964-4EBA-2701-E897-428F28A732FF}"/>
              </a:ext>
            </a:extLst>
          </p:cNvPr>
          <p:cNvPicPr>
            <a:picLocks noChangeAspect="1"/>
          </p:cNvPicPr>
          <p:nvPr/>
        </p:nvPicPr>
        <p:blipFill>
          <a:blip r:embed="rId2"/>
          <a:stretch>
            <a:fillRect/>
          </a:stretch>
        </p:blipFill>
        <p:spPr>
          <a:xfrm>
            <a:off x="4512427" y="1018312"/>
            <a:ext cx="7447906" cy="4969100"/>
          </a:xfrm>
          <a:prstGeom prst="rect">
            <a:avLst/>
          </a:prstGeom>
          <a:noFill/>
        </p:spPr>
      </p:pic>
      <p:sp>
        <p:nvSpPr>
          <p:cNvPr id="11" name="TextBox 10">
            <a:extLst>
              <a:ext uri="{FF2B5EF4-FFF2-40B4-BE49-F238E27FC236}">
                <a16:creationId xmlns:a16="http://schemas.microsoft.com/office/drawing/2014/main" id="{5CF297F0-9838-A5B9-7482-C2DBA9F498BE}"/>
              </a:ext>
            </a:extLst>
          </p:cNvPr>
          <p:cNvSpPr txBox="1"/>
          <p:nvPr/>
        </p:nvSpPr>
        <p:spPr>
          <a:xfrm>
            <a:off x="8512332" y="1256668"/>
            <a:ext cx="2266950" cy="861774"/>
          </a:xfrm>
          <a:prstGeom prst="rect">
            <a:avLst/>
          </a:prstGeom>
          <a:noFill/>
        </p:spPr>
        <p:txBody>
          <a:bodyPr wrap="square" lIns="0" tIns="0" rIns="0" bIns="0" rtlCol="0" anchor="t">
            <a:spAutoFit/>
          </a:bodyPr>
          <a:lstStyle/>
          <a:p>
            <a:endParaRPr lang="da-DK" sz="1000"/>
          </a:p>
          <a:p>
            <a:r>
              <a:rPr lang="da-DK" sz="1000">
                <a:solidFill>
                  <a:srgbClr val="FF0000"/>
                </a:solidFill>
              </a:rPr>
              <a:t>Formand for procesejerforum og referencegruppen, Stinne H. Hansen, VD</a:t>
            </a:r>
            <a:endParaRPr lang="da-DK" sz="1000">
              <a:solidFill>
                <a:srgbClr val="FF0000"/>
              </a:solidFill>
              <a:cs typeface="Arial"/>
            </a:endParaRPr>
          </a:p>
          <a:p>
            <a:endParaRPr lang="da-DK" sz="1600" err="1"/>
          </a:p>
        </p:txBody>
      </p:sp>
      <p:sp>
        <p:nvSpPr>
          <p:cNvPr id="12" name="TextBox 11">
            <a:extLst>
              <a:ext uri="{FF2B5EF4-FFF2-40B4-BE49-F238E27FC236}">
                <a16:creationId xmlns:a16="http://schemas.microsoft.com/office/drawing/2014/main" id="{7B44B029-78F3-4DB0-239A-86E1102F968D}"/>
              </a:ext>
            </a:extLst>
          </p:cNvPr>
          <p:cNvSpPr txBox="1"/>
          <p:nvPr/>
        </p:nvSpPr>
        <p:spPr>
          <a:xfrm>
            <a:off x="8014722" y="1819952"/>
            <a:ext cx="2266950" cy="861774"/>
          </a:xfrm>
          <a:prstGeom prst="rect">
            <a:avLst/>
          </a:prstGeom>
          <a:noFill/>
        </p:spPr>
        <p:txBody>
          <a:bodyPr wrap="square" lIns="0" tIns="0" rIns="0" bIns="0" rtlCol="0">
            <a:spAutoFit/>
          </a:bodyPr>
          <a:lstStyle/>
          <a:p>
            <a:endParaRPr lang="da-DK" sz="1000"/>
          </a:p>
          <a:p>
            <a:r>
              <a:rPr lang="da-DK" sz="1000">
                <a:solidFill>
                  <a:srgbClr val="FF0000"/>
                </a:solidFill>
              </a:rPr>
              <a:t>SDU SIS referencegruppedeltagere, Sekretariatschefer, områdechef for SDU IT og Digital</a:t>
            </a:r>
          </a:p>
          <a:p>
            <a:endParaRPr lang="da-DK" sz="1600" err="1"/>
          </a:p>
        </p:txBody>
      </p:sp>
      <p:sp>
        <p:nvSpPr>
          <p:cNvPr id="13" name="TextBox 12">
            <a:extLst>
              <a:ext uri="{FF2B5EF4-FFF2-40B4-BE49-F238E27FC236}">
                <a16:creationId xmlns:a16="http://schemas.microsoft.com/office/drawing/2014/main" id="{B65E4104-9A3C-AA8F-8E8D-80746239EF75}"/>
              </a:ext>
            </a:extLst>
          </p:cNvPr>
          <p:cNvSpPr txBox="1"/>
          <p:nvPr/>
        </p:nvSpPr>
        <p:spPr>
          <a:xfrm>
            <a:off x="8214107" y="2690321"/>
            <a:ext cx="2266950" cy="553998"/>
          </a:xfrm>
          <a:prstGeom prst="rect">
            <a:avLst/>
          </a:prstGeom>
          <a:noFill/>
        </p:spPr>
        <p:txBody>
          <a:bodyPr wrap="square" lIns="0" tIns="0" rIns="0" bIns="0" rtlCol="0">
            <a:spAutoFit/>
          </a:bodyPr>
          <a:lstStyle/>
          <a:p>
            <a:endParaRPr lang="da-DK" sz="1000"/>
          </a:p>
          <a:p>
            <a:r>
              <a:rPr lang="da-DK" sz="1000">
                <a:solidFill>
                  <a:srgbClr val="FF0000"/>
                </a:solidFill>
              </a:rPr>
              <a:t>Procesejerforum</a:t>
            </a:r>
            <a:r>
              <a:rPr lang="da-DK" sz="1000"/>
              <a:t> </a:t>
            </a:r>
          </a:p>
          <a:p>
            <a:endParaRPr lang="da-DK" sz="1600" err="1"/>
          </a:p>
        </p:txBody>
      </p:sp>
      <p:sp>
        <p:nvSpPr>
          <p:cNvPr id="3" name="TextBox 2">
            <a:extLst>
              <a:ext uri="{FF2B5EF4-FFF2-40B4-BE49-F238E27FC236}">
                <a16:creationId xmlns:a16="http://schemas.microsoft.com/office/drawing/2014/main" id="{3E5BB94F-B96C-D5F0-12D1-3DED134E64BF}"/>
              </a:ext>
            </a:extLst>
          </p:cNvPr>
          <p:cNvSpPr txBox="1"/>
          <p:nvPr/>
        </p:nvSpPr>
        <p:spPr>
          <a:xfrm>
            <a:off x="7305973" y="3508507"/>
            <a:ext cx="2266950" cy="553998"/>
          </a:xfrm>
          <a:prstGeom prst="rect">
            <a:avLst/>
          </a:prstGeom>
          <a:noFill/>
        </p:spPr>
        <p:txBody>
          <a:bodyPr wrap="square" lIns="0" tIns="0" rIns="0" bIns="0" rtlCol="0">
            <a:spAutoFit/>
          </a:bodyPr>
          <a:lstStyle/>
          <a:p>
            <a:endParaRPr lang="da-DK" sz="1000"/>
          </a:p>
          <a:p>
            <a:r>
              <a:rPr lang="da-DK" sz="1000">
                <a:solidFill>
                  <a:srgbClr val="FF0000"/>
                </a:solidFill>
              </a:rPr>
              <a:t>Ugler (SME)</a:t>
            </a:r>
          </a:p>
          <a:p>
            <a:endParaRPr lang="da-DK" sz="1600" err="1"/>
          </a:p>
        </p:txBody>
      </p:sp>
      <p:sp>
        <p:nvSpPr>
          <p:cNvPr id="4" name="TextBox 3">
            <a:extLst>
              <a:ext uri="{FF2B5EF4-FFF2-40B4-BE49-F238E27FC236}">
                <a16:creationId xmlns:a16="http://schemas.microsoft.com/office/drawing/2014/main" id="{A499B1AC-FE22-9A14-B6F5-FDF5307B8260}"/>
              </a:ext>
            </a:extLst>
          </p:cNvPr>
          <p:cNvSpPr txBox="1"/>
          <p:nvPr/>
        </p:nvSpPr>
        <p:spPr>
          <a:xfrm>
            <a:off x="8309236" y="3188514"/>
            <a:ext cx="2266950" cy="553998"/>
          </a:xfrm>
          <a:prstGeom prst="rect">
            <a:avLst/>
          </a:prstGeom>
          <a:noFill/>
        </p:spPr>
        <p:txBody>
          <a:bodyPr wrap="square" lIns="0" tIns="0" rIns="0" bIns="0" rtlCol="0">
            <a:spAutoFit/>
          </a:bodyPr>
          <a:lstStyle/>
          <a:p>
            <a:endParaRPr lang="da-DK" sz="1000"/>
          </a:p>
          <a:p>
            <a:r>
              <a:rPr lang="da-DK" sz="1000">
                <a:solidFill>
                  <a:srgbClr val="FF0000"/>
                </a:solidFill>
              </a:rPr>
              <a:t>Projektleder</a:t>
            </a:r>
          </a:p>
          <a:p>
            <a:endParaRPr lang="da-DK" sz="1600" err="1"/>
          </a:p>
        </p:txBody>
      </p:sp>
      <p:pic>
        <p:nvPicPr>
          <p:cNvPr id="9" name="Content Placeholder 6">
            <a:extLst>
              <a:ext uri="{FF2B5EF4-FFF2-40B4-BE49-F238E27FC236}">
                <a16:creationId xmlns:a16="http://schemas.microsoft.com/office/drawing/2014/main" id="{AB1AB490-E538-13BC-D236-BEBF28A3C82E}"/>
              </a:ext>
            </a:extLst>
          </p:cNvPr>
          <p:cNvPicPr>
            <a:picLocks noChangeAspect="1"/>
          </p:cNvPicPr>
          <p:nvPr/>
        </p:nvPicPr>
        <p:blipFill>
          <a:blip r:embed="rId3"/>
          <a:stretch/>
        </p:blipFill>
        <p:spPr>
          <a:xfrm>
            <a:off x="340185" y="4463114"/>
            <a:ext cx="5784237" cy="2287237"/>
          </a:xfrm>
          <a:prstGeom prst="rect">
            <a:avLst/>
          </a:prstGeom>
          <a:noFill/>
        </p:spPr>
      </p:pic>
      <p:sp>
        <p:nvSpPr>
          <p:cNvPr id="14" name="TextBox 13">
            <a:extLst>
              <a:ext uri="{FF2B5EF4-FFF2-40B4-BE49-F238E27FC236}">
                <a16:creationId xmlns:a16="http://schemas.microsoft.com/office/drawing/2014/main" id="{365D191A-30BB-8E9D-7245-EB1BC2FBC6EB}"/>
              </a:ext>
            </a:extLst>
          </p:cNvPr>
          <p:cNvSpPr txBox="1"/>
          <p:nvPr/>
        </p:nvSpPr>
        <p:spPr>
          <a:xfrm>
            <a:off x="9222417" y="975318"/>
            <a:ext cx="2118510" cy="307777"/>
          </a:xfrm>
          <a:prstGeom prst="rect">
            <a:avLst/>
          </a:prstGeom>
          <a:noFill/>
        </p:spPr>
        <p:txBody>
          <a:bodyPr wrap="square" lIns="0" tIns="0" rIns="0" bIns="0" rtlCol="0">
            <a:spAutoFit/>
          </a:bodyPr>
          <a:lstStyle/>
          <a:p>
            <a:r>
              <a:rPr lang="da-DK" sz="1000">
                <a:solidFill>
                  <a:srgbClr val="FF0000"/>
                </a:solidFill>
              </a:rPr>
              <a:t>Formand for SDU SIS styregruppen, Thomas Buchvald Vind</a:t>
            </a:r>
          </a:p>
        </p:txBody>
      </p:sp>
      <p:sp>
        <p:nvSpPr>
          <p:cNvPr id="15" name="TextBox 14">
            <a:extLst>
              <a:ext uri="{FF2B5EF4-FFF2-40B4-BE49-F238E27FC236}">
                <a16:creationId xmlns:a16="http://schemas.microsoft.com/office/drawing/2014/main" id="{3C9361EC-DF86-D096-B616-C42A60562DB0}"/>
              </a:ext>
            </a:extLst>
          </p:cNvPr>
          <p:cNvSpPr txBox="1"/>
          <p:nvPr/>
        </p:nvSpPr>
        <p:spPr>
          <a:xfrm>
            <a:off x="6518495" y="4155338"/>
            <a:ext cx="1409984" cy="307777"/>
          </a:xfrm>
          <a:prstGeom prst="rect">
            <a:avLst/>
          </a:prstGeom>
          <a:noFill/>
        </p:spPr>
        <p:txBody>
          <a:bodyPr wrap="square" lIns="0" tIns="0" rIns="0" bIns="0" rtlCol="0">
            <a:spAutoFit/>
          </a:bodyPr>
          <a:lstStyle/>
          <a:p>
            <a:r>
              <a:rPr lang="da-DK" sz="1000">
                <a:solidFill>
                  <a:srgbClr val="FF0000"/>
                </a:solidFill>
              </a:rPr>
              <a:t>Procesgruppedeltagere</a:t>
            </a:r>
          </a:p>
          <a:p>
            <a:endParaRPr lang="da-DK" sz="1000" err="1">
              <a:solidFill>
                <a:srgbClr val="FF0000"/>
              </a:solidFill>
            </a:endParaRPr>
          </a:p>
        </p:txBody>
      </p:sp>
      <p:sp>
        <p:nvSpPr>
          <p:cNvPr id="16" name="TextBox 15">
            <a:extLst>
              <a:ext uri="{FF2B5EF4-FFF2-40B4-BE49-F238E27FC236}">
                <a16:creationId xmlns:a16="http://schemas.microsoft.com/office/drawing/2014/main" id="{7FEE60DE-E8A3-9050-4FD9-F6AD0E2E3789}"/>
              </a:ext>
            </a:extLst>
          </p:cNvPr>
          <p:cNvSpPr txBox="1"/>
          <p:nvPr/>
        </p:nvSpPr>
        <p:spPr>
          <a:xfrm>
            <a:off x="8151002" y="4086816"/>
            <a:ext cx="1409984" cy="307777"/>
          </a:xfrm>
          <a:prstGeom prst="rect">
            <a:avLst/>
          </a:prstGeom>
          <a:noFill/>
        </p:spPr>
        <p:txBody>
          <a:bodyPr wrap="square" lIns="0" tIns="0" rIns="0" bIns="0" rtlCol="0">
            <a:spAutoFit/>
          </a:bodyPr>
          <a:lstStyle/>
          <a:p>
            <a:r>
              <a:rPr lang="da-DK" sz="1000">
                <a:solidFill>
                  <a:srgbClr val="FF0000"/>
                </a:solidFill>
              </a:rPr>
              <a:t>Projektkoordinator</a:t>
            </a:r>
          </a:p>
          <a:p>
            <a:endParaRPr lang="da-DK" sz="1000" err="1">
              <a:solidFill>
                <a:srgbClr val="FF0000"/>
              </a:solidFill>
            </a:endParaRPr>
          </a:p>
        </p:txBody>
      </p:sp>
      <p:sp>
        <p:nvSpPr>
          <p:cNvPr id="17" name="TextBox 16">
            <a:extLst>
              <a:ext uri="{FF2B5EF4-FFF2-40B4-BE49-F238E27FC236}">
                <a16:creationId xmlns:a16="http://schemas.microsoft.com/office/drawing/2014/main" id="{C9C87475-80E9-7F29-C679-A1AA1FD7AA7A}"/>
              </a:ext>
            </a:extLst>
          </p:cNvPr>
          <p:cNvSpPr txBox="1"/>
          <p:nvPr/>
        </p:nvSpPr>
        <p:spPr>
          <a:xfrm>
            <a:off x="8151002" y="4309226"/>
            <a:ext cx="1409984" cy="307777"/>
          </a:xfrm>
          <a:prstGeom prst="rect">
            <a:avLst/>
          </a:prstGeom>
          <a:noFill/>
        </p:spPr>
        <p:txBody>
          <a:bodyPr wrap="square" lIns="0" tIns="0" rIns="0" bIns="0" rtlCol="0">
            <a:spAutoFit/>
          </a:bodyPr>
          <a:lstStyle/>
          <a:p>
            <a:r>
              <a:rPr lang="da-DK" sz="1000">
                <a:solidFill>
                  <a:srgbClr val="FF0000"/>
                </a:solidFill>
              </a:rPr>
              <a:t>Proceskonsulent og UX</a:t>
            </a:r>
          </a:p>
          <a:p>
            <a:endParaRPr lang="da-DK" sz="1000" err="1">
              <a:solidFill>
                <a:srgbClr val="FF0000"/>
              </a:solidFill>
            </a:endParaRPr>
          </a:p>
        </p:txBody>
      </p:sp>
      <p:sp>
        <p:nvSpPr>
          <p:cNvPr id="18" name="TextBox 17">
            <a:extLst>
              <a:ext uri="{FF2B5EF4-FFF2-40B4-BE49-F238E27FC236}">
                <a16:creationId xmlns:a16="http://schemas.microsoft.com/office/drawing/2014/main" id="{F1D56AE5-BD83-E3AC-76DA-72BB695EAAD4}"/>
              </a:ext>
            </a:extLst>
          </p:cNvPr>
          <p:cNvSpPr txBox="1"/>
          <p:nvPr/>
        </p:nvSpPr>
        <p:spPr>
          <a:xfrm>
            <a:off x="8214107" y="3643188"/>
            <a:ext cx="1409984" cy="307777"/>
          </a:xfrm>
          <a:prstGeom prst="rect">
            <a:avLst/>
          </a:prstGeom>
          <a:noFill/>
        </p:spPr>
        <p:txBody>
          <a:bodyPr wrap="square" lIns="0" tIns="0" rIns="0" bIns="0" rtlCol="0">
            <a:spAutoFit/>
          </a:bodyPr>
          <a:lstStyle/>
          <a:p>
            <a:r>
              <a:rPr lang="da-DK" sz="1000">
                <a:solidFill>
                  <a:srgbClr val="FF0000"/>
                </a:solidFill>
              </a:rPr>
              <a:t>Forretningsudvikler</a:t>
            </a:r>
          </a:p>
          <a:p>
            <a:endParaRPr lang="da-DK" sz="1000" err="1">
              <a:solidFill>
                <a:srgbClr val="FF0000"/>
              </a:solidFill>
            </a:endParaRPr>
          </a:p>
        </p:txBody>
      </p:sp>
      <p:sp>
        <p:nvSpPr>
          <p:cNvPr id="19" name="TextBox 18">
            <a:extLst>
              <a:ext uri="{FF2B5EF4-FFF2-40B4-BE49-F238E27FC236}">
                <a16:creationId xmlns:a16="http://schemas.microsoft.com/office/drawing/2014/main" id="{FAE0F9D3-419B-EDCB-0600-98C63ED31CB0}"/>
              </a:ext>
            </a:extLst>
          </p:cNvPr>
          <p:cNvSpPr txBox="1"/>
          <p:nvPr/>
        </p:nvSpPr>
        <p:spPr>
          <a:xfrm>
            <a:off x="7309730" y="4906742"/>
            <a:ext cx="1409984" cy="461665"/>
          </a:xfrm>
          <a:prstGeom prst="rect">
            <a:avLst/>
          </a:prstGeom>
          <a:noFill/>
        </p:spPr>
        <p:txBody>
          <a:bodyPr wrap="square" lIns="0" tIns="0" rIns="0" bIns="0" rtlCol="0">
            <a:spAutoFit/>
          </a:bodyPr>
          <a:lstStyle/>
          <a:p>
            <a:r>
              <a:rPr lang="da-DK" sz="1000">
                <a:solidFill>
                  <a:srgbClr val="FF0000"/>
                </a:solidFill>
              </a:rPr>
              <a:t>Tovholder for systemforvaltning</a:t>
            </a:r>
          </a:p>
          <a:p>
            <a:endParaRPr lang="da-DK" sz="1000" err="1">
              <a:solidFill>
                <a:srgbClr val="FF0000"/>
              </a:solidFill>
            </a:endParaRPr>
          </a:p>
        </p:txBody>
      </p:sp>
      <p:sp>
        <p:nvSpPr>
          <p:cNvPr id="20" name="TextBox 19">
            <a:extLst>
              <a:ext uri="{FF2B5EF4-FFF2-40B4-BE49-F238E27FC236}">
                <a16:creationId xmlns:a16="http://schemas.microsoft.com/office/drawing/2014/main" id="{FBCB6F37-A7A0-06E6-8229-56E89FFA2C77}"/>
              </a:ext>
            </a:extLst>
          </p:cNvPr>
          <p:cNvSpPr txBox="1"/>
          <p:nvPr/>
        </p:nvSpPr>
        <p:spPr>
          <a:xfrm>
            <a:off x="7309730" y="5250174"/>
            <a:ext cx="1409984" cy="307777"/>
          </a:xfrm>
          <a:prstGeom prst="rect">
            <a:avLst/>
          </a:prstGeom>
          <a:noFill/>
        </p:spPr>
        <p:txBody>
          <a:bodyPr wrap="square" lIns="0" tIns="0" rIns="0" bIns="0" rtlCol="0">
            <a:spAutoFit/>
          </a:bodyPr>
          <a:lstStyle/>
          <a:p>
            <a:r>
              <a:rPr lang="da-DK" sz="1000">
                <a:solidFill>
                  <a:srgbClr val="FF0000"/>
                </a:solidFill>
              </a:rPr>
              <a:t>Superbrugere</a:t>
            </a:r>
          </a:p>
          <a:p>
            <a:endParaRPr lang="da-DK" sz="1000" err="1">
              <a:solidFill>
                <a:srgbClr val="FF0000"/>
              </a:solidFill>
            </a:endParaRPr>
          </a:p>
        </p:txBody>
      </p:sp>
      <p:sp>
        <p:nvSpPr>
          <p:cNvPr id="5" name="Title 4">
            <a:extLst>
              <a:ext uri="{FF2B5EF4-FFF2-40B4-BE49-F238E27FC236}">
                <a16:creationId xmlns:a16="http://schemas.microsoft.com/office/drawing/2014/main" id="{CE73200A-BCD7-8D0F-445F-782746FE71D6}"/>
              </a:ext>
            </a:extLst>
          </p:cNvPr>
          <p:cNvSpPr>
            <a:spLocks noGrp="1"/>
          </p:cNvSpPr>
          <p:nvPr>
            <p:ph type="title"/>
          </p:nvPr>
        </p:nvSpPr>
        <p:spPr>
          <a:xfrm>
            <a:off x="459268" y="446316"/>
            <a:ext cx="5068390" cy="671967"/>
          </a:xfrm>
        </p:spPr>
        <p:txBody>
          <a:bodyPr anchor="t">
            <a:normAutofit/>
          </a:bodyPr>
          <a:lstStyle/>
          <a:p>
            <a:r>
              <a:rPr lang="da-DK" sz="3200" dirty="0"/>
              <a:t>Forandringsorganisation</a:t>
            </a:r>
          </a:p>
        </p:txBody>
      </p:sp>
      <p:sp>
        <p:nvSpPr>
          <p:cNvPr id="6" name="Content Placeholder 5">
            <a:extLst>
              <a:ext uri="{FF2B5EF4-FFF2-40B4-BE49-F238E27FC236}">
                <a16:creationId xmlns:a16="http://schemas.microsoft.com/office/drawing/2014/main" id="{02C735DD-8858-8B4B-8089-5B22A411F64A}"/>
              </a:ext>
            </a:extLst>
          </p:cNvPr>
          <p:cNvSpPr>
            <a:spLocks noGrp="1"/>
          </p:cNvSpPr>
          <p:nvPr>
            <p:ph sz="quarter" idx="19"/>
          </p:nvPr>
        </p:nvSpPr>
        <p:spPr>
          <a:xfrm>
            <a:off x="501271" y="1204418"/>
            <a:ext cx="4807590" cy="2708214"/>
          </a:xfrm>
        </p:spPr>
        <p:txBody>
          <a:bodyPr>
            <a:normAutofit fontScale="92500" lnSpcReduction="10000"/>
          </a:bodyPr>
          <a:lstStyle/>
          <a:p>
            <a:pPr marL="342900" indent="-342900">
              <a:lnSpc>
                <a:spcPct val="100000"/>
              </a:lnSpc>
              <a:spcAft>
                <a:spcPts val="600"/>
              </a:spcAft>
              <a:buFont typeface="+mj-lt"/>
              <a:buAutoNum type="arabicPeriod"/>
            </a:pPr>
            <a:r>
              <a:rPr lang="da-DK" sz="1200" dirty="0"/>
              <a:t>Formand for SDU SIS styregruppen, (UD)</a:t>
            </a:r>
          </a:p>
          <a:p>
            <a:pPr marL="342900" indent="-342900">
              <a:lnSpc>
                <a:spcPct val="100000"/>
              </a:lnSpc>
              <a:spcAft>
                <a:spcPts val="600"/>
              </a:spcAft>
              <a:buFont typeface="+mj-lt"/>
              <a:buAutoNum type="arabicPeriod"/>
            </a:pPr>
            <a:r>
              <a:rPr lang="da-DK" sz="1200" dirty="0"/>
              <a:t>Formand for procesejerforum og </a:t>
            </a:r>
            <a:r>
              <a:rPr lang="da-DK" sz="1200" dirty="0" err="1"/>
              <a:t>NytSIS</a:t>
            </a:r>
            <a:r>
              <a:rPr lang="da-DK" sz="1200" dirty="0"/>
              <a:t> referencegruppen (VD)</a:t>
            </a:r>
          </a:p>
          <a:p>
            <a:pPr marL="342900" indent="-342900">
              <a:lnSpc>
                <a:spcPct val="100000"/>
              </a:lnSpc>
              <a:spcAft>
                <a:spcPts val="600"/>
              </a:spcAft>
              <a:buFont typeface="+mj-lt"/>
              <a:buAutoNum type="arabicPeriod"/>
            </a:pPr>
            <a:r>
              <a:rPr lang="da-DK" sz="1200" dirty="0"/>
              <a:t>SIS referencegruppedeltagere (sekretariatsledere og områdechef)</a:t>
            </a:r>
          </a:p>
          <a:p>
            <a:pPr marL="342900" indent="-342900">
              <a:lnSpc>
                <a:spcPct val="100000"/>
              </a:lnSpc>
              <a:spcAft>
                <a:spcPts val="600"/>
              </a:spcAft>
              <a:buFont typeface="+mj-lt"/>
              <a:buAutoNum type="arabicPeriod"/>
            </a:pPr>
            <a:r>
              <a:rPr lang="da-DK" sz="1200" dirty="0">
                <a:solidFill>
                  <a:srgbClr val="FF0000"/>
                </a:solidFill>
              </a:rPr>
              <a:t>NY – Faglig </a:t>
            </a:r>
            <a:r>
              <a:rPr lang="da-DK" sz="1200" dirty="0" err="1">
                <a:solidFill>
                  <a:srgbClr val="FF0000"/>
                </a:solidFill>
              </a:rPr>
              <a:t>implementeringgruppe</a:t>
            </a:r>
            <a:r>
              <a:rPr lang="da-DK" sz="1200" dirty="0">
                <a:solidFill>
                  <a:srgbClr val="FF0000"/>
                </a:solidFill>
              </a:rPr>
              <a:t> (Studieansvarlige /mellemledergruppe fra Fakulteterne)</a:t>
            </a:r>
          </a:p>
          <a:p>
            <a:pPr marL="342900" indent="-342900">
              <a:lnSpc>
                <a:spcPct val="100000"/>
              </a:lnSpc>
              <a:spcAft>
                <a:spcPts val="600"/>
              </a:spcAft>
              <a:buFont typeface="+mj-lt"/>
              <a:buAutoNum type="arabicPeriod"/>
            </a:pPr>
            <a:r>
              <a:rPr lang="da-DK" sz="1200" dirty="0"/>
              <a:t>Procesejere/procesejerforum (teamleder, mellemlederniveau)</a:t>
            </a:r>
          </a:p>
          <a:p>
            <a:pPr marL="342900" indent="-342900">
              <a:lnSpc>
                <a:spcPct val="100000"/>
              </a:lnSpc>
              <a:spcAft>
                <a:spcPts val="600"/>
              </a:spcAft>
              <a:buFont typeface="+mj-lt"/>
              <a:buAutoNum type="arabicPeriod"/>
            </a:pPr>
            <a:r>
              <a:rPr lang="da-DK" sz="1200" dirty="0"/>
              <a:t>Ugler/fakultetspartnere (SME)</a:t>
            </a:r>
          </a:p>
          <a:p>
            <a:pPr marL="342900" indent="-342900">
              <a:lnSpc>
                <a:spcPct val="100000"/>
              </a:lnSpc>
              <a:spcAft>
                <a:spcPts val="600"/>
              </a:spcAft>
              <a:buFont typeface="+mj-lt"/>
              <a:buAutoNum type="arabicPeriod"/>
            </a:pPr>
            <a:r>
              <a:rPr lang="da-DK" sz="1200" dirty="0"/>
              <a:t>Procesgruppedeltagere</a:t>
            </a:r>
          </a:p>
          <a:p>
            <a:pPr marL="342900" indent="-342900">
              <a:lnSpc>
                <a:spcPct val="100000"/>
              </a:lnSpc>
              <a:spcAft>
                <a:spcPts val="600"/>
              </a:spcAft>
              <a:buFont typeface="+mj-lt"/>
              <a:buAutoNum type="arabicPeriod"/>
            </a:pPr>
            <a:endParaRPr lang="da-DK" sz="1200" dirty="0"/>
          </a:p>
          <a:p>
            <a:pPr marL="342900" indent="-342900">
              <a:lnSpc>
                <a:spcPct val="100000"/>
              </a:lnSpc>
              <a:spcAft>
                <a:spcPts val="600"/>
              </a:spcAft>
              <a:buFont typeface="+mj-lt"/>
              <a:buAutoNum type="arabicPeriod"/>
            </a:pPr>
            <a:r>
              <a:rPr lang="da-DK" sz="1200" dirty="0"/>
              <a:t>Team forretningsprocesser – understøttelse</a:t>
            </a:r>
          </a:p>
          <a:p>
            <a:pPr marL="342900" indent="-342900">
              <a:lnSpc>
                <a:spcPct val="100000"/>
              </a:lnSpc>
              <a:spcAft>
                <a:spcPts val="600"/>
              </a:spcAft>
              <a:buFont typeface="+mj-lt"/>
              <a:buAutoNum type="arabicPeriod"/>
            </a:pPr>
            <a:r>
              <a:rPr lang="da-DK" sz="1200" dirty="0">
                <a:solidFill>
                  <a:srgbClr val="FF0000"/>
                </a:solidFill>
              </a:rPr>
              <a:t>NY – Implementeringsprojektledere - understøttelse</a:t>
            </a:r>
          </a:p>
          <a:p>
            <a:pPr marL="342900" indent="-342900">
              <a:lnSpc>
                <a:spcPct val="100000"/>
              </a:lnSpc>
              <a:spcAft>
                <a:spcPts val="600"/>
              </a:spcAft>
              <a:buFont typeface="+mj-lt"/>
              <a:buAutoNum type="arabicPeriod"/>
            </a:pPr>
            <a:r>
              <a:rPr lang="da-DK" sz="1200" dirty="0"/>
              <a:t>Superbrugere - understøttelse</a:t>
            </a:r>
          </a:p>
          <a:p>
            <a:pPr marL="0" indent="0">
              <a:lnSpc>
                <a:spcPct val="100000"/>
              </a:lnSpc>
              <a:spcAft>
                <a:spcPts val="600"/>
              </a:spcAft>
              <a:buNone/>
            </a:pPr>
            <a:endParaRPr lang="da-DK" sz="1400" dirty="0"/>
          </a:p>
          <a:p>
            <a:pPr marL="0" indent="0">
              <a:lnSpc>
                <a:spcPct val="100000"/>
              </a:lnSpc>
              <a:spcAft>
                <a:spcPts val="600"/>
              </a:spcAft>
              <a:buNone/>
            </a:pPr>
            <a:endParaRPr lang="da-DK" sz="1400" dirty="0"/>
          </a:p>
          <a:p>
            <a:pPr>
              <a:lnSpc>
                <a:spcPct val="100000"/>
              </a:lnSpc>
              <a:spcAft>
                <a:spcPts val="600"/>
              </a:spcAft>
            </a:pPr>
            <a:endParaRPr lang="da-DK" sz="1400" dirty="0"/>
          </a:p>
        </p:txBody>
      </p:sp>
    </p:spTree>
    <p:extLst>
      <p:ext uri="{BB962C8B-B14F-4D97-AF65-F5344CB8AC3E}">
        <p14:creationId xmlns:p14="http://schemas.microsoft.com/office/powerpoint/2010/main" val="13712260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10E182-29ED-2B2F-75F5-7FD3D1AC7B96}"/>
              </a:ext>
            </a:extLst>
          </p:cNvPr>
          <p:cNvSpPr>
            <a:spLocks noGrp="1"/>
          </p:cNvSpPr>
          <p:nvPr>
            <p:ph type="title"/>
          </p:nvPr>
        </p:nvSpPr>
        <p:spPr>
          <a:xfrm>
            <a:off x="410401" y="1028246"/>
            <a:ext cx="4481640" cy="1884283"/>
          </a:xfrm>
        </p:spPr>
        <p:txBody>
          <a:bodyPr/>
          <a:lstStyle/>
          <a:p>
            <a:r>
              <a:rPr lang="da-DK"/>
              <a:t>Øvrige interessent grupper</a:t>
            </a:r>
          </a:p>
        </p:txBody>
      </p:sp>
      <p:sp>
        <p:nvSpPr>
          <p:cNvPr id="3" name="Content Placeholder 2">
            <a:extLst>
              <a:ext uri="{FF2B5EF4-FFF2-40B4-BE49-F238E27FC236}">
                <a16:creationId xmlns:a16="http://schemas.microsoft.com/office/drawing/2014/main" id="{6B00503D-E081-A0A8-69D1-725EE2B0442B}"/>
              </a:ext>
            </a:extLst>
          </p:cNvPr>
          <p:cNvSpPr>
            <a:spLocks noGrp="1"/>
          </p:cNvSpPr>
          <p:nvPr>
            <p:ph sz="quarter" idx="19"/>
          </p:nvPr>
        </p:nvSpPr>
        <p:spPr>
          <a:xfrm>
            <a:off x="5736647" y="1028246"/>
            <a:ext cx="6172199" cy="4825354"/>
          </a:xfrm>
        </p:spPr>
        <p:txBody>
          <a:bodyPr vert="horz" lIns="0" tIns="0" rIns="0" bIns="0" rtlCol="0" anchor="t">
            <a:noAutofit/>
          </a:bodyPr>
          <a:lstStyle/>
          <a:p>
            <a:pPr marL="0" indent="0">
              <a:buNone/>
            </a:pPr>
            <a:r>
              <a:rPr lang="da-DK" b="1"/>
              <a:t>Grupperinger: </a:t>
            </a:r>
          </a:p>
          <a:p>
            <a:pPr marL="251460" indent="-251460">
              <a:buFont typeface="Wingdings" panose="05000000000000000000" pitchFamily="2" charset="2"/>
              <a:buChar char="§"/>
            </a:pPr>
            <a:r>
              <a:rPr lang="da-DK"/>
              <a:t>DIR (deltagelse i styregruppen)</a:t>
            </a:r>
            <a:endParaRPr lang="da-DK">
              <a:cs typeface="Arial"/>
            </a:endParaRPr>
          </a:p>
          <a:p>
            <a:pPr marL="251460" indent="-251460">
              <a:buFont typeface="Wingdings" panose="05000000000000000000" pitchFamily="2" charset="2"/>
              <a:buChar char="§"/>
            </a:pPr>
            <a:r>
              <a:rPr lang="da-DK"/>
              <a:t>AL (deltagelse i styregruppen og Strategisk udvalg/ </a:t>
            </a:r>
            <a:r>
              <a:rPr lang="da-DK" err="1"/>
              <a:t>referencegr</a:t>
            </a:r>
            <a:r>
              <a:rPr lang="da-DK"/>
              <a:t>)</a:t>
            </a:r>
            <a:endParaRPr lang="da-DK">
              <a:cs typeface="Arial"/>
            </a:endParaRPr>
          </a:p>
          <a:p>
            <a:pPr marL="251460" indent="-251460">
              <a:buFont typeface="Wingdings" panose="05000000000000000000" pitchFamily="2" charset="2"/>
              <a:buChar char="§"/>
            </a:pPr>
            <a:r>
              <a:rPr lang="da-DK"/>
              <a:t>UR (løbende orientering)</a:t>
            </a:r>
            <a:endParaRPr lang="da-DK">
              <a:cs typeface="Arial"/>
            </a:endParaRPr>
          </a:p>
          <a:p>
            <a:pPr marL="251460" indent="-251460">
              <a:buFont typeface="Wingdings" panose="05000000000000000000" pitchFamily="2" charset="2"/>
              <a:buChar char="§"/>
            </a:pPr>
            <a:r>
              <a:rPr lang="da-DK"/>
              <a:t>Fakultetsledelser (løbende orientering)</a:t>
            </a:r>
            <a:endParaRPr lang="da-DK">
              <a:cs typeface="Arial"/>
            </a:endParaRPr>
          </a:p>
          <a:p>
            <a:pPr marL="251460" indent="-251460">
              <a:buFont typeface="Wingdings" panose="05000000000000000000" pitchFamily="2" charset="2"/>
              <a:buChar char="§"/>
            </a:pPr>
            <a:r>
              <a:rPr lang="da-DK"/>
              <a:t>Studieledere &amp; studienævn (særlig orientering)</a:t>
            </a:r>
            <a:endParaRPr lang="da-DK">
              <a:cs typeface="Arial"/>
            </a:endParaRPr>
          </a:p>
          <a:p>
            <a:pPr marL="251460" indent="-251460">
              <a:buFont typeface="Wingdings" panose="05000000000000000000" pitchFamily="2" charset="2"/>
              <a:buChar char="§"/>
            </a:pPr>
            <a:r>
              <a:rPr lang="da-DK"/>
              <a:t>Nuværende brugere (særlig orientering)</a:t>
            </a:r>
            <a:endParaRPr lang="da-DK">
              <a:cs typeface="Arial"/>
            </a:endParaRPr>
          </a:p>
          <a:p>
            <a:pPr marL="251460" indent="-251460">
              <a:buFont typeface="Wingdings" panose="05000000000000000000" pitchFamily="2" charset="2"/>
              <a:buChar char="§"/>
            </a:pPr>
            <a:r>
              <a:rPr lang="da-DK"/>
              <a:t>Kommende brugere (særlig orientering)</a:t>
            </a:r>
            <a:endParaRPr lang="da-DK">
              <a:cs typeface="Arial"/>
            </a:endParaRPr>
          </a:p>
          <a:p>
            <a:pPr marL="251460" indent="-251460">
              <a:buFont typeface="Wingdings" panose="05000000000000000000" pitchFamily="2" charset="2"/>
              <a:buChar char="§"/>
            </a:pPr>
            <a:r>
              <a:rPr lang="da-DK">
                <a:cs typeface="Arial"/>
              </a:rPr>
              <a:t>Studerende (særlig orientering)</a:t>
            </a:r>
          </a:p>
          <a:p>
            <a:pPr marL="251460" indent="-251460">
              <a:buChar char="§"/>
            </a:pPr>
            <a:endParaRPr lang="da-DK">
              <a:cs typeface="Arial"/>
            </a:endParaRPr>
          </a:p>
          <a:p>
            <a:pPr marL="251460" indent="-251460"/>
            <a:endParaRPr lang="da-DK">
              <a:cs typeface="Arial"/>
            </a:endParaRPr>
          </a:p>
          <a:p>
            <a:pPr marL="0" indent="0">
              <a:buNone/>
            </a:pPr>
            <a:r>
              <a:rPr lang="da-DK" b="1"/>
              <a:t>Kanaler: </a:t>
            </a:r>
          </a:p>
          <a:p>
            <a:pPr marL="251460" indent="-251460">
              <a:buFont typeface="Wingdings" panose="05000000000000000000" pitchFamily="2" charset="2"/>
              <a:buChar char="§"/>
            </a:pPr>
            <a:r>
              <a:rPr lang="da-DK"/>
              <a:t>Linjeledelse – deltagelse på møder</a:t>
            </a:r>
            <a:endParaRPr lang="da-DK">
              <a:cs typeface="Arial"/>
            </a:endParaRPr>
          </a:p>
          <a:p>
            <a:pPr marL="251460" indent="-251460">
              <a:buFont typeface="Wingdings" panose="05000000000000000000" pitchFamily="2" charset="2"/>
              <a:buChar char="§"/>
            </a:pPr>
            <a:r>
              <a:rPr lang="da-DK"/>
              <a:t>Programorganisering – møder</a:t>
            </a:r>
            <a:endParaRPr lang="da-DK">
              <a:cs typeface="Arial"/>
            </a:endParaRPr>
          </a:p>
          <a:p>
            <a:pPr marL="251460" indent="-251460">
              <a:buFont typeface="Wingdings" panose="05000000000000000000" pitchFamily="2" charset="2"/>
              <a:buChar char="§"/>
            </a:pPr>
            <a:r>
              <a:rPr lang="da-DK"/>
              <a:t>Nyhedsbrev – alle interesserede (tilmeldte)</a:t>
            </a:r>
            <a:endParaRPr lang="da-DK">
              <a:cs typeface="Arial"/>
            </a:endParaRPr>
          </a:p>
          <a:p>
            <a:pPr marL="251460" indent="-251460">
              <a:buFont typeface="Wingdings" panose="05000000000000000000" pitchFamily="2" charset="2"/>
              <a:buChar char="§"/>
            </a:pPr>
            <a:r>
              <a:rPr lang="da-DK"/>
              <a:t>Stormøder </a:t>
            </a:r>
            <a:r>
              <a:rPr lang="da-DK" err="1"/>
              <a:t>on-line</a:t>
            </a:r>
            <a:r>
              <a:rPr lang="da-DK"/>
              <a:t> – alle interesserede</a:t>
            </a:r>
            <a:endParaRPr lang="da-DK">
              <a:cs typeface="Arial"/>
            </a:endParaRPr>
          </a:p>
          <a:p>
            <a:pPr marL="251460" indent="-251460">
              <a:buFont typeface="Wingdings" panose="05000000000000000000" pitchFamily="2" charset="2"/>
              <a:buChar char="§"/>
            </a:pPr>
            <a:r>
              <a:rPr lang="da-DK"/>
              <a:t>SDU net – alle interesserede</a:t>
            </a:r>
            <a:endParaRPr lang="da-DK">
              <a:cs typeface="Arial"/>
            </a:endParaRPr>
          </a:p>
          <a:p>
            <a:pPr marL="251460" indent="-251460">
              <a:buFont typeface="Wingdings" panose="05000000000000000000" pitchFamily="2" charset="2"/>
              <a:buChar char="§"/>
            </a:pPr>
            <a:endParaRPr lang="da-DK">
              <a:cs typeface="Arial"/>
            </a:endParaRPr>
          </a:p>
          <a:p>
            <a:pPr marL="251460" indent="-251460">
              <a:buFont typeface="Wingdings" panose="05000000000000000000" pitchFamily="2" charset="2"/>
              <a:buChar char="§"/>
            </a:pPr>
            <a:r>
              <a:rPr lang="da-DK"/>
              <a:t>Direkte mails til interessentgruppe </a:t>
            </a:r>
            <a:endParaRPr lang="da-DK">
              <a:cs typeface="Arial"/>
            </a:endParaRPr>
          </a:p>
          <a:p>
            <a:pPr marL="251460" indent="-251460">
              <a:buFont typeface="Wingdings" panose="05000000000000000000" pitchFamily="2" charset="2"/>
              <a:buChar char="§"/>
            </a:pPr>
            <a:r>
              <a:rPr lang="da-DK"/>
              <a:t>Møder for interessentgruppe</a:t>
            </a:r>
            <a:endParaRPr lang="da-DK">
              <a:cs typeface="Arial"/>
            </a:endParaRPr>
          </a:p>
          <a:p>
            <a:pPr marL="251460" indent="-251460">
              <a:buFont typeface="Wingdings" panose="05000000000000000000" pitchFamily="2" charset="2"/>
              <a:buChar char="§"/>
            </a:pPr>
            <a:endParaRPr lang="da-DK">
              <a:cs typeface="Arial"/>
            </a:endParaRPr>
          </a:p>
          <a:p>
            <a:pPr marL="0" indent="0">
              <a:buNone/>
            </a:pPr>
            <a:endParaRPr lang="da-DK"/>
          </a:p>
          <a:p>
            <a:pPr marL="251460" indent="-251460"/>
            <a:endParaRPr lang="da-DK">
              <a:cs typeface="Arial"/>
            </a:endParaRPr>
          </a:p>
          <a:p>
            <a:pPr marL="251460" indent="-251460"/>
            <a:endParaRPr lang="da-DK">
              <a:cs typeface="Arial"/>
            </a:endParaRPr>
          </a:p>
          <a:p>
            <a:pPr marL="0" indent="0">
              <a:buNone/>
            </a:pPr>
            <a:endParaRPr lang="da-DK"/>
          </a:p>
          <a:p>
            <a:pPr marL="251460" indent="-251460"/>
            <a:endParaRPr lang="da-DK">
              <a:cs typeface="Arial"/>
            </a:endParaRPr>
          </a:p>
          <a:p>
            <a:pPr marL="251460" indent="-251460"/>
            <a:endParaRPr lang="da-DK">
              <a:cs typeface="Arial"/>
            </a:endParaRPr>
          </a:p>
          <a:p>
            <a:pPr marL="251460" indent="-251460"/>
            <a:endParaRPr lang="da-DK">
              <a:cs typeface="Arial"/>
            </a:endParaRPr>
          </a:p>
        </p:txBody>
      </p:sp>
      <p:sp>
        <p:nvSpPr>
          <p:cNvPr id="4" name="Date Placeholder 3">
            <a:extLst>
              <a:ext uri="{FF2B5EF4-FFF2-40B4-BE49-F238E27FC236}">
                <a16:creationId xmlns:a16="http://schemas.microsoft.com/office/drawing/2014/main" id="{DF557642-2645-9502-5812-ED3D38E2DB1F}"/>
              </a:ext>
            </a:extLst>
          </p:cNvPr>
          <p:cNvSpPr>
            <a:spLocks noGrp="1"/>
          </p:cNvSpPr>
          <p:nvPr>
            <p:ph type="dt" sz="half" idx="20"/>
          </p:nvPr>
        </p:nvSpPr>
        <p:spPr/>
        <p:txBody>
          <a:bodyPr/>
          <a:lstStyle/>
          <a:p>
            <a:fld id="{407F7AE9-59E0-4E2D-B1A6-4E9F9EF7FA51}" type="datetime1">
              <a:rPr lang="da-DK" smtClean="0"/>
              <a:t>02-05-2025</a:t>
            </a:fld>
            <a:endParaRPr lang="da-DK"/>
          </a:p>
        </p:txBody>
      </p:sp>
      <p:sp>
        <p:nvSpPr>
          <p:cNvPr id="6" name="Slide Number Placeholder 5">
            <a:extLst>
              <a:ext uri="{FF2B5EF4-FFF2-40B4-BE49-F238E27FC236}">
                <a16:creationId xmlns:a16="http://schemas.microsoft.com/office/drawing/2014/main" id="{34A7957C-CBD2-87AC-683B-9E203D74EFB2}"/>
              </a:ext>
            </a:extLst>
          </p:cNvPr>
          <p:cNvSpPr>
            <a:spLocks noGrp="1"/>
          </p:cNvSpPr>
          <p:nvPr>
            <p:ph type="sldNum" sz="quarter" idx="22"/>
          </p:nvPr>
        </p:nvSpPr>
        <p:spPr/>
        <p:txBody>
          <a:bodyPr/>
          <a:lstStyle/>
          <a:p>
            <a:fld id="{45D37B1E-C366-494F-A587-962AD9AABC83}" type="slidenum">
              <a:rPr lang="da-DK" smtClean="0"/>
              <a:pPr/>
              <a:t>28</a:t>
            </a:fld>
            <a:endParaRPr lang="da-DK"/>
          </a:p>
        </p:txBody>
      </p:sp>
      <p:pic>
        <p:nvPicPr>
          <p:cNvPr id="7" name="Picture 6">
            <a:extLst>
              <a:ext uri="{FF2B5EF4-FFF2-40B4-BE49-F238E27FC236}">
                <a16:creationId xmlns:a16="http://schemas.microsoft.com/office/drawing/2014/main" id="{5ED37EB7-81B5-3ABE-7048-BB70B1A14DD8}"/>
              </a:ext>
            </a:extLst>
          </p:cNvPr>
          <p:cNvPicPr>
            <a:picLocks noChangeAspect="1"/>
          </p:cNvPicPr>
          <p:nvPr/>
        </p:nvPicPr>
        <p:blipFill>
          <a:blip r:embed="rId2"/>
          <a:stretch>
            <a:fillRect/>
          </a:stretch>
        </p:blipFill>
        <p:spPr>
          <a:xfrm>
            <a:off x="283154" y="2676902"/>
            <a:ext cx="4299771" cy="3540341"/>
          </a:xfrm>
          <a:prstGeom prst="rect">
            <a:avLst/>
          </a:prstGeom>
        </p:spPr>
      </p:pic>
    </p:spTree>
    <p:extLst>
      <p:ext uri="{BB962C8B-B14F-4D97-AF65-F5344CB8AC3E}">
        <p14:creationId xmlns:p14="http://schemas.microsoft.com/office/powerpoint/2010/main" val="238419957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BAB8988B-3DB3-39E7-405D-85259DEA1C13}"/>
              </a:ext>
            </a:extLst>
          </p:cNvPr>
          <p:cNvSpPr/>
          <p:nvPr/>
        </p:nvSpPr>
        <p:spPr>
          <a:xfrm rot="5400000">
            <a:off x="4690181" y="-556921"/>
            <a:ext cx="3466211" cy="5667384"/>
          </a:xfrm>
          <a:prstGeom prst="ellipse">
            <a:avLst/>
          </a:prstGeom>
          <a:solidFill>
            <a:schemeClr val="accent3">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a:solidFill>
                <a:schemeClr val="accent2">
                  <a:lumMod val="75000"/>
                </a:schemeClr>
              </a:solidFill>
            </a:endParaRPr>
          </a:p>
        </p:txBody>
      </p:sp>
      <p:sp>
        <p:nvSpPr>
          <p:cNvPr id="6" name="Title 5">
            <a:extLst>
              <a:ext uri="{FF2B5EF4-FFF2-40B4-BE49-F238E27FC236}">
                <a16:creationId xmlns:a16="http://schemas.microsoft.com/office/drawing/2014/main" id="{02C929D2-AFAD-5B90-6F2A-9A45045FC501}"/>
              </a:ext>
            </a:extLst>
          </p:cNvPr>
          <p:cNvSpPr>
            <a:spLocks noGrp="1"/>
          </p:cNvSpPr>
          <p:nvPr>
            <p:ph type="title"/>
          </p:nvPr>
        </p:nvSpPr>
        <p:spPr>
          <a:xfrm>
            <a:off x="181316" y="1125917"/>
            <a:ext cx="5366267" cy="1884283"/>
          </a:xfrm>
        </p:spPr>
        <p:txBody>
          <a:bodyPr/>
          <a:lstStyle/>
          <a:p>
            <a:r>
              <a:rPr lang="da-DK" sz="2800" dirty="0"/>
              <a:t>Fælles </a:t>
            </a:r>
            <a:br>
              <a:rPr lang="da-DK" sz="2800" dirty="0"/>
            </a:br>
            <a:r>
              <a:rPr lang="da-DK" sz="2800" dirty="0"/>
              <a:t>kapabilitetsopbygning</a:t>
            </a:r>
            <a:br>
              <a:rPr lang="da-DK" sz="2800" dirty="0"/>
            </a:br>
            <a:endParaRPr lang="da-DK" sz="2800" dirty="0"/>
          </a:p>
        </p:txBody>
      </p:sp>
      <p:sp>
        <p:nvSpPr>
          <p:cNvPr id="4" name="Date Placeholder 3">
            <a:extLst>
              <a:ext uri="{FF2B5EF4-FFF2-40B4-BE49-F238E27FC236}">
                <a16:creationId xmlns:a16="http://schemas.microsoft.com/office/drawing/2014/main" id="{9A4C4389-5A10-AD87-CBC0-FA73F4EA82A1}"/>
              </a:ext>
            </a:extLst>
          </p:cNvPr>
          <p:cNvSpPr>
            <a:spLocks noGrp="1"/>
          </p:cNvSpPr>
          <p:nvPr>
            <p:ph type="dt" sz="half" idx="20"/>
          </p:nvPr>
        </p:nvSpPr>
        <p:spPr/>
        <p:txBody>
          <a:bodyPr/>
          <a:lstStyle/>
          <a:p>
            <a:fld id="{FE53D39C-4E70-4463-94FE-6C1E1A6EA3E8}" type="datetime1">
              <a:rPr lang="da-DK" smtClean="0"/>
              <a:t>08-05-2025</a:t>
            </a:fld>
            <a:endParaRPr lang="da-DK" dirty="0"/>
          </a:p>
        </p:txBody>
      </p:sp>
      <p:sp>
        <p:nvSpPr>
          <p:cNvPr id="5" name="Slide Number Placeholder 4">
            <a:extLst>
              <a:ext uri="{FF2B5EF4-FFF2-40B4-BE49-F238E27FC236}">
                <a16:creationId xmlns:a16="http://schemas.microsoft.com/office/drawing/2014/main" id="{CA29E82C-622D-7836-C965-946D793F139D}"/>
              </a:ext>
            </a:extLst>
          </p:cNvPr>
          <p:cNvSpPr>
            <a:spLocks noGrp="1"/>
          </p:cNvSpPr>
          <p:nvPr>
            <p:ph type="sldNum" sz="quarter" idx="22"/>
          </p:nvPr>
        </p:nvSpPr>
        <p:spPr/>
        <p:txBody>
          <a:bodyPr/>
          <a:lstStyle/>
          <a:p>
            <a:fld id="{45D37B1E-C366-494F-A587-962AD9AABC83}" type="slidenum">
              <a:rPr lang="da-DK" smtClean="0"/>
              <a:pPr/>
              <a:t>29</a:t>
            </a:fld>
            <a:endParaRPr lang="da-DK" dirty="0"/>
          </a:p>
        </p:txBody>
      </p:sp>
      <p:sp>
        <p:nvSpPr>
          <p:cNvPr id="3" name="Oval 2">
            <a:extLst>
              <a:ext uri="{FF2B5EF4-FFF2-40B4-BE49-F238E27FC236}">
                <a16:creationId xmlns:a16="http://schemas.microsoft.com/office/drawing/2014/main" id="{0394494F-3C44-F8F9-8E80-01377EB298F2}"/>
              </a:ext>
            </a:extLst>
          </p:cNvPr>
          <p:cNvSpPr/>
          <p:nvPr/>
        </p:nvSpPr>
        <p:spPr>
          <a:xfrm rot="5400000">
            <a:off x="8176365" y="3541800"/>
            <a:ext cx="2166248" cy="4031312"/>
          </a:xfrm>
          <a:prstGeom prst="ellipse">
            <a:avLst/>
          </a:prstGeom>
          <a:solidFill>
            <a:schemeClr val="accent3">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a:p>
        </p:txBody>
      </p:sp>
      <p:sp>
        <p:nvSpPr>
          <p:cNvPr id="11" name="Oval 10">
            <a:extLst>
              <a:ext uri="{FF2B5EF4-FFF2-40B4-BE49-F238E27FC236}">
                <a16:creationId xmlns:a16="http://schemas.microsoft.com/office/drawing/2014/main" id="{EB9B6B4F-7D5D-8D4C-C41A-F58F04FD29D8}"/>
              </a:ext>
            </a:extLst>
          </p:cNvPr>
          <p:cNvSpPr/>
          <p:nvPr/>
        </p:nvSpPr>
        <p:spPr>
          <a:xfrm rot="5400000">
            <a:off x="2448803" y="3541800"/>
            <a:ext cx="2166248" cy="4031312"/>
          </a:xfrm>
          <a:prstGeom prst="ellipse">
            <a:avLst/>
          </a:prstGeom>
          <a:solidFill>
            <a:schemeClr val="accent3">
              <a:lumMod val="7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endParaRPr lang="da-DK" sz="1600" dirty="0"/>
          </a:p>
        </p:txBody>
      </p:sp>
      <p:graphicFrame>
        <p:nvGraphicFramePr>
          <p:cNvPr id="8" name="Diagram 7">
            <a:extLst>
              <a:ext uri="{FF2B5EF4-FFF2-40B4-BE49-F238E27FC236}">
                <a16:creationId xmlns:a16="http://schemas.microsoft.com/office/drawing/2014/main" id="{FA7F21DC-4E4A-454A-458B-34C256E70D04}"/>
              </a:ext>
            </a:extLst>
          </p:cNvPr>
          <p:cNvGraphicFramePr/>
          <p:nvPr/>
        </p:nvGraphicFramePr>
        <p:xfrm>
          <a:off x="2359286" y="1300544"/>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a:extLst>
              <a:ext uri="{FF2B5EF4-FFF2-40B4-BE49-F238E27FC236}">
                <a16:creationId xmlns:a16="http://schemas.microsoft.com/office/drawing/2014/main" id="{D0EF00EC-C468-CC13-F21C-5992DDD2924E}"/>
              </a:ext>
            </a:extLst>
          </p:cNvPr>
          <p:cNvSpPr txBox="1"/>
          <p:nvPr/>
        </p:nvSpPr>
        <p:spPr>
          <a:xfrm>
            <a:off x="5369442" y="757182"/>
            <a:ext cx="2603277" cy="553998"/>
          </a:xfrm>
          <a:prstGeom prst="rect">
            <a:avLst/>
          </a:prstGeom>
          <a:noFill/>
        </p:spPr>
        <p:txBody>
          <a:bodyPr wrap="none" lIns="0" tIns="0" rIns="0" bIns="0" rtlCol="0">
            <a:spAutoFit/>
          </a:bodyPr>
          <a:lstStyle/>
          <a:p>
            <a:r>
              <a:rPr lang="da-DK" dirty="0"/>
              <a:t>Universiteternes</a:t>
            </a:r>
          </a:p>
          <a:p>
            <a:r>
              <a:rPr lang="da-DK" dirty="0"/>
              <a:t>Implementeringsprojekter</a:t>
            </a:r>
          </a:p>
        </p:txBody>
      </p:sp>
      <p:sp>
        <p:nvSpPr>
          <p:cNvPr id="13" name="TextBox 12">
            <a:extLst>
              <a:ext uri="{FF2B5EF4-FFF2-40B4-BE49-F238E27FC236}">
                <a16:creationId xmlns:a16="http://schemas.microsoft.com/office/drawing/2014/main" id="{AC237CC3-ED51-5FDD-A8F1-9F301B2D42F3}"/>
              </a:ext>
            </a:extLst>
          </p:cNvPr>
          <p:cNvSpPr txBox="1"/>
          <p:nvPr/>
        </p:nvSpPr>
        <p:spPr>
          <a:xfrm>
            <a:off x="9096702" y="5434345"/>
            <a:ext cx="1179810" cy="276999"/>
          </a:xfrm>
          <a:prstGeom prst="rect">
            <a:avLst/>
          </a:prstGeom>
          <a:noFill/>
        </p:spPr>
        <p:txBody>
          <a:bodyPr wrap="none" lIns="0" tIns="0" rIns="0" bIns="0" rtlCol="0">
            <a:spAutoFit/>
          </a:bodyPr>
          <a:lstStyle/>
          <a:p>
            <a:r>
              <a:rPr lang="da-DK" dirty="0"/>
              <a:t>Leverandør</a:t>
            </a:r>
          </a:p>
        </p:txBody>
      </p:sp>
      <p:sp>
        <p:nvSpPr>
          <p:cNvPr id="14" name="TextBox 13">
            <a:extLst>
              <a:ext uri="{FF2B5EF4-FFF2-40B4-BE49-F238E27FC236}">
                <a16:creationId xmlns:a16="http://schemas.microsoft.com/office/drawing/2014/main" id="{3E243CEA-703B-0B9E-F864-F77A1DAC5809}"/>
              </a:ext>
            </a:extLst>
          </p:cNvPr>
          <p:cNvSpPr txBox="1"/>
          <p:nvPr/>
        </p:nvSpPr>
        <p:spPr>
          <a:xfrm>
            <a:off x="2359286" y="5434345"/>
            <a:ext cx="1295226" cy="276999"/>
          </a:xfrm>
          <a:prstGeom prst="rect">
            <a:avLst/>
          </a:prstGeom>
          <a:noFill/>
        </p:spPr>
        <p:txBody>
          <a:bodyPr wrap="none" lIns="0" tIns="0" rIns="0" bIns="0" rtlCol="0">
            <a:spAutoFit/>
          </a:bodyPr>
          <a:lstStyle/>
          <a:p>
            <a:r>
              <a:rPr lang="da-DK" dirty="0"/>
              <a:t>SIS program</a:t>
            </a:r>
          </a:p>
        </p:txBody>
      </p:sp>
    </p:spTree>
    <p:extLst>
      <p:ext uri="{BB962C8B-B14F-4D97-AF65-F5344CB8AC3E}">
        <p14:creationId xmlns:p14="http://schemas.microsoft.com/office/powerpoint/2010/main" val="8817546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D4B08D-E93A-CCCE-98DC-8914199117D5}"/>
              </a:ext>
            </a:extLst>
          </p:cNvPr>
          <p:cNvSpPr>
            <a:spLocks noGrp="1"/>
          </p:cNvSpPr>
          <p:nvPr>
            <p:ph type="title"/>
          </p:nvPr>
        </p:nvSpPr>
        <p:spPr>
          <a:xfrm>
            <a:off x="290657" y="1544717"/>
            <a:ext cx="4792971" cy="1884283"/>
          </a:xfrm>
        </p:spPr>
        <p:txBody>
          <a:bodyPr/>
          <a:lstStyle/>
          <a:p>
            <a:r>
              <a:rPr lang="da-DK" dirty="0"/>
              <a:t>Hvad er et program?</a:t>
            </a:r>
            <a:br>
              <a:rPr lang="da-DK" dirty="0"/>
            </a:br>
            <a:br>
              <a:rPr lang="da-DK" dirty="0"/>
            </a:br>
            <a:endParaRPr lang="da-DK" dirty="0"/>
          </a:p>
        </p:txBody>
      </p:sp>
      <p:sp>
        <p:nvSpPr>
          <p:cNvPr id="3" name="Content Placeholder 2">
            <a:extLst>
              <a:ext uri="{FF2B5EF4-FFF2-40B4-BE49-F238E27FC236}">
                <a16:creationId xmlns:a16="http://schemas.microsoft.com/office/drawing/2014/main" id="{86CAF60A-0BC4-E14B-47E4-687B4441B281}"/>
              </a:ext>
            </a:extLst>
          </p:cNvPr>
          <p:cNvSpPr>
            <a:spLocks noGrp="1"/>
          </p:cNvSpPr>
          <p:nvPr>
            <p:ph sz="quarter" idx="19"/>
          </p:nvPr>
        </p:nvSpPr>
        <p:spPr/>
        <p:txBody>
          <a:bodyPr/>
          <a:lstStyle/>
          <a:p>
            <a:pPr algn="l">
              <a:buNone/>
            </a:pPr>
            <a:r>
              <a:rPr lang="da-DK" sz="2000" b="1" i="0" dirty="0">
                <a:solidFill>
                  <a:srgbClr val="222222"/>
                </a:solidFill>
                <a:effectLst/>
                <a:latin typeface="Brown"/>
              </a:rPr>
              <a:t>Klassisk definition: </a:t>
            </a:r>
          </a:p>
          <a:p>
            <a:pPr algn="l">
              <a:buNone/>
            </a:pPr>
            <a:endParaRPr lang="da-DK" b="1" i="0" dirty="0">
              <a:solidFill>
                <a:srgbClr val="222222"/>
              </a:solidFill>
              <a:effectLst/>
              <a:latin typeface="Brown"/>
            </a:endParaRPr>
          </a:p>
          <a:p>
            <a:pPr algn="l" fontAlgn="base">
              <a:buFont typeface="Arial" panose="020B0604020202020204" pitchFamily="34" charset="0"/>
              <a:buChar char="•"/>
            </a:pPr>
            <a:r>
              <a:rPr lang="da-DK" b="0" i="0" dirty="0">
                <a:solidFill>
                  <a:srgbClr val="3A4145"/>
                </a:solidFill>
                <a:effectLst/>
                <a:latin typeface="inherit"/>
              </a:rPr>
              <a:t>Et </a:t>
            </a:r>
            <a:r>
              <a:rPr lang="da-DK" b="1" i="0" dirty="0">
                <a:solidFill>
                  <a:srgbClr val="3A4145"/>
                </a:solidFill>
                <a:effectLst/>
                <a:latin typeface="inherit"/>
              </a:rPr>
              <a:t>projekt</a:t>
            </a:r>
            <a:r>
              <a:rPr lang="da-DK" b="0" i="0" dirty="0">
                <a:solidFill>
                  <a:srgbClr val="3A4145"/>
                </a:solidFill>
                <a:effectLst/>
                <a:latin typeface="inherit"/>
              </a:rPr>
              <a:t> fokuserer på leverancer og er generelt kortere og mere struktureret</a:t>
            </a:r>
            <a:br>
              <a:rPr lang="da-DK" b="0" i="0" dirty="0">
                <a:solidFill>
                  <a:srgbClr val="3A4145"/>
                </a:solidFill>
                <a:effectLst/>
                <a:latin typeface="inherit"/>
              </a:rPr>
            </a:br>
            <a:r>
              <a:rPr lang="da-DK" b="0" i="0" dirty="0">
                <a:solidFill>
                  <a:srgbClr val="3A4145"/>
                </a:solidFill>
                <a:effectLst/>
                <a:latin typeface="inherit"/>
              </a:rPr>
              <a:t>– når projektleverancerne er på plads, er projektet færdigt</a:t>
            </a:r>
          </a:p>
          <a:p>
            <a:pPr algn="l" fontAlgn="base">
              <a:buFont typeface="Arial" panose="020B0604020202020204" pitchFamily="34" charset="0"/>
              <a:buChar char="•"/>
            </a:pPr>
            <a:r>
              <a:rPr lang="da-DK" b="0" i="0" dirty="0">
                <a:solidFill>
                  <a:srgbClr val="3A4145"/>
                </a:solidFill>
                <a:effectLst/>
                <a:latin typeface="inherit"/>
              </a:rPr>
              <a:t>Et </a:t>
            </a:r>
            <a:r>
              <a:rPr lang="da-DK" b="1" i="0" dirty="0">
                <a:solidFill>
                  <a:srgbClr val="3A4145"/>
                </a:solidFill>
                <a:effectLst/>
                <a:latin typeface="inherit"/>
              </a:rPr>
              <a:t>program</a:t>
            </a:r>
            <a:r>
              <a:rPr lang="da-DK" b="0" i="0" dirty="0">
                <a:solidFill>
                  <a:srgbClr val="3A4145"/>
                </a:solidFill>
                <a:effectLst/>
                <a:latin typeface="inherit"/>
              </a:rPr>
              <a:t> er et længere initiativ, som ofte er mere fleksibelt</a:t>
            </a:r>
            <a:br>
              <a:rPr lang="da-DK" b="0" i="0" dirty="0">
                <a:solidFill>
                  <a:srgbClr val="3A4145"/>
                </a:solidFill>
                <a:effectLst/>
                <a:latin typeface="inherit"/>
              </a:rPr>
            </a:br>
            <a:r>
              <a:rPr lang="da-DK" b="0" i="0" dirty="0">
                <a:solidFill>
                  <a:srgbClr val="3A4145"/>
                </a:solidFill>
                <a:effectLst/>
                <a:latin typeface="inherit"/>
              </a:rPr>
              <a:t>– leverer en eller flere strategiske målsætninger</a:t>
            </a:r>
            <a:br>
              <a:rPr lang="da-DK" b="0" i="0" dirty="0">
                <a:solidFill>
                  <a:srgbClr val="3A4145"/>
                </a:solidFill>
                <a:effectLst/>
                <a:latin typeface="inherit"/>
              </a:rPr>
            </a:br>
            <a:r>
              <a:rPr lang="da-DK" b="0" i="0" dirty="0">
                <a:solidFill>
                  <a:srgbClr val="3A4145"/>
                </a:solidFill>
                <a:effectLst/>
                <a:latin typeface="inherit"/>
              </a:rPr>
              <a:t>– fokuserer på at levere forandring – når fordelene fra forandringen er på plads, er programmet færdigt</a:t>
            </a:r>
          </a:p>
          <a:p>
            <a:pPr marL="0" indent="0" algn="l" fontAlgn="base">
              <a:buNone/>
            </a:pPr>
            <a:endParaRPr lang="da-DK" dirty="0">
              <a:solidFill>
                <a:srgbClr val="3A4145"/>
              </a:solidFill>
              <a:latin typeface="inherit"/>
            </a:endParaRPr>
          </a:p>
          <a:p>
            <a:pPr marL="0" indent="0" algn="l" fontAlgn="base">
              <a:buNone/>
            </a:pPr>
            <a:r>
              <a:rPr lang="da-DK" dirty="0">
                <a:solidFill>
                  <a:srgbClr val="3A4145"/>
                </a:solidFill>
                <a:latin typeface="inherit"/>
              </a:rPr>
              <a:t>Programmer er ofte organiseret i flere forbundne projekter</a:t>
            </a:r>
            <a:endParaRPr lang="da-DK" b="0" i="0" dirty="0">
              <a:solidFill>
                <a:srgbClr val="3A4145"/>
              </a:solidFill>
              <a:effectLst/>
              <a:latin typeface="inherit"/>
            </a:endParaRPr>
          </a:p>
          <a:p>
            <a:pPr algn="l">
              <a:buNone/>
            </a:pPr>
            <a:endParaRPr lang="da-DK" b="0" i="0" dirty="0">
              <a:solidFill>
                <a:srgbClr val="000000"/>
              </a:solidFill>
              <a:effectLst/>
              <a:latin typeface="Lyon Display Web"/>
            </a:endParaRPr>
          </a:p>
          <a:p>
            <a:pPr marL="0" indent="0" algn="l">
              <a:buNone/>
            </a:pPr>
            <a:r>
              <a:rPr lang="da-DK" b="0" i="0" dirty="0">
                <a:solidFill>
                  <a:srgbClr val="000000"/>
                </a:solidFill>
                <a:effectLst/>
                <a:latin typeface="Lyon Display Web"/>
              </a:rPr>
              <a:t>Programmer er ikke bare store projekter. Et projekt kan sagtens være større end et program. </a:t>
            </a:r>
          </a:p>
          <a:p>
            <a:endParaRPr lang="da-DK" dirty="0"/>
          </a:p>
        </p:txBody>
      </p:sp>
      <p:sp>
        <p:nvSpPr>
          <p:cNvPr id="4" name="Date Placeholder 3">
            <a:extLst>
              <a:ext uri="{FF2B5EF4-FFF2-40B4-BE49-F238E27FC236}">
                <a16:creationId xmlns:a16="http://schemas.microsoft.com/office/drawing/2014/main" id="{16D532A2-FBE1-7E42-18F6-1A3BE778AF85}"/>
              </a:ext>
            </a:extLst>
          </p:cNvPr>
          <p:cNvSpPr>
            <a:spLocks noGrp="1"/>
          </p:cNvSpPr>
          <p:nvPr>
            <p:ph type="dt" sz="half" idx="20"/>
          </p:nvPr>
        </p:nvSpPr>
        <p:spPr/>
        <p:txBody>
          <a:bodyPr/>
          <a:lstStyle/>
          <a:p>
            <a:fld id="{FC19EABE-7ABD-4847-97B0-DB56161D20C5}" type="datetime1">
              <a:rPr lang="da-DK" smtClean="0"/>
              <a:t>08-05-2025</a:t>
            </a:fld>
            <a:endParaRPr lang="da-DK"/>
          </a:p>
        </p:txBody>
      </p:sp>
      <p:sp>
        <p:nvSpPr>
          <p:cNvPr id="6" name="Slide Number Placeholder 5">
            <a:extLst>
              <a:ext uri="{FF2B5EF4-FFF2-40B4-BE49-F238E27FC236}">
                <a16:creationId xmlns:a16="http://schemas.microsoft.com/office/drawing/2014/main" id="{A62F20DE-E27D-FFF0-81F9-B1E1330B3E27}"/>
              </a:ext>
            </a:extLst>
          </p:cNvPr>
          <p:cNvSpPr>
            <a:spLocks noGrp="1"/>
          </p:cNvSpPr>
          <p:nvPr>
            <p:ph type="sldNum" sz="quarter" idx="22"/>
          </p:nvPr>
        </p:nvSpPr>
        <p:spPr/>
        <p:txBody>
          <a:bodyPr/>
          <a:lstStyle/>
          <a:p>
            <a:fld id="{45D37B1E-C366-494F-A587-962AD9AABC83}" type="slidenum">
              <a:rPr lang="da-DK" smtClean="0"/>
              <a:pPr/>
              <a:t>3</a:t>
            </a:fld>
            <a:endParaRPr lang="da-DK"/>
          </a:p>
        </p:txBody>
      </p:sp>
      <p:pic>
        <p:nvPicPr>
          <p:cNvPr id="9218" name="Picture 2" descr="Det handler ikke om compliance men om forandringsledelse - Business Review">
            <a:extLst>
              <a:ext uri="{FF2B5EF4-FFF2-40B4-BE49-F238E27FC236}">
                <a16:creationId xmlns:a16="http://schemas.microsoft.com/office/drawing/2014/main" id="{E5F8319A-796B-3073-15FC-F29FA7174CF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4125" y="2328657"/>
            <a:ext cx="5096501" cy="340186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576138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AA0DAF-340E-5A2C-38D8-4D5507CD7DC1}"/>
              </a:ext>
            </a:extLst>
          </p:cNvPr>
          <p:cNvSpPr>
            <a:spLocks noGrp="1"/>
          </p:cNvSpPr>
          <p:nvPr>
            <p:ph type="title"/>
          </p:nvPr>
        </p:nvSpPr>
        <p:spPr/>
        <p:txBody>
          <a:bodyPr/>
          <a:lstStyle/>
          <a:p>
            <a:r>
              <a:rPr lang="da-DK" dirty="0"/>
              <a:t>Fart og tillid</a:t>
            </a:r>
          </a:p>
        </p:txBody>
      </p:sp>
      <p:sp>
        <p:nvSpPr>
          <p:cNvPr id="3" name="Content Placeholder 2">
            <a:extLst>
              <a:ext uri="{FF2B5EF4-FFF2-40B4-BE49-F238E27FC236}">
                <a16:creationId xmlns:a16="http://schemas.microsoft.com/office/drawing/2014/main" id="{BB5F2D20-CE60-2BF5-E040-33F4F8626DC7}"/>
              </a:ext>
            </a:extLst>
          </p:cNvPr>
          <p:cNvSpPr>
            <a:spLocks noGrp="1"/>
          </p:cNvSpPr>
          <p:nvPr>
            <p:ph sz="quarter" idx="19"/>
          </p:nvPr>
        </p:nvSpPr>
        <p:spPr/>
        <p:txBody>
          <a:bodyPr/>
          <a:lstStyle/>
          <a:p>
            <a:r>
              <a:rPr lang="da-DK" dirty="0"/>
              <a:t>Hvad tænker i om modellen med at give mandat til få, som kan beslutte hvordan løsningerne designes?</a:t>
            </a:r>
          </a:p>
          <a:p>
            <a:endParaRPr lang="da-DK" dirty="0"/>
          </a:p>
          <a:p>
            <a:r>
              <a:rPr lang="da-DK" dirty="0"/>
              <a:t>Har I lignende erfaringer</a:t>
            </a:r>
          </a:p>
          <a:p>
            <a:r>
              <a:rPr lang="da-DK" dirty="0"/>
              <a:t>Kan I se områder i jeres projekter hvor tankegangen kan bruges</a:t>
            </a:r>
          </a:p>
        </p:txBody>
      </p:sp>
      <p:sp>
        <p:nvSpPr>
          <p:cNvPr id="4" name="Date Placeholder 3">
            <a:extLst>
              <a:ext uri="{FF2B5EF4-FFF2-40B4-BE49-F238E27FC236}">
                <a16:creationId xmlns:a16="http://schemas.microsoft.com/office/drawing/2014/main" id="{25073816-556F-F403-61B4-112D6C4CE7E4}"/>
              </a:ext>
            </a:extLst>
          </p:cNvPr>
          <p:cNvSpPr>
            <a:spLocks noGrp="1"/>
          </p:cNvSpPr>
          <p:nvPr>
            <p:ph type="dt" sz="half" idx="20"/>
          </p:nvPr>
        </p:nvSpPr>
        <p:spPr/>
        <p:txBody>
          <a:bodyPr/>
          <a:lstStyle/>
          <a:p>
            <a:fld id="{6A22DD24-3F6E-4DF9-96C4-5AB43483A975}" type="datetime1">
              <a:rPr lang="da-DK" smtClean="0"/>
              <a:t>09-05-2025</a:t>
            </a:fld>
            <a:endParaRPr lang="da-DK"/>
          </a:p>
        </p:txBody>
      </p:sp>
      <p:sp>
        <p:nvSpPr>
          <p:cNvPr id="5" name="Footer Placeholder 4">
            <a:extLst>
              <a:ext uri="{FF2B5EF4-FFF2-40B4-BE49-F238E27FC236}">
                <a16:creationId xmlns:a16="http://schemas.microsoft.com/office/drawing/2014/main" id="{F321AFE5-356A-9D59-F96C-C6E0B55920A9}"/>
              </a:ext>
            </a:extLst>
          </p:cNvPr>
          <p:cNvSpPr>
            <a:spLocks noGrp="1"/>
          </p:cNvSpPr>
          <p:nvPr>
            <p:ph type="ftr" sz="quarter" idx="21"/>
          </p:nvPr>
        </p:nvSpPr>
        <p:spPr/>
        <p:txBody>
          <a:bodyPr/>
          <a:lstStyle/>
          <a:p>
            <a:endParaRPr lang="da-DK"/>
          </a:p>
        </p:txBody>
      </p:sp>
      <p:sp>
        <p:nvSpPr>
          <p:cNvPr id="6" name="Slide Number Placeholder 5">
            <a:extLst>
              <a:ext uri="{FF2B5EF4-FFF2-40B4-BE49-F238E27FC236}">
                <a16:creationId xmlns:a16="http://schemas.microsoft.com/office/drawing/2014/main" id="{BE126146-7B9F-4645-0EAD-46998AE19EFF}"/>
              </a:ext>
            </a:extLst>
          </p:cNvPr>
          <p:cNvSpPr>
            <a:spLocks noGrp="1"/>
          </p:cNvSpPr>
          <p:nvPr>
            <p:ph type="sldNum" sz="quarter" idx="22"/>
          </p:nvPr>
        </p:nvSpPr>
        <p:spPr/>
        <p:txBody>
          <a:bodyPr/>
          <a:lstStyle/>
          <a:p>
            <a:fld id="{45D37B1E-C366-494F-A587-962AD9AABC83}" type="slidenum">
              <a:rPr lang="da-DK" smtClean="0"/>
              <a:pPr/>
              <a:t>30</a:t>
            </a:fld>
            <a:endParaRPr lang="da-DK"/>
          </a:p>
        </p:txBody>
      </p:sp>
      <p:pic>
        <p:nvPicPr>
          <p:cNvPr id="7" name="Picture 2" descr="Tillidsøvelser: Grib 10 gratis øvelser til arbejdspladsen!">
            <a:extLst>
              <a:ext uri="{FF2B5EF4-FFF2-40B4-BE49-F238E27FC236}">
                <a16:creationId xmlns:a16="http://schemas.microsoft.com/office/drawing/2014/main" id="{AC9BB839-BF09-5161-BA82-12B11F84E54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28014" y="3665019"/>
            <a:ext cx="2696728" cy="1796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ow Do Internet Speed Tests Work? | NCTA — The Internet &amp; Television  Association">
            <a:extLst>
              <a:ext uri="{FF2B5EF4-FFF2-40B4-BE49-F238E27FC236}">
                <a16:creationId xmlns:a16="http://schemas.microsoft.com/office/drawing/2014/main" id="{4E8A3A7F-9B37-612A-B983-2A3513E92F7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0400" y="4056905"/>
            <a:ext cx="1617614" cy="7812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90739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E0A526"/>
        </a:solidFill>
        <a:effectLst/>
      </p:bgPr>
    </p:bg>
    <p:spTree>
      <p:nvGrpSpPr>
        <p:cNvPr id="1" name="">
          <a:extLst>
            <a:ext uri="{FF2B5EF4-FFF2-40B4-BE49-F238E27FC236}">
              <a16:creationId xmlns:a16="http://schemas.microsoft.com/office/drawing/2014/main" id="{043E5437-5278-309D-D718-B46DE68FC32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BA74230-A239-DD85-B37C-BB3C8390D8F6}"/>
              </a:ext>
            </a:extLst>
          </p:cNvPr>
          <p:cNvSpPr>
            <a:spLocks noGrp="1"/>
          </p:cNvSpPr>
          <p:nvPr>
            <p:ph type="title"/>
          </p:nvPr>
        </p:nvSpPr>
        <p:spPr>
          <a:xfrm>
            <a:off x="1016860" y="4373130"/>
            <a:ext cx="7676724" cy="694480"/>
          </a:xfrm>
        </p:spPr>
        <p:txBody>
          <a:bodyPr>
            <a:noAutofit/>
          </a:bodyPr>
          <a:lstStyle/>
          <a:p>
            <a:r>
              <a:rPr lang="en-US" sz="5400" dirty="0" err="1"/>
              <a:t>Standardsystem</a:t>
            </a:r>
            <a:endParaRPr lang="en-US" sz="5400" dirty="0"/>
          </a:p>
        </p:txBody>
      </p:sp>
      <p:sp>
        <p:nvSpPr>
          <p:cNvPr id="3" name="Footer Placeholder 2">
            <a:extLst>
              <a:ext uri="{FF2B5EF4-FFF2-40B4-BE49-F238E27FC236}">
                <a16:creationId xmlns:a16="http://schemas.microsoft.com/office/drawing/2014/main" id="{99988C91-4657-E4FE-E6D6-1B9AC58E8A5B}"/>
              </a:ext>
            </a:extLst>
          </p:cNvPr>
          <p:cNvSpPr>
            <a:spLocks noGrp="1"/>
          </p:cNvSpPr>
          <p:nvPr>
            <p:ph type="ftr" sz="quarter" idx="3"/>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000000"/>
                </a:solidFill>
                <a:effectLst/>
                <a:uLnTx/>
                <a:uFillTx/>
                <a:latin typeface="Arial"/>
                <a:ea typeface="Campton Book"/>
                <a:cs typeface="Times New Roman" panose="02020603050405020304" pitchFamily="18" charset="0"/>
              </a:rPr>
              <a:t>Lettere studieliv. Fælles processer. Nye muligheder.</a:t>
            </a:r>
            <a:endParaRPr kumimoji="0" lang="da-DK" sz="800" b="1" i="0" u="none" strike="noStrike" kern="1200" cap="none" spc="0" normalizeH="0" baseline="0" noProof="0">
              <a:ln>
                <a:noFill/>
              </a:ln>
              <a:solidFill>
                <a:srgbClr val="000000"/>
              </a:solidFill>
              <a:effectLst/>
              <a:uLnTx/>
              <a:uFillTx/>
              <a:latin typeface="Arial"/>
              <a:ea typeface="Campton Book"/>
              <a:cs typeface="Times New Roman" panose="02020603050405020304" pitchFamily="18" charset="0"/>
            </a:endParaRPr>
          </a:p>
        </p:txBody>
      </p:sp>
      <p:sp>
        <p:nvSpPr>
          <p:cNvPr id="4" name="Slide Number Placeholder 3">
            <a:extLst>
              <a:ext uri="{FF2B5EF4-FFF2-40B4-BE49-F238E27FC236}">
                <a16:creationId xmlns:a16="http://schemas.microsoft.com/office/drawing/2014/main" id="{2E6BF774-2066-8BC2-4923-D62664255FE7}"/>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F810D-F77C-4BB2-BE6A-BDC67BB44902}" type="slidenum">
              <a:rPr kumimoji="0" lang="da-DK" sz="800" b="1" i="0" u="none" strike="noStrike" kern="1200" cap="none" spc="0" normalizeH="0" baseline="0" noProof="0" smtClean="0">
                <a:ln>
                  <a:noFill/>
                </a:ln>
                <a:solidFill>
                  <a:srgbClr val="7A604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da-DK" sz="800" b="1" i="0" u="none" strike="noStrike" kern="1200" cap="none" spc="0" normalizeH="0" baseline="0" noProof="0">
              <a:ln>
                <a:noFill/>
              </a:ln>
              <a:solidFill>
                <a:srgbClr val="7A6040"/>
              </a:solidFill>
              <a:effectLst/>
              <a:uLnTx/>
              <a:uFillTx/>
              <a:latin typeface="Arial"/>
              <a:ea typeface="+mn-ea"/>
              <a:cs typeface="+mn-cs"/>
            </a:endParaRPr>
          </a:p>
        </p:txBody>
      </p:sp>
      <p:sp>
        <p:nvSpPr>
          <p:cNvPr id="5" name="Date Placeholder 4">
            <a:extLst>
              <a:ext uri="{FF2B5EF4-FFF2-40B4-BE49-F238E27FC236}">
                <a16:creationId xmlns:a16="http://schemas.microsoft.com/office/drawing/2014/main" id="{42B90BEB-F335-126F-AC0B-83221F454098}"/>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997A535-D0D4-43B5-AD8A-8D9F9278F202}" type="datetime1">
              <a:rPr kumimoji="0" lang="da-DK" sz="800" b="0" i="0" u="none" strike="noStrike" kern="1200" cap="none" spc="0" normalizeH="0" baseline="0" noProof="0" smtClean="0">
                <a:ln>
                  <a:noFill/>
                </a:ln>
                <a:solidFill>
                  <a:srgbClr val="000000"/>
                </a:solidFill>
                <a:effectLst/>
                <a:uLnTx/>
                <a:uFillTx/>
                <a:latin typeface="Arial"/>
                <a:cs typeface="Times New Roman" panose="02020603050405020304"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09-05-2025</a:t>
            </a:fld>
            <a:endParaRPr kumimoji="0" lang="da-DK" sz="800" b="0" i="0" u="none" strike="noStrike" kern="1200" cap="none" spc="0" normalizeH="0" baseline="0" noProof="0">
              <a:ln>
                <a:noFill/>
              </a:ln>
              <a:solidFill>
                <a:srgbClr val="000000"/>
              </a:solidFill>
              <a:effectLst/>
              <a:uLnTx/>
              <a:uFillTx/>
              <a:latin typeface="Arial"/>
              <a:cs typeface="Times New Roman" panose="02020603050405020304" pitchFamily="18" charset="0"/>
            </a:endParaRPr>
          </a:p>
        </p:txBody>
      </p:sp>
      <p:pic>
        <p:nvPicPr>
          <p:cNvPr id="10242" name="Picture 2" descr="Rust Bucket: 1966 Porsche 912">
            <a:extLst>
              <a:ext uri="{FF2B5EF4-FFF2-40B4-BE49-F238E27FC236}">
                <a16:creationId xmlns:a16="http://schemas.microsoft.com/office/drawing/2014/main" id="{547EDA50-DF71-FE61-FE43-FA16699365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99768" y="409429"/>
            <a:ext cx="6041439" cy="3426185"/>
          </a:xfrm>
          <a:prstGeom prst="rect">
            <a:avLst/>
          </a:prstGeom>
          <a:noFill/>
          <a:extLst>
            <a:ext uri="{909E8E84-426E-40DD-AFC4-6F175D3DCCD1}">
              <a14:hiddenFill xmlns:a14="http://schemas.microsoft.com/office/drawing/2010/main">
                <a:solidFill>
                  <a:srgbClr val="FFFFFF"/>
                </a:solidFill>
              </a14:hiddenFill>
            </a:ext>
          </a:extLst>
        </p:spPr>
      </p:pic>
      <p:pic>
        <p:nvPicPr>
          <p:cNvPr id="10244" name="Picture 4" descr="Her er Danmarks billigste bil - Se hvem der løber med prisen som Danmarks billigste  bil.">
            <a:extLst>
              <a:ext uri="{FF2B5EF4-FFF2-40B4-BE49-F238E27FC236}">
                <a16:creationId xmlns:a16="http://schemas.microsoft.com/office/drawing/2014/main" id="{5D5EC829-A1C8-4D9C-FA8E-C30827D3032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99901" y="2637501"/>
            <a:ext cx="3016491" cy="19607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126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9C70A-F7F8-434D-9243-A847E6D5A39F}"/>
              </a:ext>
            </a:extLst>
          </p:cNvPr>
          <p:cNvSpPr>
            <a:spLocks noGrp="1"/>
          </p:cNvSpPr>
          <p:nvPr>
            <p:ph type="title"/>
          </p:nvPr>
        </p:nvSpPr>
        <p:spPr>
          <a:xfrm>
            <a:off x="410400" y="1028246"/>
            <a:ext cx="4512827" cy="1884283"/>
          </a:xfrm>
        </p:spPr>
        <p:txBody>
          <a:bodyPr/>
          <a:lstStyle/>
          <a:p>
            <a:r>
              <a:rPr lang="en-US" err="1">
                <a:cs typeface="Arial"/>
              </a:rPr>
              <a:t>Hvad</a:t>
            </a:r>
            <a:r>
              <a:rPr lang="en-US">
                <a:cs typeface="Arial"/>
              </a:rPr>
              <a:t> er det for </a:t>
            </a:r>
            <a:r>
              <a:rPr lang="en-US" err="1">
                <a:cs typeface="Arial"/>
              </a:rPr>
              <a:t>en</a:t>
            </a:r>
            <a:r>
              <a:rPr lang="en-US">
                <a:cs typeface="Arial"/>
              </a:rPr>
              <a:t> </a:t>
            </a:r>
            <a:r>
              <a:rPr lang="en-US" err="1">
                <a:cs typeface="Arial"/>
              </a:rPr>
              <a:t>løsning</a:t>
            </a:r>
            <a:r>
              <a:rPr lang="en-US">
                <a:cs typeface="Arial"/>
              </a:rPr>
              <a:t> vi </a:t>
            </a:r>
            <a:r>
              <a:rPr lang="en-US" err="1">
                <a:cs typeface="Arial"/>
              </a:rPr>
              <a:t>får</a:t>
            </a:r>
            <a:r>
              <a:rPr lang="en-US">
                <a:cs typeface="Arial"/>
              </a:rPr>
              <a:t>?</a:t>
            </a:r>
            <a:endParaRPr lang="en-US" err="1"/>
          </a:p>
        </p:txBody>
      </p:sp>
      <p:sp>
        <p:nvSpPr>
          <p:cNvPr id="3" name="Content Placeholder 2">
            <a:extLst>
              <a:ext uri="{FF2B5EF4-FFF2-40B4-BE49-F238E27FC236}">
                <a16:creationId xmlns:a16="http://schemas.microsoft.com/office/drawing/2014/main" id="{FE8ED7DD-46A3-B1DB-6E76-E3312E17D7E6}"/>
              </a:ext>
            </a:extLst>
          </p:cNvPr>
          <p:cNvSpPr>
            <a:spLocks noGrp="1"/>
          </p:cNvSpPr>
          <p:nvPr>
            <p:ph sz="quarter" idx="19"/>
          </p:nvPr>
        </p:nvSpPr>
        <p:spPr>
          <a:xfrm>
            <a:off x="5602500" y="1028246"/>
            <a:ext cx="5836160" cy="4825354"/>
          </a:xfrm>
        </p:spPr>
        <p:txBody>
          <a:bodyPr vert="horz" lIns="0" tIns="0" rIns="0" bIns="0" rtlCol="0" anchor="t">
            <a:noAutofit/>
          </a:bodyPr>
          <a:lstStyle/>
          <a:p>
            <a:pPr marL="251460" indent="-251460"/>
            <a:r>
              <a:rPr lang="en-US" sz="1800" dirty="0">
                <a:cs typeface="Arial"/>
              </a:rPr>
              <a:t>Salesforce, Education cloud</a:t>
            </a:r>
          </a:p>
          <a:p>
            <a:pPr marL="251460" indent="-251460"/>
            <a:r>
              <a:rPr lang="en-US" sz="1800" dirty="0" err="1">
                <a:cs typeface="Arial"/>
              </a:rPr>
              <a:t>Fluido</a:t>
            </a:r>
            <a:r>
              <a:rPr lang="en-US" sz="1800" dirty="0">
                <a:cs typeface="Arial"/>
              </a:rPr>
              <a:t> </a:t>
            </a:r>
            <a:r>
              <a:rPr lang="en-US" sz="1800" dirty="0" err="1">
                <a:cs typeface="Arial"/>
              </a:rPr>
              <a:t>som</a:t>
            </a:r>
            <a:r>
              <a:rPr lang="en-US" sz="1800" dirty="0">
                <a:cs typeface="Arial"/>
              </a:rPr>
              <a:t> </a:t>
            </a:r>
            <a:r>
              <a:rPr lang="en-US" sz="1800" dirty="0" err="1">
                <a:cs typeface="Arial"/>
              </a:rPr>
              <a:t>samarbejdspartner</a:t>
            </a:r>
            <a:endParaRPr lang="en-US" sz="1800" dirty="0">
              <a:cs typeface="Arial"/>
            </a:endParaRPr>
          </a:p>
          <a:p>
            <a:pPr marL="251460" indent="-251460"/>
            <a:endParaRPr lang="en-US" sz="1800" dirty="0">
              <a:cs typeface="Arial"/>
            </a:endParaRPr>
          </a:p>
          <a:p>
            <a:pPr marL="251460" indent="-251460"/>
            <a:r>
              <a:rPr lang="en-US" sz="1800" dirty="0" err="1">
                <a:cs typeface="Arial"/>
              </a:rPr>
              <a:t>Anvendes</a:t>
            </a:r>
            <a:r>
              <a:rPr lang="en-US" sz="1800" dirty="0">
                <a:cs typeface="Arial"/>
              </a:rPr>
              <a:t> </a:t>
            </a:r>
            <a:r>
              <a:rPr lang="en-US" sz="1800" dirty="0" err="1">
                <a:cs typeface="Arial"/>
              </a:rPr>
              <a:t>af</a:t>
            </a:r>
            <a:r>
              <a:rPr lang="en-US" sz="1800" dirty="0">
                <a:cs typeface="Arial"/>
              </a:rPr>
              <a:t> </a:t>
            </a:r>
            <a:r>
              <a:rPr lang="en-US" sz="1800" dirty="0" err="1">
                <a:cs typeface="Arial"/>
              </a:rPr>
              <a:t>flere</a:t>
            </a:r>
            <a:r>
              <a:rPr lang="en-US" sz="1800" dirty="0">
                <a:cs typeface="Arial"/>
              </a:rPr>
              <a:t> </a:t>
            </a:r>
            <a:r>
              <a:rPr lang="en-US" sz="1800" dirty="0" err="1">
                <a:cs typeface="Arial"/>
              </a:rPr>
              <a:t>europæiske</a:t>
            </a:r>
            <a:r>
              <a:rPr lang="en-US" sz="1800" dirty="0">
                <a:cs typeface="Arial"/>
              </a:rPr>
              <a:t>, </a:t>
            </a:r>
            <a:r>
              <a:rPr lang="en-US" sz="1800" dirty="0" err="1">
                <a:cs typeface="Arial"/>
              </a:rPr>
              <a:t>engelske</a:t>
            </a:r>
            <a:r>
              <a:rPr lang="en-US" sz="1800" dirty="0">
                <a:cs typeface="Arial"/>
              </a:rPr>
              <a:t> og </a:t>
            </a:r>
            <a:r>
              <a:rPr lang="en-US" sz="1800" dirty="0" err="1">
                <a:cs typeface="Arial"/>
              </a:rPr>
              <a:t>amerikanske</a:t>
            </a:r>
            <a:r>
              <a:rPr lang="en-US" sz="1800" dirty="0">
                <a:cs typeface="Arial"/>
              </a:rPr>
              <a:t> </a:t>
            </a:r>
            <a:r>
              <a:rPr lang="en-US" sz="1800" dirty="0" err="1">
                <a:cs typeface="Arial"/>
              </a:rPr>
              <a:t>universiteter</a:t>
            </a:r>
            <a:endParaRPr lang="en-US" sz="1800" dirty="0">
              <a:cs typeface="Arial"/>
            </a:endParaRPr>
          </a:p>
          <a:p>
            <a:pPr marL="251460" indent="-251460"/>
            <a:r>
              <a:rPr lang="en-US" sz="1800" dirty="0" err="1">
                <a:cs typeface="Arial"/>
              </a:rPr>
              <a:t>Baseret</a:t>
            </a:r>
            <a:r>
              <a:rPr lang="en-US" sz="1800" dirty="0">
                <a:cs typeface="Arial"/>
              </a:rPr>
              <a:t> </a:t>
            </a:r>
            <a:r>
              <a:rPr lang="en-US" sz="1800" dirty="0" err="1">
                <a:cs typeface="Arial"/>
              </a:rPr>
              <a:t>på</a:t>
            </a:r>
            <a:r>
              <a:rPr lang="en-US" sz="1800" dirty="0">
                <a:cs typeface="Arial"/>
              </a:rPr>
              <a:t> et CRM-system (customer relation management) – </a:t>
            </a:r>
            <a:r>
              <a:rPr lang="en-US" sz="1800" dirty="0" err="1">
                <a:cs typeface="Arial"/>
              </a:rPr>
              <a:t>dvs</a:t>
            </a:r>
            <a:r>
              <a:rPr lang="en-US" sz="1800" dirty="0">
                <a:cs typeface="Arial"/>
              </a:rPr>
              <a:t>. i sin </a:t>
            </a:r>
            <a:r>
              <a:rPr lang="en-US" sz="1800" dirty="0" err="1">
                <a:cs typeface="Arial"/>
              </a:rPr>
              <a:t>kerne</a:t>
            </a:r>
            <a:r>
              <a:rPr lang="en-US" sz="1800" dirty="0">
                <a:cs typeface="Arial"/>
              </a:rPr>
              <a:t> et system, der </a:t>
            </a:r>
            <a:r>
              <a:rPr lang="en-US" sz="1800" dirty="0" err="1">
                <a:cs typeface="Arial"/>
              </a:rPr>
              <a:t>håndterer</a:t>
            </a:r>
            <a:r>
              <a:rPr lang="en-US" sz="1800" dirty="0">
                <a:cs typeface="Arial"/>
              </a:rPr>
              <a:t> </a:t>
            </a:r>
            <a:r>
              <a:rPr lang="en-US" sz="1800" dirty="0" err="1">
                <a:cs typeface="Arial"/>
              </a:rPr>
              <a:t>relationen</a:t>
            </a:r>
            <a:r>
              <a:rPr lang="en-US" sz="1800" dirty="0">
                <a:cs typeface="Arial"/>
              </a:rPr>
              <a:t> </a:t>
            </a:r>
            <a:r>
              <a:rPr lang="en-US" sz="1800" dirty="0" err="1">
                <a:cs typeface="Arial"/>
              </a:rPr>
              <a:t>til</a:t>
            </a:r>
            <a:r>
              <a:rPr lang="en-US" sz="1800" dirty="0">
                <a:cs typeface="Arial"/>
              </a:rPr>
              <a:t> </a:t>
            </a:r>
            <a:r>
              <a:rPr lang="en-US" sz="1800" dirty="0" err="1">
                <a:cs typeface="Arial"/>
              </a:rPr>
              <a:t>brugerne</a:t>
            </a:r>
            <a:endParaRPr lang="en-US" sz="1800" dirty="0">
              <a:cs typeface="Arial"/>
            </a:endParaRPr>
          </a:p>
          <a:p>
            <a:pPr marL="251460" indent="-251460"/>
            <a:r>
              <a:rPr lang="en-US" sz="1800" dirty="0" err="1">
                <a:cs typeface="Arial"/>
              </a:rPr>
              <a:t>Løbende</a:t>
            </a:r>
            <a:r>
              <a:rPr lang="en-US" sz="1800" dirty="0">
                <a:cs typeface="Arial"/>
              </a:rPr>
              <a:t> </a:t>
            </a:r>
            <a:r>
              <a:rPr lang="en-US" sz="1800" dirty="0" err="1">
                <a:cs typeface="Arial"/>
              </a:rPr>
              <a:t>udvikling</a:t>
            </a:r>
            <a:r>
              <a:rPr lang="en-US" sz="1800" dirty="0">
                <a:cs typeface="Arial"/>
              </a:rPr>
              <a:t> </a:t>
            </a:r>
            <a:r>
              <a:rPr lang="en-US" sz="1800" dirty="0" err="1">
                <a:cs typeface="Arial"/>
              </a:rPr>
              <a:t>af</a:t>
            </a:r>
            <a:r>
              <a:rPr lang="en-US" sz="1800" dirty="0">
                <a:cs typeface="Arial"/>
              </a:rPr>
              <a:t> </a:t>
            </a:r>
            <a:r>
              <a:rPr lang="en-US" sz="1800" dirty="0" err="1">
                <a:cs typeface="Arial"/>
              </a:rPr>
              <a:t>både</a:t>
            </a:r>
            <a:r>
              <a:rPr lang="en-US" sz="1800" dirty="0">
                <a:cs typeface="Arial"/>
              </a:rPr>
              <a:t> </a:t>
            </a:r>
            <a:r>
              <a:rPr lang="en-US" sz="1800" dirty="0" err="1">
                <a:cs typeface="Arial"/>
              </a:rPr>
              <a:t>basisplatform</a:t>
            </a:r>
            <a:r>
              <a:rPr lang="en-US" sz="1800" dirty="0">
                <a:cs typeface="Arial"/>
              </a:rPr>
              <a:t> og Education-</a:t>
            </a:r>
            <a:r>
              <a:rPr lang="en-US" sz="1800" dirty="0" err="1">
                <a:cs typeface="Arial"/>
              </a:rPr>
              <a:t>delen</a:t>
            </a:r>
            <a:endParaRPr lang="en-US" sz="1800" dirty="0">
              <a:cs typeface="Arial"/>
            </a:endParaRPr>
          </a:p>
          <a:p>
            <a:pPr marL="251460" indent="-251460"/>
            <a:endParaRPr lang="en-US" sz="1800" dirty="0">
              <a:cs typeface="Arial"/>
            </a:endParaRPr>
          </a:p>
          <a:p>
            <a:pPr marL="0" indent="0">
              <a:buNone/>
            </a:pPr>
            <a:r>
              <a:rPr lang="en-US" sz="1800" dirty="0">
                <a:cs typeface="Arial"/>
              </a:rPr>
              <a:t>Det er et: </a:t>
            </a:r>
          </a:p>
          <a:p>
            <a:pPr marL="251460" indent="-251460"/>
            <a:r>
              <a:rPr lang="en-US" sz="1800" dirty="0" err="1">
                <a:cs typeface="Arial"/>
              </a:rPr>
              <a:t>Standardsystem</a:t>
            </a:r>
            <a:r>
              <a:rPr lang="en-US" sz="1800" dirty="0">
                <a:cs typeface="Arial"/>
              </a:rPr>
              <a:t> (</a:t>
            </a:r>
            <a:r>
              <a:rPr lang="en-US" sz="1800" dirty="0" err="1">
                <a:cs typeface="Arial"/>
              </a:rPr>
              <a:t>færdige</a:t>
            </a:r>
            <a:r>
              <a:rPr lang="en-US" sz="1800" dirty="0">
                <a:cs typeface="Arial"/>
              </a:rPr>
              <a:t> processer </a:t>
            </a:r>
            <a:r>
              <a:rPr lang="en-US" sz="1800" dirty="0" err="1">
                <a:cs typeface="Arial"/>
              </a:rPr>
              <a:t>på</a:t>
            </a:r>
            <a:r>
              <a:rPr lang="en-US" sz="1800" dirty="0">
                <a:cs typeface="Arial"/>
              </a:rPr>
              <a:t> </a:t>
            </a:r>
            <a:r>
              <a:rPr lang="en-US" sz="1800" dirty="0" err="1">
                <a:cs typeface="Arial"/>
              </a:rPr>
              <a:t>nogle</a:t>
            </a:r>
            <a:r>
              <a:rPr lang="en-US" sz="1800" dirty="0">
                <a:cs typeface="Arial"/>
              </a:rPr>
              <a:t> </a:t>
            </a:r>
            <a:r>
              <a:rPr lang="en-US" sz="1800" dirty="0" err="1">
                <a:cs typeface="Arial"/>
              </a:rPr>
              <a:t>områder</a:t>
            </a:r>
            <a:r>
              <a:rPr lang="en-US" sz="1800" dirty="0">
                <a:cs typeface="Arial"/>
              </a:rPr>
              <a:t>)</a:t>
            </a:r>
          </a:p>
          <a:p>
            <a:pPr marL="251460" indent="-251460"/>
            <a:r>
              <a:rPr lang="en-US" sz="1800" dirty="0" err="1">
                <a:cs typeface="Arial"/>
              </a:rPr>
              <a:t>Standardplatform</a:t>
            </a:r>
            <a:r>
              <a:rPr lang="en-US" sz="1800" dirty="0">
                <a:cs typeface="Arial"/>
              </a:rPr>
              <a:t> / standard </a:t>
            </a:r>
            <a:r>
              <a:rPr lang="en-US" sz="1800" dirty="0" err="1">
                <a:cs typeface="Arial"/>
              </a:rPr>
              <a:t>rammesystem</a:t>
            </a:r>
            <a:r>
              <a:rPr lang="en-US" sz="1800" dirty="0">
                <a:cs typeface="Arial"/>
              </a:rPr>
              <a:t> (</a:t>
            </a:r>
            <a:r>
              <a:rPr lang="en-US" sz="1800" dirty="0" err="1">
                <a:cs typeface="Arial"/>
              </a:rPr>
              <a:t>færdige</a:t>
            </a:r>
            <a:r>
              <a:rPr lang="en-US" sz="1800" dirty="0">
                <a:cs typeface="Arial"/>
              </a:rPr>
              <a:t> </a:t>
            </a:r>
            <a:r>
              <a:rPr lang="en-US" sz="1800" dirty="0" err="1">
                <a:cs typeface="Arial"/>
              </a:rPr>
              <a:t>byggeklodser</a:t>
            </a:r>
            <a:r>
              <a:rPr lang="en-US" sz="1800" dirty="0">
                <a:cs typeface="Arial"/>
              </a:rPr>
              <a:t> </a:t>
            </a:r>
            <a:r>
              <a:rPr lang="en-US" sz="1800" dirty="0" err="1">
                <a:cs typeface="Arial"/>
              </a:rPr>
              <a:t>til</a:t>
            </a:r>
            <a:r>
              <a:rPr lang="en-US" sz="1800" dirty="0">
                <a:cs typeface="Arial"/>
              </a:rPr>
              <a:t> at </a:t>
            </a:r>
            <a:r>
              <a:rPr lang="en-US" sz="1800" dirty="0" err="1">
                <a:cs typeface="Arial"/>
              </a:rPr>
              <a:t>sætte</a:t>
            </a:r>
            <a:r>
              <a:rPr lang="en-US" sz="1800" dirty="0">
                <a:cs typeface="Arial"/>
              </a:rPr>
              <a:t> de processer op der mangler)</a:t>
            </a:r>
          </a:p>
          <a:p>
            <a:pPr marL="0" indent="0">
              <a:buNone/>
            </a:pPr>
            <a:endParaRPr lang="en-US" dirty="0">
              <a:cs typeface="Arial"/>
            </a:endParaRPr>
          </a:p>
        </p:txBody>
      </p:sp>
      <p:sp>
        <p:nvSpPr>
          <p:cNvPr id="4" name="Date Placeholder 3">
            <a:extLst>
              <a:ext uri="{FF2B5EF4-FFF2-40B4-BE49-F238E27FC236}">
                <a16:creationId xmlns:a16="http://schemas.microsoft.com/office/drawing/2014/main" id="{BE0573F0-8E99-EA2E-5E8E-175DFE3CB601}"/>
              </a:ext>
            </a:extLst>
          </p:cNvPr>
          <p:cNvSpPr>
            <a:spLocks noGrp="1"/>
          </p:cNvSpPr>
          <p:nvPr>
            <p:ph type="dt" sz="half"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B95474C2-3F5E-43F6-8ED0-9DD402FD1E14}" type="datetime1">
              <a:rPr kumimoji="0" lang="da-DK" sz="100"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9-05-2025</a:t>
            </a:fld>
            <a:endParaRPr kumimoji="0" lang="da-DK" sz="100" b="0" i="0" u="none" strike="noStrike" kern="1200" cap="none" spc="0" normalizeH="0" baseline="0" noProof="0">
              <a:ln>
                <a:noFill/>
              </a:ln>
              <a:no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E4870417-CF1D-57C8-7A26-ED04418C5E80}"/>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5D37B1E-C366-494F-A587-962AD9AABC83}" type="slidenum">
              <a:rPr kumimoji="0" lang="da-DK" sz="100" b="0" i="0" u="none" strike="noStrike" kern="1200" cap="none" spc="0" normalizeH="0" baseline="0" noProof="0" smtClean="0">
                <a:ln>
                  <a:noFill/>
                </a:ln>
                <a:no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2</a:t>
            </a:fld>
            <a:endParaRPr kumimoji="0" lang="da-DK" sz="100" b="0" i="0" u="none" strike="noStrike" kern="1200" cap="none" spc="0" normalizeH="0" baseline="0" noProof="0">
              <a:ln>
                <a:noFill/>
              </a:ln>
              <a:noFill/>
              <a:effectLst/>
              <a:uLnTx/>
              <a:uFillTx/>
              <a:latin typeface="Arial"/>
              <a:ea typeface="+mn-ea"/>
              <a:cs typeface="+mn-cs"/>
            </a:endParaRPr>
          </a:p>
        </p:txBody>
      </p:sp>
      <p:pic>
        <p:nvPicPr>
          <p:cNvPr id="10" name="Picture 9" descr="A diagram of a diagram&#10;&#10;Description automatically generated">
            <a:extLst>
              <a:ext uri="{FF2B5EF4-FFF2-40B4-BE49-F238E27FC236}">
                <a16:creationId xmlns:a16="http://schemas.microsoft.com/office/drawing/2014/main" id="{DDF53201-C618-C9C9-E92C-DCBDA648F460}"/>
              </a:ext>
            </a:extLst>
          </p:cNvPr>
          <p:cNvPicPr>
            <a:picLocks noChangeAspect="1"/>
          </p:cNvPicPr>
          <p:nvPr/>
        </p:nvPicPr>
        <p:blipFill>
          <a:blip r:embed="rId2"/>
          <a:stretch>
            <a:fillRect/>
          </a:stretch>
        </p:blipFill>
        <p:spPr>
          <a:xfrm>
            <a:off x="415001" y="2326640"/>
            <a:ext cx="4818957" cy="3799840"/>
          </a:xfrm>
          <a:prstGeom prst="rect">
            <a:avLst/>
          </a:prstGeom>
        </p:spPr>
      </p:pic>
      <p:sp>
        <p:nvSpPr>
          <p:cNvPr id="9" name="TextBox 8">
            <a:extLst>
              <a:ext uri="{FF2B5EF4-FFF2-40B4-BE49-F238E27FC236}">
                <a16:creationId xmlns:a16="http://schemas.microsoft.com/office/drawing/2014/main" id="{03824C8F-C7A5-DDAF-80F7-8CB4DF59BF13}"/>
              </a:ext>
            </a:extLst>
          </p:cNvPr>
          <p:cNvSpPr txBox="1"/>
          <p:nvPr/>
        </p:nvSpPr>
        <p:spPr>
          <a:xfrm>
            <a:off x="1672680" y="5854986"/>
            <a:ext cx="2743200" cy="49244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err="1">
                <a:ln>
                  <a:noFill/>
                </a:ln>
                <a:solidFill>
                  <a:srgbClr val="000000"/>
                </a:solidFill>
                <a:effectLst/>
                <a:uLnTx/>
                <a:uFillTx/>
                <a:latin typeface="Arial"/>
                <a:ea typeface="+mn-ea"/>
                <a:cs typeface="Arial"/>
              </a:rPr>
              <a:t>Kobling</a:t>
            </a:r>
            <a:r>
              <a:rPr kumimoji="0" lang="en-US" sz="1600" b="0" i="0" u="none" strike="noStrike" kern="1200" cap="none" spc="0" normalizeH="0" baseline="0" noProof="0">
                <a:ln>
                  <a:noFill/>
                </a:ln>
                <a:solidFill>
                  <a:srgbClr val="000000"/>
                </a:solidFill>
                <a:effectLst/>
                <a:uLnTx/>
                <a:uFillTx/>
                <a:latin typeface="Arial"/>
                <a:ea typeface="+mn-ea"/>
                <a:cs typeface="Arial"/>
              </a:rPr>
              <a:t> </a:t>
            </a:r>
            <a:r>
              <a:rPr kumimoji="0" lang="en-US" sz="1600" b="0" i="0" u="none" strike="noStrike" kern="1200" cap="none" spc="0" normalizeH="0" baseline="0" noProof="0" err="1">
                <a:ln>
                  <a:noFill/>
                </a:ln>
                <a:solidFill>
                  <a:srgbClr val="000000"/>
                </a:solidFill>
                <a:effectLst/>
                <a:uLnTx/>
                <a:uFillTx/>
                <a:latin typeface="Arial"/>
                <a:ea typeface="+mn-ea"/>
                <a:cs typeface="Arial"/>
              </a:rPr>
              <a:t>til</a:t>
            </a:r>
            <a:r>
              <a:rPr kumimoji="0" lang="en-US" sz="1600" b="0" i="0" u="none" strike="noStrike" kern="1200" cap="none" spc="0" normalizeH="0" baseline="0" noProof="0">
                <a:ln>
                  <a:noFill/>
                </a:ln>
                <a:solidFill>
                  <a:srgbClr val="000000"/>
                </a:solidFill>
                <a:effectLst/>
                <a:uLnTx/>
                <a:uFillTx/>
                <a:latin typeface="Arial"/>
                <a:ea typeface="+mn-ea"/>
                <a:cs typeface="Arial"/>
              </a:rPr>
              <a:t> SDU – </a:t>
            </a:r>
            <a:r>
              <a:rPr kumimoji="0" lang="en-US" sz="1600" b="0" i="0" u="none" strike="noStrike" kern="1200" cap="none" spc="0" normalizeH="0" baseline="0" noProof="0" err="1">
                <a:ln>
                  <a:noFill/>
                </a:ln>
                <a:solidFill>
                  <a:srgbClr val="000000"/>
                </a:solidFill>
                <a:effectLst/>
                <a:uLnTx/>
                <a:uFillTx/>
                <a:latin typeface="Arial"/>
                <a:ea typeface="+mn-ea"/>
                <a:cs typeface="Arial"/>
              </a:rPr>
              <a:t>både</a:t>
            </a:r>
            <a:r>
              <a:rPr kumimoji="0" lang="en-US" sz="1600" b="0" i="0" u="none" strike="noStrike" kern="1200" cap="none" spc="0" normalizeH="0" baseline="0" noProof="0">
                <a:ln>
                  <a:noFill/>
                </a:ln>
                <a:solidFill>
                  <a:srgbClr val="000000"/>
                </a:solidFill>
                <a:effectLst/>
                <a:uLnTx/>
                <a:uFillTx/>
                <a:latin typeface="Arial"/>
                <a:ea typeface="+mn-ea"/>
                <a:cs typeface="Arial"/>
              </a:rPr>
              <a:t> </a:t>
            </a:r>
            <a:r>
              <a:rPr kumimoji="0" lang="en-US" sz="1600" b="0" i="0" u="none" strike="noStrike" kern="1200" cap="none" spc="0" normalizeH="0" baseline="0" noProof="0" err="1">
                <a:ln>
                  <a:noFill/>
                </a:ln>
                <a:solidFill>
                  <a:srgbClr val="000000"/>
                </a:solidFill>
                <a:effectLst/>
                <a:uLnTx/>
                <a:uFillTx/>
                <a:latin typeface="Arial"/>
                <a:ea typeface="+mn-ea"/>
                <a:cs typeface="Arial"/>
              </a:rPr>
              <a:t>teknisk</a:t>
            </a:r>
            <a:r>
              <a:rPr kumimoji="0" lang="en-US" sz="1600" b="0" i="0" u="none" strike="noStrike" kern="1200" cap="none" spc="0" normalizeH="0" baseline="0" noProof="0">
                <a:ln>
                  <a:noFill/>
                </a:ln>
                <a:solidFill>
                  <a:srgbClr val="000000"/>
                </a:solidFill>
                <a:effectLst/>
                <a:uLnTx/>
                <a:uFillTx/>
                <a:latin typeface="Arial"/>
                <a:ea typeface="+mn-ea"/>
                <a:cs typeface="Arial"/>
              </a:rPr>
              <a:t> og </a:t>
            </a:r>
            <a:r>
              <a:rPr kumimoji="0" lang="en-US" sz="1600" b="0" i="0" u="none" strike="noStrike" kern="1200" cap="none" spc="0" normalizeH="0" baseline="0" noProof="0" err="1">
                <a:ln>
                  <a:noFill/>
                </a:ln>
                <a:solidFill>
                  <a:srgbClr val="000000"/>
                </a:solidFill>
                <a:effectLst/>
                <a:uLnTx/>
                <a:uFillTx/>
                <a:latin typeface="Arial"/>
                <a:ea typeface="+mn-ea"/>
                <a:cs typeface="Arial"/>
              </a:rPr>
              <a:t>funktionelt</a:t>
            </a: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pic>
        <p:nvPicPr>
          <p:cNvPr id="8" name="Billede 7">
            <a:extLst>
              <a:ext uri="{FF2B5EF4-FFF2-40B4-BE49-F238E27FC236}">
                <a16:creationId xmlns:a16="http://schemas.microsoft.com/office/drawing/2014/main" id="{1392A82A-B3DE-648B-F2D1-1A91ED164C5A}"/>
              </a:ext>
            </a:extLst>
          </p:cNvPr>
          <p:cNvPicPr>
            <a:picLocks noChangeAspect="1"/>
          </p:cNvPicPr>
          <p:nvPr/>
        </p:nvPicPr>
        <p:blipFill>
          <a:blip r:embed="rId3"/>
          <a:stretch>
            <a:fillRect/>
          </a:stretch>
        </p:blipFill>
        <p:spPr>
          <a:xfrm>
            <a:off x="11178349" y="6265133"/>
            <a:ext cx="771525" cy="409575"/>
          </a:xfrm>
          <a:prstGeom prst="rect">
            <a:avLst/>
          </a:prstGeom>
        </p:spPr>
      </p:pic>
    </p:spTree>
    <p:extLst>
      <p:ext uri="{BB962C8B-B14F-4D97-AF65-F5344CB8AC3E}">
        <p14:creationId xmlns:p14="http://schemas.microsoft.com/office/powerpoint/2010/main" val="1349584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FBAFCF-989D-E4D9-1DC1-1685A50A13CB}"/>
              </a:ext>
            </a:extLst>
          </p:cNvPr>
          <p:cNvSpPr>
            <a:spLocks noGrp="1"/>
          </p:cNvSpPr>
          <p:nvPr>
            <p:ph type="title"/>
          </p:nvPr>
        </p:nvSpPr>
        <p:spPr>
          <a:xfrm>
            <a:off x="6710399" y="1700213"/>
            <a:ext cx="4677070" cy="1436392"/>
          </a:xfrm>
        </p:spPr>
        <p:txBody>
          <a:bodyPr anchor="t">
            <a:normAutofit/>
          </a:bodyPr>
          <a:lstStyle/>
          <a:p>
            <a:r>
              <a:rPr lang="en-US"/>
              <a:t>100 % </a:t>
            </a:r>
            <a:r>
              <a:rPr lang="en-US" err="1"/>
              <a:t>fælles</a:t>
            </a:r>
          </a:p>
        </p:txBody>
      </p:sp>
      <p:sp>
        <p:nvSpPr>
          <p:cNvPr id="3" name="Content Placeholder 2">
            <a:extLst>
              <a:ext uri="{FF2B5EF4-FFF2-40B4-BE49-F238E27FC236}">
                <a16:creationId xmlns:a16="http://schemas.microsoft.com/office/drawing/2014/main" id="{A52406E7-6770-A713-47CE-59F0EA5021D6}"/>
              </a:ext>
            </a:extLst>
          </p:cNvPr>
          <p:cNvSpPr>
            <a:spLocks noGrp="1"/>
          </p:cNvSpPr>
          <p:nvPr>
            <p:ph type="body" sz="quarter" idx="19"/>
          </p:nvPr>
        </p:nvSpPr>
        <p:spPr>
          <a:xfrm>
            <a:off x="6821598" y="2970657"/>
            <a:ext cx="4680000" cy="2466000"/>
          </a:xfrm>
        </p:spPr>
        <p:txBody>
          <a:bodyPr vert="horz" lIns="0" tIns="0" rIns="0" bIns="0" rtlCol="0" anchor="t">
            <a:normAutofit fontScale="92500" lnSpcReduction="20000"/>
          </a:bodyPr>
          <a:lstStyle/>
          <a:p>
            <a:pPr marL="251460" indent="-251460">
              <a:spcAft>
                <a:spcPts val="600"/>
              </a:spcAft>
              <a:buChar char="Ø"/>
            </a:pPr>
            <a:r>
              <a:rPr lang="en-US" err="1">
                <a:cs typeface="Arial"/>
              </a:rPr>
              <a:t>Fælles</a:t>
            </a:r>
            <a:r>
              <a:rPr lang="en-US">
                <a:cs typeface="Arial"/>
              </a:rPr>
              <a:t> ed </a:t>
            </a:r>
            <a:r>
              <a:rPr lang="en-US" err="1">
                <a:cs typeface="Arial"/>
              </a:rPr>
              <a:t>blandt</a:t>
            </a:r>
            <a:r>
              <a:rPr lang="en-US">
                <a:cs typeface="Arial"/>
              </a:rPr>
              <a:t> de 7 </a:t>
            </a:r>
            <a:r>
              <a:rPr lang="en-US" err="1">
                <a:cs typeface="Arial"/>
              </a:rPr>
              <a:t>universiteter</a:t>
            </a:r>
            <a:endParaRPr lang="en-US">
              <a:cs typeface="Arial"/>
            </a:endParaRPr>
          </a:p>
          <a:p>
            <a:pPr marL="251460" indent="-251460">
              <a:spcAft>
                <a:spcPts val="600"/>
              </a:spcAft>
              <a:buChar char="Ø"/>
            </a:pPr>
            <a:r>
              <a:rPr lang="en-US" err="1">
                <a:cs typeface="Arial"/>
              </a:rPr>
              <a:t>Udgangspunktet</a:t>
            </a:r>
            <a:r>
              <a:rPr lang="en-US">
                <a:cs typeface="Arial"/>
              </a:rPr>
              <a:t> er </a:t>
            </a:r>
            <a:r>
              <a:rPr lang="en-US" err="1">
                <a:cs typeface="Arial"/>
              </a:rPr>
              <a:t>ikke</a:t>
            </a:r>
            <a:r>
              <a:rPr lang="en-US">
                <a:cs typeface="Arial"/>
              </a:rPr>
              <a:t> </a:t>
            </a:r>
            <a:r>
              <a:rPr lang="en-US" err="1">
                <a:cs typeface="Arial"/>
              </a:rPr>
              <a:t>forskellighederne</a:t>
            </a:r>
            <a:r>
              <a:rPr lang="en-US">
                <a:cs typeface="Arial"/>
              </a:rPr>
              <a:t>, men alle de </a:t>
            </a:r>
            <a:r>
              <a:rPr lang="en-US" err="1">
                <a:cs typeface="Arial"/>
              </a:rPr>
              <a:t>steder</a:t>
            </a:r>
            <a:r>
              <a:rPr lang="en-US">
                <a:cs typeface="Arial"/>
              </a:rPr>
              <a:t> vi er </a:t>
            </a:r>
            <a:r>
              <a:rPr lang="en-US" err="1">
                <a:cs typeface="Arial"/>
              </a:rPr>
              <a:t>ens</a:t>
            </a:r>
            <a:endParaRPr lang="en-US">
              <a:cs typeface="Arial"/>
            </a:endParaRPr>
          </a:p>
          <a:p>
            <a:pPr marL="251460" indent="-251460">
              <a:spcAft>
                <a:spcPts val="600"/>
              </a:spcAft>
              <a:buChar char="Ø"/>
            </a:pPr>
            <a:endParaRPr lang="en-US">
              <a:cs typeface="Arial"/>
            </a:endParaRPr>
          </a:p>
          <a:p>
            <a:pPr marL="0" indent="0">
              <a:spcAft>
                <a:spcPts val="600"/>
              </a:spcAft>
              <a:buNone/>
            </a:pPr>
            <a:r>
              <a:rPr lang="en-US" err="1">
                <a:cs typeface="Arial"/>
              </a:rPr>
              <a:t>Eksempler</a:t>
            </a:r>
            <a:r>
              <a:rPr lang="en-US">
                <a:cs typeface="Arial"/>
              </a:rPr>
              <a:t>:</a:t>
            </a:r>
          </a:p>
          <a:p>
            <a:pPr marL="251460" indent="-251460">
              <a:spcAft>
                <a:spcPts val="600"/>
              </a:spcAft>
              <a:buChar char="Ø"/>
            </a:pPr>
            <a:r>
              <a:rPr lang="en-US" err="1">
                <a:cs typeface="Arial"/>
              </a:rPr>
              <a:t>Felter</a:t>
            </a:r>
            <a:r>
              <a:rPr lang="en-US">
                <a:cs typeface="Arial"/>
              </a:rPr>
              <a:t> </a:t>
            </a:r>
            <a:r>
              <a:rPr lang="en-US" err="1">
                <a:cs typeface="Arial"/>
              </a:rPr>
              <a:t>i</a:t>
            </a:r>
            <a:r>
              <a:rPr lang="en-US">
                <a:cs typeface="Arial"/>
              </a:rPr>
              <a:t> </a:t>
            </a:r>
            <a:r>
              <a:rPr lang="en-US" err="1">
                <a:cs typeface="Arial"/>
              </a:rPr>
              <a:t>studieordninger</a:t>
            </a:r>
            <a:endParaRPr lang="en-US">
              <a:cs typeface="Arial"/>
            </a:endParaRPr>
          </a:p>
          <a:p>
            <a:pPr marL="251460" indent="-251460">
              <a:spcAft>
                <a:spcPts val="600"/>
              </a:spcAft>
              <a:buChar char="Ø"/>
            </a:pPr>
            <a:r>
              <a:rPr lang="en-US" err="1">
                <a:cs typeface="Arial"/>
              </a:rPr>
              <a:t>Sagsbehandling</a:t>
            </a:r>
            <a:r>
              <a:rPr lang="en-US">
                <a:cs typeface="Arial"/>
              </a:rPr>
              <a:t> </a:t>
            </a:r>
            <a:r>
              <a:rPr lang="en-US" err="1">
                <a:cs typeface="Arial"/>
              </a:rPr>
              <a:t>i</a:t>
            </a:r>
            <a:r>
              <a:rPr lang="en-US">
                <a:cs typeface="Arial"/>
              </a:rPr>
              <a:t> </a:t>
            </a:r>
            <a:r>
              <a:rPr lang="en-US" err="1">
                <a:cs typeface="Arial"/>
              </a:rPr>
              <a:t>systemet</a:t>
            </a:r>
            <a:endParaRPr lang="en-US">
              <a:cs typeface="Arial"/>
            </a:endParaRPr>
          </a:p>
          <a:p>
            <a:pPr marL="251460" indent="-251460">
              <a:spcAft>
                <a:spcPts val="600"/>
              </a:spcAft>
              <a:buChar char="Ø"/>
            </a:pPr>
            <a:r>
              <a:rPr lang="en-US" err="1">
                <a:cs typeface="Arial"/>
              </a:rPr>
              <a:t>Mulighed</a:t>
            </a:r>
            <a:r>
              <a:rPr lang="en-US">
                <a:cs typeface="Arial"/>
              </a:rPr>
              <a:t> for </a:t>
            </a:r>
            <a:r>
              <a:rPr lang="en-US" err="1">
                <a:cs typeface="Arial"/>
              </a:rPr>
              <a:t>karaktergennemsnit</a:t>
            </a:r>
            <a:r>
              <a:rPr lang="en-US">
                <a:cs typeface="Arial"/>
              </a:rPr>
              <a:t> </a:t>
            </a:r>
            <a:r>
              <a:rPr lang="en-US" err="1">
                <a:cs typeface="Arial"/>
              </a:rPr>
              <a:t>på</a:t>
            </a:r>
            <a:r>
              <a:rPr lang="en-US">
                <a:cs typeface="Arial"/>
              </a:rPr>
              <a:t> </a:t>
            </a:r>
            <a:r>
              <a:rPr lang="en-US" err="1">
                <a:cs typeface="Arial"/>
              </a:rPr>
              <a:t>eksamensbeviset</a:t>
            </a:r>
            <a:endParaRPr lang="en-US">
              <a:cs typeface="Arial"/>
            </a:endParaRPr>
          </a:p>
          <a:p>
            <a:pPr marL="0" indent="0">
              <a:spcAft>
                <a:spcPts val="600"/>
              </a:spcAft>
              <a:buNone/>
            </a:pPr>
            <a:endParaRPr lang="en-US">
              <a:cs typeface="Arial"/>
            </a:endParaRPr>
          </a:p>
          <a:p>
            <a:pPr marL="0" indent="0">
              <a:spcAft>
                <a:spcPts val="600"/>
              </a:spcAft>
              <a:buNone/>
            </a:pPr>
            <a:endParaRPr lang="en-US">
              <a:cs typeface="Arial"/>
            </a:endParaRPr>
          </a:p>
          <a:p>
            <a:pPr marL="251460" indent="-251460">
              <a:spcAft>
                <a:spcPts val="600"/>
              </a:spcAft>
              <a:buChar char="Ø"/>
            </a:pPr>
            <a:endParaRPr lang="en-US">
              <a:cs typeface="Arial"/>
            </a:endParaRPr>
          </a:p>
          <a:p>
            <a:pPr marL="251460" indent="-251460">
              <a:spcAft>
                <a:spcPts val="600"/>
              </a:spcAft>
              <a:buChar char="Ø"/>
            </a:pPr>
            <a:endParaRPr lang="en-US">
              <a:cs typeface="Arial"/>
            </a:endParaRPr>
          </a:p>
        </p:txBody>
      </p:sp>
      <p:sp>
        <p:nvSpPr>
          <p:cNvPr id="4" name="Date Placeholder 3">
            <a:extLst>
              <a:ext uri="{FF2B5EF4-FFF2-40B4-BE49-F238E27FC236}">
                <a16:creationId xmlns:a16="http://schemas.microsoft.com/office/drawing/2014/main" id="{B3943EB0-76E1-D382-455D-E5149E6B0D87}"/>
              </a:ext>
            </a:extLst>
          </p:cNvPr>
          <p:cNvSpPr>
            <a:spLocks noGrp="1"/>
          </p:cNvSpPr>
          <p:nvPr>
            <p:ph type="dt" sz="half" idx="20"/>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9B6C3B9-7318-43BB-9C08-9727AA2F16AF}" type="datetime1">
              <a:rPr kumimoji="0" lang="en-US" sz="100"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5/9/2025</a:t>
            </a:fld>
            <a:endParaRPr kumimoji="0" lang="en-US" sz="100" b="0" i="0" u="none" strike="noStrike" kern="1200" cap="none" spc="0" normalizeH="0" baseline="0" noProof="0">
              <a:ln>
                <a:noFill/>
              </a:ln>
              <a:no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341F1E95-9FB1-5F98-296B-F2F00243650D}"/>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45D37B1E-C366-494F-A587-962AD9AABC83}" type="slidenum">
              <a:rPr kumimoji="0" lang="da-DK" sz="100" b="0" i="0" u="none" strike="noStrike" kern="1200" cap="none" spc="0" normalizeH="0" baseline="0" noProof="0" smtClean="0">
                <a:ln>
                  <a:noFill/>
                </a:ln>
                <a:noFill/>
                <a:effectLst/>
                <a:uLnTx/>
                <a:uFillTx/>
                <a:latin typeface="Arial"/>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33</a:t>
            </a:fld>
            <a:endParaRPr kumimoji="0" lang="da-DK" sz="100" b="0" i="0" u="none" strike="noStrike" kern="1200" cap="none" spc="0" normalizeH="0" baseline="0" noProof="0">
              <a:ln>
                <a:noFill/>
              </a:ln>
              <a:noFill/>
              <a:effectLst/>
              <a:uLnTx/>
              <a:uFillTx/>
              <a:latin typeface="Arial"/>
              <a:ea typeface="+mn-ea"/>
              <a:cs typeface="+mn-cs"/>
            </a:endParaRPr>
          </a:p>
        </p:txBody>
      </p:sp>
      <p:sp>
        <p:nvSpPr>
          <p:cNvPr id="35" name="Rektangel 34">
            <a:extLst>
              <a:ext uri="{FF2B5EF4-FFF2-40B4-BE49-F238E27FC236}">
                <a16:creationId xmlns:a16="http://schemas.microsoft.com/office/drawing/2014/main" id="{3AFF1EE6-193F-C487-F310-9EC04FE1281F}"/>
              </a:ext>
            </a:extLst>
          </p:cNvPr>
          <p:cNvSpPr/>
          <p:nvPr/>
        </p:nvSpPr>
        <p:spPr>
          <a:xfrm>
            <a:off x="804532" y="2064225"/>
            <a:ext cx="4677070" cy="2729547"/>
          </a:xfrm>
          <a:prstGeom prst="rect">
            <a:avLst/>
          </a:prstGeom>
          <a:solidFill>
            <a:srgbClr val="33669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srgbClr val="FFFFFF"/>
              </a:solidFill>
              <a:effectLst/>
              <a:uLnTx/>
              <a:uFillTx/>
              <a:latin typeface="Arial"/>
              <a:ea typeface="+mn-ea"/>
              <a:cs typeface="+mn-cs"/>
            </a:endParaRPr>
          </a:p>
        </p:txBody>
      </p:sp>
      <p:grpSp>
        <p:nvGrpSpPr>
          <p:cNvPr id="40" name="Gruppe 39">
            <a:extLst>
              <a:ext uri="{FF2B5EF4-FFF2-40B4-BE49-F238E27FC236}">
                <a16:creationId xmlns:a16="http://schemas.microsoft.com/office/drawing/2014/main" id="{0143E1E7-D7FF-25E8-44C4-6FD404E68243}"/>
              </a:ext>
            </a:extLst>
          </p:cNvPr>
          <p:cNvGrpSpPr/>
          <p:nvPr/>
        </p:nvGrpSpPr>
        <p:grpSpPr>
          <a:xfrm>
            <a:off x="163447" y="2545577"/>
            <a:ext cx="5729353" cy="2685014"/>
            <a:chOff x="281324" y="2690335"/>
            <a:chExt cx="5729353" cy="2685014"/>
          </a:xfrm>
        </p:grpSpPr>
        <p:sp>
          <p:nvSpPr>
            <p:cNvPr id="34" name="Tekstfelt 33">
              <a:extLst>
                <a:ext uri="{FF2B5EF4-FFF2-40B4-BE49-F238E27FC236}">
                  <a16:creationId xmlns:a16="http://schemas.microsoft.com/office/drawing/2014/main" id="{25B6BA99-F003-8D9E-E9BE-1B3BE6382EED}"/>
                </a:ext>
              </a:extLst>
            </p:cNvPr>
            <p:cNvSpPr txBox="1"/>
            <p:nvPr/>
          </p:nvSpPr>
          <p:spPr>
            <a:xfrm>
              <a:off x="1207474" y="2690335"/>
              <a:ext cx="4599918" cy="147732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9600" b="1" i="0" u="none" strike="noStrike" kern="1200" cap="none" spc="0" normalizeH="0" baseline="0" noProof="0">
                  <a:ln>
                    <a:noFill/>
                  </a:ln>
                  <a:solidFill>
                    <a:srgbClr val="FF0000"/>
                  </a:solidFill>
                  <a:effectLst/>
                  <a:uLnTx/>
                  <a:uFillTx/>
                  <a:latin typeface="Lucida Handwriting" panose="03010101010101010101" pitchFamily="66" charset="0"/>
                  <a:ea typeface="STCaiyun" panose="020B0503020204020204" pitchFamily="2" charset="-122"/>
                  <a:cs typeface="Dreaming Outloud Pro" panose="020F0502020204030204" pitchFamily="66" charset="0"/>
                </a:rPr>
                <a:t>100 %</a:t>
              </a:r>
            </a:p>
          </p:txBody>
        </p:sp>
        <p:sp>
          <p:nvSpPr>
            <p:cNvPr id="38" name="Bue 37">
              <a:extLst>
                <a:ext uri="{FF2B5EF4-FFF2-40B4-BE49-F238E27FC236}">
                  <a16:creationId xmlns:a16="http://schemas.microsoft.com/office/drawing/2014/main" id="{D9FC12D1-2D08-783F-5E5B-E8F6501D1FD2}"/>
                </a:ext>
              </a:extLst>
            </p:cNvPr>
            <p:cNvSpPr/>
            <p:nvPr/>
          </p:nvSpPr>
          <p:spPr>
            <a:xfrm rot="21314505">
              <a:off x="281324" y="4106838"/>
              <a:ext cx="5560923" cy="1123743"/>
            </a:xfrm>
            <a:prstGeom prst="arc">
              <a:avLst>
                <a:gd name="adj1" fmla="val 11768379"/>
                <a:gd name="adj2" fmla="val 2047019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sp>
          <p:nvSpPr>
            <p:cNvPr id="39" name="Bue 38">
              <a:extLst>
                <a:ext uri="{FF2B5EF4-FFF2-40B4-BE49-F238E27FC236}">
                  <a16:creationId xmlns:a16="http://schemas.microsoft.com/office/drawing/2014/main" id="{5C2411A0-BFA6-A1C8-62F6-AA30285B6A1B}"/>
                </a:ext>
              </a:extLst>
            </p:cNvPr>
            <p:cNvSpPr/>
            <p:nvPr/>
          </p:nvSpPr>
          <p:spPr>
            <a:xfrm rot="21314505">
              <a:off x="449754" y="4251606"/>
              <a:ext cx="5560923" cy="1123743"/>
            </a:xfrm>
            <a:prstGeom prst="arc">
              <a:avLst>
                <a:gd name="adj1" fmla="val 11768379"/>
                <a:gd name="adj2" fmla="val 20470190"/>
              </a:avLst>
            </a:prstGeom>
            <a:ln w="28575">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srgbClr val="000000"/>
                </a:solidFill>
                <a:effectLst/>
                <a:uLnTx/>
                <a:uFillTx/>
                <a:latin typeface="Arial"/>
                <a:ea typeface="+mn-ea"/>
                <a:cs typeface="+mn-cs"/>
              </a:endParaRPr>
            </a:p>
          </p:txBody>
        </p:sp>
      </p:grpSp>
    </p:spTree>
    <p:extLst>
      <p:ext uri="{BB962C8B-B14F-4D97-AF65-F5344CB8AC3E}">
        <p14:creationId xmlns:p14="http://schemas.microsoft.com/office/powerpoint/2010/main" val="198606751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1D08A-8BFE-4C21-D01C-1E98124E8E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899B422-A93E-7DDA-2C5C-D6CE36F03DC2}"/>
              </a:ext>
            </a:extLst>
          </p:cNvPr>
          <p:cNvSpPr>
            <a:spLocks noGrp="1"/>
          </p:cNvSpPr>
          <p:nvPr>
            <p:ph type="title"/>
          </p:nvPr>
        </p:nvSpPr>
        <p:spPr>
          <a:xfrm>
            <a:off x="6710399" y="1700213"/>
            <a:ext cx="4677070" cy="1436392"/>
          </a:xfrm>
        </p:spPr>
        <p:txBody>
          <a:bodyPr anchor="t">
            <a:normAutofit/>
          </a:bodyPr>
          <a:lstStyle/>
          <a:p>
            <a:r>
              <a:rPr lang="en-US" dirty="0"/>
              <a:t>MVP</a:t>
            </a:r>
            <a:br>
              <a:rPr lang="en-US" dirty="0"/>
            </a:br>
            <a:r>
              <a:rPr lang="en-US" sz="2400" dirty="0"/>
              <a:t>Minimum Viable Product</a:t>
            </a:r>
            <a:endParaRPr lang="en-US" dirty="0"/>
          </a:p>
        </p:txBody>
      </p:sp>
      <p:sp>
        <p:nvSpPr>
          <p:cNvPr id="3" name="Content Placeholder 2">
            <a:extLst>
              <a:ext uri="{FF2B5EF4-FFF2-40B4-BE49-F238E27FC236}">
                <a16:creationId xmlns:a16="http://schemas.microsoft.com/office/drawing/2014/main" id="{152FE263-4D5F-AC3F-37F2-30470944D308}"/>
              </a:ext>
            </a:extLst>
          </p:cNvPr>
          <p:cNvSpPr>
            <a:spLocks noGrp="1"/>
          </p:cNvSpPr>
          <p:nvPr>
            <p:ph type="body" sz="quarter" idx="19"/>
          </p:nvPr>
        </p:nvSpPr>
        <p:spPr>
          <a:xfrm>
            <a:off x="6821598" y="2970657"/>
            <a:ext cx="4680000" cy="2466000"/>
          </a:xfrm>
        </p:spPr>
        <p:txBody>
          <a:bodyPr vert="horz" lIns="0" tIns="0" rIns="0" bIns="0" rtlCol="0" anchor="t">
            <a:normAutofit/>
          </a:bodyPr>
          <a:lstStyle/>
          <a:p>
            <a:pPr marL="0" indent="0">
              <a:spcAft>
                <a:spcPts val="600"/>
              </a:spcAft>
              <a:buNone/>
            </a:pPr>
            <a:r>
              <a:rPr lang="en-US" sz="1800" dirty="0">
                <a:solidFill>
                  <a:srgbClr val="040C28"/>
                </a:solidFill>
                <a:latin typeface="Google Sans"/>
              </a:rPr>
              <a:t>A</a:t>
            </a:r>
            <a:r>
              <a:rPr lang="en-US" sz="1800" b="0" i="0" dirty="0">
                <a:solidFill>
                  <a:srgbClr val="040C28"/>
                </a:solidFill>
                <a:effectLst/>
                <a:latin typeface="Google Sans"/>
              </a:rPr>
              <a:t> version of a product early in the development process that has just enough functionality and features to test the product vision and gain feedback for future</a:t>
            </a:r>
            <a:endParaRPr lang="en-US" sz="1800" dirty="0">
              <a:cs typeface="Arial"/>
            </a:endParaRPr>
          </a:p>
          <a:p>
            <a:pPr marL="0" indent="0">
              <a:spcAft>
                <a:spcPts val="600"/>
              </a:spcAft>
              <a:buNone/>
            </a:pPr>
            <a:endParaRPr lang="en-US" dirty="0">
              <a:cs typeface="Arial"/>
            </a:endParaRPr>
          </a:p>
          <a:p>
            <a:pPr marL="0" indent="0">
              <a:spcAft>
                <a:spcPts val="600"/>
              </a:spcAft>
              <a:buNone/>
            </a:pPr>
            <a:endParaRPr lang="en-US" dirty="0">
              <a:cs typeface="Arial"/>
            </a:endParaRPr>
          </a:p>
          <a:p>
            <a:pPr marL="251460" indent="-251460">
              <a:spcAft>
                <a:spcPts val="600"/>
              </a:spcAft>
              <a:buChar char="Ø"/>
            </a:pPr>
            <a:endParaRPr lang="en-US" dirty="0">
              <a:cs typeface="Arial"/>
            </a:endParaRPr>
          </a:p>
          <a:p>
            <a:pPr marL="251460" indent="-251460">
              <a:spcAft>
                <a:spcPts val="600"/>
              </a:spcAft>
              <a:buChar char="Ø"/>
            </a:pPr>
            <a:endParaRPr lang="en-US" dirty="0">
              <a:cs typeface="Arial"/>
            </a:endParaRPr>
          </a:p>
        </p:txBody>
      </p:sp>
      <p:sp>
        <p:nvSpPr>
          <p:cNvPr id="4" name="Date Placeholder 3">
            <a:extLst>
              <a:ext uri="{FF2B5EF4-FFF2-40B4-BE49-F238E27FC236}">
                <a16:creationId xmlns:a16="http://schemas.microsoft.com/office/drawing/2014/main" id="{03C898F0-CE0F-D589-DF16-D1C437AE24B5}"/>
              </a:ext>
            </a:extLst>
          </p:cNvPr>
          <p:cNvSpPr>
            <a:spLocks noGrp="1"/>
          </p:cNvSpPr>
          <p:nvPr>
            <p:ph type="dt" sz="half" idx="20"/>
          </p:nvPr>
        </p:nvSpPr>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09B6C3B9-7318-43BB-9C08-9727AA2F16AF}" type="datetime1">
              <a:rPr kumimoji="0" lang="en-US" sz="100" b="0" i="0" u="none" strike="noStrike" kern="1200" cap="none" spc="0" normalizeH="0" baseline="0" noProof="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5/9/2025</a:t>
            </a:fld>
            <a:endParaRPr kumimoji="0" lang="en-US" sz="100" b="0" i="0" u="none" strike="noStrike" kern="1200" cap="none" spc="0" normalizeH="0" baseline="0" noProof="0">
              <a:ln>
                <a:noFill/>
              </a:ln>
              <a:no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2941A386-C556-9CAD-1AF8-15426CE3D350}"/>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45D37B1E-C366-494F-A587-962AD9AABC83}" type="slidenum">
              <a:rPr kumimoji="0" lang="da-DK" sz="100" b="0" i="0" u="none" strike="noStrike" kern="1200" cap="none" spc="0" normalizeH="0" baseline="0" noProof="0" smtClean="0">
                <a:ln>
                  <a:noFill/>
                </a:ln>
                <a:noFill/>
                <a:effectLst/>
                <a:uLnTx/>
                <a:uFillTx/>
                <a:latin typeface="Arial"/>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34</a:t>
            </a:fld>
            <a:endParaRPr kumimoji="0" lang="da-DK" sz="100" b="0" i="0" u="none" strike="noStrike" kern="1200" cap="none" spc="0" normalizeH="0" baseline="0" noProof="0">
              <a:ln>
                <a:noFill/>
              </a:ln>
              <a:noFill/>
              <a:effectLst/>
              <a:uLnTx/>
              <a:uFillTx/>
              <a:latin typeface="Arial"/>
              <a:ea typeface="+mn-ea"/>
              <a:cs typeface="+mn-cs"/>
            </a:endParaRPr>
          </a:p>
        </p:txBody>
      </p:sp>
      <p:pic>
        <p:nvPicPr>
          <p:cNvPr id="1026" name="Picture 2">
            <a:extLst>
              <a:ext uri="{FF2B5EF4-FFF2-40B4-BE49-F238E27FC236}">
                <a16:creationId xmlns:a16="http://schemas.microsoft.com/office/drawing/2014/main" id="{4F279C6A-3337-DE53-9894-6445066141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5275" y="1613127"/>
            <a:ext cx="5800725" cy="3914775"/>
          </a:xfrm>
          <a:prstGeom prst="rect">
            <a:avLst/>
          </a:prstGeom>
          <a:noFill/>
          <a:extLst>
            <a:ext uri="{909E8E84-426E-40DD-AFC4-6F175D3DCCD1}">
              <a14:hiddenFill xmlns:a14="http://schemas.microsoft.com/office/drawing/2010/main">
                <a:solidFill>
                  <a:srgbClr val="FFFFFF"/>
                </a:solidFill>
              </a14:hiddenFill>
            </a:ext>
          </a:extLst>
        </p:spPr>
      </p:pic>
      <p:sp>
        <p:nvSpPr>
          <p:cNvPr id="5" name="AutoShape 2" descr="MVP in Agile: What It Is &amp; Why It's Critical">
            <a:extLst>
              <a:ext uri="{FF2B5EF4-FFF2-40B4-BE49-F238E27FC236}">
                <a16:creationId xmlns:a16="http://schemas.microsoft.com/office/drawing/2014/main" id="{A81314A9-CA78-A4BA-57DF-D84FE326A35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a-DK"/>
          </a:p>
        </p:txBody>
      </p:sp>
    </p:spTree>
    <p:extLst>
      <p:ext uri="{BB962C8B-B14F-4D97-AF65-F5344CB8AC3E}">
        <p14:creationId xmlns:p14="http://schemas.microsoft.com/office/powerpoint/2010/main" val="1513507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A900CD7-B1EE-36C1-E76E-F4B75C150F1A}"/>
              </a:ext>
            </a:extLst>
          </p:cNvPr>
          <p:cNvSpPr>
            <a:spLocks noGrp="1"/>
          </p:cNvSpPr>
          <p:nvPr>
            <p:ph idx="1"/>
          </p:nvPr>
        </p:nvSpPr>
        <p:spPr>
          <a:xfrm>
            <a:off x="764059" y="1219200"/>
            <a:ext cx="5221392" cy="4585749"/>
          </a:xfrm>
        </p:spPr>
        <p:txBody>
          <a:bodyPr vert="horz" lIns="91440" tIns="45720" rIns="91440" bIns="45720" rtlCol="0">
            <a:normAutofit lnSpcReduction="10000"/>
          </a:bodyPr>
          <a:lstStyle/>
          <a:p>
            <a:pPr marL="0" indent="0">
              <a:spcBef>
                <a:spcPts val="0"/>
              </a:spcBef>
              <a:spcAft>
                <a:spcPts val="600"/>
              </a:spcAft>
              <a:buNone/>
            </a:pPr>
            <a:r>
              <a:rPr lang="da-DK" sz="2000" b="1" dirty="0"/>
              <a:t>Hvad kræver SIS af SDU organisationen</a:t>
            </a:r>
            <a:endParaRPr lang="en-US" sz="2000" b="1" dirty="0"/>
          </a:p>
          <a:p>
            <a:pPr>
              <a:spcBef>
                <a:spcPts val="0"/>
              </a:spcBef>
              <a:spcAft>
                <a:spcPts val="600"/>
              </a:spcAft>
            </a:pPr>
            <a:endParaRPr lang="en-US" sz="2000" dirty="0"/>
          </a:p>
          <a:p>
            <a:pPr marL="228600" indent="-228600">
              <a:spcBef>
                <a:spcPts val="0"/>
              </a:spcBef>
              <a:spcAft>
                <a:spcPts val="600"/>
              </a:spcAft>
              <a:buFont typeface="Symbol,Sans-Serif"/>
              <a:buChar char="•"/>
            </a:pPr>
            <a:r>
              <a:rPr lang="da-DK" sz="2000" dirty="0"/>
              <a:t>Klare (hurtige) beslutningsveje for design af de kommende fælles processer</a:t>
            </a:r>
            <a:r>
              <a:rPr lang="en-US" sz="2000" dirty="0"/>
              <a:t> </a:t>
            </a:r>
          </a:p>
          <a:p>
            <a:pPr marL="228600" indent="-228600">
              <a:spcBef>
                <a:spcPts val="0"/>
              </a:spcBef>
              <a:spcAft>
                <a:spcPts val="600"/>
              </a:spcAft>
              <a:buFont typeface="Symbol,Sans-Serif"/>
              <a:buChar char="•"/>
            </a:pPr>
            <a:r>
              <a:rPr lang="da-DK" sz="2000" dirty="0"/>
              <a:t>Oprydning i eksisterende processer hvor der er stor historisk variation, der ikke kan forklares med forretningsforskelligheder </a:t>
            </a:r>
            <a:r>
              <a:rPr lang="en-US" sz="2000" dirty="0"/>
              <a:t> </a:t>
            </a:r>
          </a:p>
          <a:p>
            <a:pPr marL="228600" indent="-228600">
              <a:spcBef>
                <a:spcPts val="0"/>
              </a:spcBef>
              <a:spcAft>
                <a:spcPts val="600"/>
              </a:spcAft>
              <a:buFont typeface="Symbol,Sans-Serif"/>
              <a:buChar char="•"/>
            </a:pPr>
            <a:r>
              <a:rPr lang="da-DK" sz="2000" dirty="0"/>
              <a:t>Oprydning i roller / rettigheder</a:t>
            </a:r>
            <a:r>
              <a:rPr lang="en-US" sz="2000" dirty="0"/>
              <a:t> </a:t>
            </a:r>
          </a:p>
          <a:p>
            <a:pPr marL="228600" indent="-228600">
              <a:spcBef>
                <a:spcPts val="0"/>
              </a:spcBef>
              <a:spcAft>
                <a:spcPts val="600"/>
              </a:spcAft>
              <a:buFont typeface="Symbol,Sans-Serif"/>
              <a:buChar char="•"/>
            </a:pPr>
            <a:endParaRPr lang="en-US" sz="2000" dirty="0"/>
          </a:p>
          <a:p>
            <a:pPr marL="0" indent="0">
              <a:spcBef>
                <a:spcPts val="0"/>
              </a:spcBef>
              <a:spcAft>
                <a:spcPts val="600"/>
              </a:spcAft>
              <a:buNone/>
            </a:pPr>
            <a:r>
              <a:rPr lang="da-DK" sz="2000" b="1" dirty="0"/>
              <a:t>Hvad kræver SIS af Fælles organisationen</a:t>
            </a:r>
          </a:p>
          <a:p>
            <a:pPr marL="228600" indent="-228600">
              <a:spcBef>
                <a:spcPts val="0"/>
              </a:spcBef>
              <a:spcAft>
                <a:spcPts val="600"/>
              </a:spcAft>
              <a:buFont typeface="Symbol,Sans-Serif"/>
              <a:buChar char="•"/>
            </a:pPr>
            <a:r>
              <a:rPr lang="da-DK" sz="2000" dirty="0"/>
              <a:t>Påvirke </a:t>
            </a:r>
            <a:r>
              <a:rPr lang="da-DK" sz="2000" dirty="0" err="1"/>
              <a:t>roadmap</a:t>
            </a:r>
            <a:r>
              <a:rPr lang="da-DK" sz="2000" dirty="0"/>
              <a:t> for standardløsning</a:t>
            </a:r>
          </a:p>
          <a:p>
            <a:pPr marL="228600" indent="-228600">
              <a:spcBef>
                <a:spcPts val="0"/>
              </a:spcBef>
              <a:spcAft>
                <a:spcPts val="600"/>
              </a:spcAft>
              <a:buFont typeface="Symbol,Sans-Serif"/>
              <a:buChar char="•"/>
            </a:pPr>
            <a:r>
              <a:rPr lang="en-US" sz="2000" dirty="0"/>
              <a:t>Stærke </a:t>
            </a:r>
            <a:r>
              <a:rPr lang="en-US" sz="2000" dirty="0" err="1"/>
              <a:t>ressourcer</a:t>
            </a:r>
            <a:r>
              <a:rPr lang="en-US" sz="2000" dirty="0"/>
              <a:t> </a:t>
            </a:r>
            <a:r>
              <a:rPr lang="en-US" sz="2000" dirty="0" err="1"/>
              <a:t>til</a:t>
            </a:r>
            <a:r>
              <a:rPr lang="en-US" sz="2000" dirty="0"/>
              <a:t> </a:t>
            </a:r>
            <a:r>
              <a:rPr lang="en-US" sz="2000" dirty="0" err="1"/>
              <a:t>vedligehold</a:t>
            </a:r>
            <a:r>
              <a:rPr lang="en-US" sz="2000" dirty="0"/>
              <a:t> – </a:t>
            </a:r>
            <a:r>
              <a:rPr lang="en-US" sz="2000" dirty="0" err="1"/>
              <a:t>opsætning</a:t>
            </a:r>
            <a:r>
              <a:rPr lang="en-US" sz="2000" dirty="0"/>
              <a:t> og </a:t>
            </a:r>
            <a:r>
              <a:rPr lang="en-US" sz="2000" dirty="0" err="1"/>
              <a:t>konfigurering</a:t>
            </a:r>
            <a:endParaRPr lang="en-US" sz="2000" dirty="0"/>
          </a:p>
          <a:p>
            <a:pPr marL="0" indent="0">
              <a:spcBef>
                <a:spcPts val="0"/>
              </a:spcBef>
              <a:spcAft>
                <a:spcPts val="600"/>
              </a:spcAft>
              <a:buNone/>
            </a:pPr>
            <a:endParaRPr lang="en-US" sz="2000" b="1" dirty="0"/>
          </a:p>
          <a:p>
            <a:pPr marL="0" indent="0">
              <a:spcBef>
                <a:spcPts val="0"/>
              </a:spcBef>
              <a:spcAft>
                <a:spcPts val="600"/>
              </a:spcAft>
              <a:buNone/>
            </a:pPr>
            <a:endParaRPr lang="en-US" sz="2000" dirty="0"/>
          </a:p>
          <a:p>
            <a:pPr marL="228600" indent="-228600">
              <a:spcBef>
                <a:spcPts val="0"/>
              </a:spcBef>
              <a:spcAft>
                <a:spcPts val="600"/>
              </a:spcAft>
              <a:buFont typeface="Symbol,Sans-Serif"/>
              <a:buChar char="•"/>
            </a:pPr>
            <a:endParaRPr lang="en-US" sz="2000" dirty="0"/>
          </a:p>
          <a:p>
            <a:pPr marL="228600" indent="-228600">
              <a:spcBef>
                <a:spcPts val="0"/>
              </a:spcBef>
              <a:spcAft>
                <a:spcPts val="600"/>
              </a:spcAft>
              <a:buFont typeface="Symbol,Sans-Serif"/>
              <a:buChar char="•"/>
            </a:pPr>
            <a:endParaRPr lang="en-US" sz="2000" dirty="0"/>
          </a:p>
          <a:p>
            <a:pPr marL="228600" indent="-228600">
              <a:spcBef>
                <a:spcPts val="0"/>
              </a:spcBef>
              <a:spcAft>
                <a:spcPts val="600"/>
              </a:spcAft>
              <a:buFont typeface="Symbol,Sans-Serif"/>
              <a:buChar char="•"/>
            </a:pPr>
            <a:endParaRPr lang="en-US" sz="2000" dirty="0"/>
          </a:p>
          <a:p>
            <a:pPr marL="0" indent="0">
              <a:spcBef>
                <a:spcPts val="0"/>
              </a:spcBef>
              <a:spcAft>
                <a:spcPts val="600"/>
              </a:spcAft>
              <a:buNone/>
            </a:pPr>
            <a:endParaRPr lang="en-US" sz="2000" dirty="0"/>
          </a:p>
          <a:p>
            <a:pPr marL="0" indent="0">
              <a:spcBef>
                <a:spcPts val="0"/>
              </a:spcBef>
              <a:spcAft>
                <a:spcPts val="600"/>
              </a:spcAft>
              <a:buNone/>
            </a:pPr>
            <a:endParaRPr lang="en-US" sz="2000" dirty="0"/>
          </a:p>
        </p:txBody>
      </p:sp>
      <p:sp>
        <p:nvSpPr>
          <p:cNvPr id="2" name="Title 1">
            <a:extLst>
              <a:ext uri="{FF2B5EF4-FFF2-40B4-BE49-F238E27FC236}">
                <a16:creationId xmlns:a16="http://schemas.microsoft.com/office/drawing/2014/main" id="{0060D397-C16E-1092-47C3-E907179241F9}"/>
              </a:ext>
            </a:extLst>
          </p:cNvPr>
          <p:cNvSpPr>
            <a:spLocks noGrp="1"/>
          </p:cNvSpPr>
          <p:nvPr>
            <p:ph type="title"/>
          </p:nvPr>
        </p:nvSpPr>
        <p:spPr>
          <a:xfrm>
            <a:off x="764059" y="248496"/>
            <a:ext cx="10633284" cy="694480"/>
          </a:xfrm>
        </p:spPr>
        <p:txBody>
          <a:bodyPr anchor="ctr">
            <a:normAutofit/>
          </a:bodyPr>
          <a:lstStyle/>
          <a:p>
            <a:r>
              <a:rPr lang="en-US" err="1"/>
              <a:t>Forberedelse</a:t>
            </a:r>
          </a:p>
        </p:txBody>
      </p:sp>
      <p:sp>
        <p:nvSpPr>
          <p:cNvPr id="5" name="Slide Number Placeholder 4">
            <a:extLst>
              <a:ext uri="{FF2B5EF4-FFF2-40B4-BE49-F238E27FC236}">
                <a16:creationId xmlns:a16="http://schemas.microsoft.com/office/drawing/2014/main" id="{0B716CB3-902F-7EF3-B9B5-A750FE50A937}"/>
              </a:ext>
            </a:extLst>
          </p:cNvPr>
          <p:cNvSpPr>
            <a:spLocks noGrp="1"/>
          </p:cNvSpPr>
          <p:nvPr>
            <p:ph type="sldNum" sz="quarter" idx="4"/>
          </p:nvPr>
        </p:nvSpPr>
        <p:spPr>
          <a:xfrm>
            <a:off x="11397013" y="6367732"/>
            <a:ext cx="339702"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9DF810D-F77C-4BB2-BE6A-BDC67BB44902}" type="slidenum">
              <a:rPr kumimoji="0" lang="da-DK" sz="800" b="1" i="0" u="none" strike="noStrike" kern="1200" cap="none" spc="0" normalizeH="0" baseline="0" noProof="0" smtClean="0">
                <a:ln>
                  <a:noFill/>
                </a:ln>
                <a:solidFill>
                  <a:srgbClr val="064F44"/>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35</a:t>
            </a:fld>
            <a:endParaRPr kumimoji="0" lang="da-DK" sz="800" b="1" i="0" u="none" strike="noStrike" kern="1200" cap="none" spc="0" normalizeH="0" baseline="0" noProof="0">
              <a:ln>
                <a:noFill/>
              </a:ln>
              <a:solidFill>
                <a:srgbClr val="064F44"/>
              </a:solidFill>
              <a:effectLst/>
              <a:uLnTx/>
              <a:uFillTx/>
              <a:latin typeface="Arial" panose="020B0604020202020204"/>
              <a:ea typeface="+mn-ea"/>
              <a:cs typeface="+mn-cs"/>
            </a:endParaRPr>
          </a:p>
        </p:txBody>
      </p:sp>
      <p:sp>
        <p:nvSpPr>
          <p:cNvPr id="6" name="Date Placeholder 5">
            <a:extLst>
              <a:ext uri="{FF2B5EF4-FFF2-40B4-BE49-F238E27FC236}">
                <a16:creationId xmlns:a16="http://schemas.microsoft.com/office/drawing/2014/main" id="{25C162DF-1814-F650-3958-DB66BDB77EC7}"/>
              </a:ext>
            </a:extLst>
          </p:cNvPr>
          <p:cNvSpPr>
            <a:spLocks noGrp="1"/>
          </p:cNvSpPr>
          <p:nvPr>
            <p:ph type="dt" sz="half" idx="2"/>
          </p:nvPr>
        </p:nvSpPr>
        <p:spPr>
          <a:xfrm>
            <a:off x="10649551" y="6367732"/>
            <a:ext cx="747627"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6585D110-0B52-4CB9-8AE7-B495E4D5B418}" type="datetime1">
              <a:rPr kumimoji="0" lang="da-DK" sz="800" b="0" i="0" u="none" strike="noStrike" kern="1200" cap="none" spc="0" normalizeH="0" baseline="0" noProof="0" smtClean="0">
                <a:ln>
                  <a:noFill/>
                </a:ln>
                <a:solidFill>
                  <a:prstClr val="black"/>
                </a:solidFill>
                <a:effectLst/>
                <a:uLnTx/>
                <a:uFillTx/>
                <a:latin typeface="Arial" panose="020B0604020202020204"/>
                <a:cs typeface="Times New Roman" panose="02020603050405020304" pitchFamily="18" charset="0"/>
              </a:rPr>
              <a:pPr marL="0" marR="0" lvl="0" indent="0" algn="l" defTabSz="914400" rtl="0" eaLnBrk="1" fontAlgn="auto" latinLnBrk="0" hangingPunct="1">
                <a:lnSpc>
                  <a:spcPct val="100000"/>
                </a:lnSpc>
                <a:spcBef>
                  <a:spcPts val="0"/>
                </a:spcBef>
                <a:spcAft>
                  <a:spcPts val="600"/>
                </a:spcAft>
                <a:buClrTx/>
                <a:buSzTx/>
                <a:buFontTx/>
                <a:buNone/>
                <a:tabLst/>
                <a:defRPr/>
              </a:pPr>
              <a:t>09-05-2025</a:t>
            </a:fld>
            <a:endParaRPr kumimoji="0" lang="da-DK" sz="800" b="0" i="0" u="none" strike="noStrike" kern="1200" cap="none" spc="0" normalizeH="0" baseline="0" noProof="0">
              <a:ln>
                <a:noFill/>
              </a:ln>
              <a:solidFill>
                <a:prstClr val="black"/>
              </a:solidFill>
              <a:effectLst/>
              <a:uLnTx/>
              <a:uFillTx/>
              <a:latin typeface="Arial" panose="020B0604020202020204"/>
              <a:cs typeface="Times New Roman" panose="02020603050405020304" pitchFamily="18" charset="0"/>
            </a:endParaRPr>
          </a:p>
        </p:txBody>
      </p:sp>
      <p:pic>
        <p:nvPicPr>
          <p:cNvPr id="14338" name="Picture 2" descr="Omhyggelig forberedelse af jorden før plantning af et rosenbed (litho) af William Heath Robinson">
            <a:extLst>
              <a:ext uri="{FF2B5EF4-FFF2-40B4-BE49-F238E27FC236}">
                <a16:creationId xmlns:a16="http://schemas.microsoft.com/office/drawing/2014/main" id="{5486ED98-9300-4544-E5CE-8F14C621D4F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93279" y="0"/>
            <a:ext cx="6361113"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762867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295EF1-C764-F8DC-BFF8-AF8B1E5BE353}"/>
              </a:ext>
            </a:extLst>
          </p:cNvPr>
          <p:cNvSpPr>
            <a:spLocks noGrp="1"/>
          </p:cNvSpPr>
          <p:nvPr>
            <p:ph type="title"/>
          </p:nvPr>
        </p:nvSpPr>
        <p:spPr>
          <a:xfrm>
            <a:off x="839788" y="947057"/>
            <a:ext cx="3932237" cy="1600200"/>
          </a:xfrm>
        </p:spPr>
        <p:txBody>
          <a:bodyPr/>
          <a:lstStyle/>
          <a:p>
            <a:r>
              <a:rPr lang="da-DK" dirty="0"/>
              <a:t>Fra egenudviklet til standard</a:t>
            </a:r>
          </a:p>
        </p:txBody>
      </p:sp>
      <p:sp>
        <p:nvSpPr>
          <p:cNvPr id="3" name="Content Placeholder 2">
            <a:extLst>
              <a:ext uri="{FF2B5EF4-FFF2-40B4-BE49-F238E27FC236}">
                <a16:creationId xmlns:a16="http://schemas.microsoft.com/office/drawing/2014/main" id="{698B0385-8322-1F17-03CD-D928E612CE4D}"/>
              </a:ext>
            </a:extLst>
          </p:cNvPr>
          <p:cNvSpPr>
            <a:spLocks noGrp="1"/>
          </p:cNvSpPr>
          <p:nvPr>
            <p:ph idx="1"/>
          </p:nvPr>
        </p:nvSpPr>
        <p:spPr/>
        <p:txBody>
          <a:bodyPr/>
          <a:lstStyle/>
          <a:p>
            <a:r>
              <a:rPr lang="da-DK" dirty="0"/>
              <a:t>Ændring af vores processer</a:t>
            </a:r>
          </a:p>
          <a:p>
            <a:r>
              <a:rPr lang="da-DK" dirty="0"/>
              <a:t>Påvirke </a:t>
            </a:r>
            <a:r>
              <a:rPr lang="da-DK" dirty="0" err="1"/>
              <a:t>roadmap</a:t>
            </a:r>
            <a:endParaRPr lang="da-DK" dirty="0"/>
          </a:p>
          <a:p>
            <a:r>
              <a:rPr lang="da-DK" dirty="0"/>
              <a:t>Vedligehold / videreudvikling</a:t>
            </a:r>
          </a:p>
        </p:txBody>
      </p:sp>
      <p:sp>
        <p:nvSpPr>
          <p:cNvPr id="5" name="Slide Number Placeholder 4">
            <a:extLst>
              <a:ext uri="{FF2B5EF4-FFF2-40B4-BE49-F238E27FC236}">
                <a16:creationId xmlns:a16="http://schemas.microsoft.com/office/drawing/2014/main" id="{D317B0FD-29B2-C8B7-B0B9-5FE59BF61EB4}"/>
              </a:ext>
            </a:extLst>
          </p:cNvPr>
          <p:cNvSpPr>
            <a:spLocks noGrp="1"/>
          </p:cNvSpPr>
          <p:nvPr>
            <p:ph type="sldNum" sz="quarter" idx="4"/>
          </p:nvPr>
        </p:nvSpPr>
        <p:spPr/>
        <p:txBody>
          <a:bodyPr/>
          <a:lstStyle/>
          <a:p>
            <a:fld id="{39DF810D-F77C-4BB2-BE6A-BDC67BB44902}" type="slidenum">
              <a:rPr lang="da-DK" smtClean="0"/>
              <a:pPr/>
              <a:t>36</a:t>
            </a:fld>
            <a:endParaRPr lang="da-DK"/>
          </a:p>
        </p:txBody>
      </p:sp>
      <p:sp>
        <p:nvSpPr>
          <p:cNvPr id="6" name="Date Placeholder 5">
            <a:extLst>
              <a:ext uri="{FF2B5EF4-FFF2-40B4-BE49-F238E27FC236}">
                <a16:creationId xmlns:a16="http://schemas.microsoft.com/office/drawing/2014/main" id="{F4385B86-C492-59DE-F399-FE7E9A80579F}"/>
              </a:ext>
            </a:extLst>
          </p:cNvPr>
          <p:cNvSpPr>
            <a:spLocks noGrp="1"/>
          </p:cNvSpPr>
          <p:nvPr>
            <p:ph type="dt" sz="half" idx="10"/>
          </p:nvPr>
        </p:nvSpPr>
        <p:spPr/>
        <p:txBody>
          <a:bodyPr/>
          <a:lstStyle/>
          <a:p>
            <a:fld id="{6585D110-0B52-4CB9-8AE7-B495E4D5B418}" type="datetime1">
              <a:rPr lang="da-DK" noProof="0" smtClean="0"/>
              <a:t>09-05-2025</a:t>
            </a:fld>
            <a:endParaRPr lang="da-DK" noProof="0"/>
          </a:p>
        </p:txBody>
      </p:sp>
      <p:pic>
        <p:nvPicPr>
          <p:cNvPr id="7" name="Picture 2" descr="Rust Bucket: 1966 Porsche 912">
            <a:extLst>
              <a:ext uri="{FF2B5EF4-FFF2-40B4-BE49-F238E27FC236}">
                <a16:creationId xmlns:a16="http://schemas.microsoft.com/office/drawing/2014/main" id="{EDD9434A-2036-BA4B-181C-D05C6DD9F4D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1092" y="3287038"/>
            <a:ext cx="4040064" cy="2291177"/>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4" descr="Her er Danmarks billigste bil - Se hvem der løber med prisen som Danmarks billigste  bil.">
            <a:extLst>
              <a:ext uri="{FF2B5EF4-FFF2-40B4-BE49-F238E27FC236}">
                <a16:creationId xmlns:a16="http://schemas.microsoft.com/office/drawing/2014/main" id="{6158DF67-F645-C4D7-BE65-3E0BEC3EE9D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91217" y="5015418"/>
            <a:ext cx="2017204" cy="13111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468671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8D38E80-0B9F-3C24-A6B2-5131FAAC9B9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4B473BE-6D62-38BB-AF9E-AB4FE0FDFBB1}"/>
              </a:ext>
            </a:extLst>
          </p:cNvPr>
          <p:cNvSpPr>
            <a:spLocks noGrp="1"/>
          </p:cNvSpPr>
          <p:nvPr>
            <p:ph type="title"/>
          </p:nvPr>
        </p:nvSpPr>
        <p:spPr/>
        <p:txBody>
          <a:bodyPr/>
          <a:lstStyle/>
          <a:p>
            <a:endParaRPr lang="da-DK"/>
          </a:p>
        </p:txBody>
      </p:sp>
      <p:sp>
        <p:nvSpPr>
          <p:cNvPr id="3" name="Content Placeholder 2">
            <a:extLst>
              <a:ext uri="{FF2B5EF4-FFF2-40B4-BE49-F238E27FC236}">
                <a16:creationId xmlns:a16="http://schemas.microsoft.com/office/drawing/2014/main" id="{EED5611B-9047-6243-B87C-FF9130EDD54D}"/>
              </a:ext>
            </a:extLst>
          </p:cNvPr>
          <p:cNvSpPr>
            <a:spLocks noGrp="1"/>
          </p:cNvSpPr>
          <p:nvPr>
            <p:ph sz="quarter" idx="19"/>
          </p:nvPr>
        </p:nvSpPr>
        <p:spPr/>
        <p:txBody>
          <a:bodyPr>
            <a:normAutofit/>
          </a:bodyPr>
          <a:lstStyle/>
          <a:p>
            <a:pPr marL="0" indent="0">
              <a:buNone/>
            </a:pPr>
            <a:endParaRPr lang="da-DK" sz="4800" b="1" dirty="0"/>
          </a:p>
          <a:p>
            <a:pPr marL="0" indent="0">
              <a:buNone/>
            </a:pPr>
            <a:endParaRPr lang="da-DK" sz="4800" b="1" dirty="0"/>
          </a:p>
          <a:p>
            <a:pPr marL="0" indent="0">
              <a:buNone/>
            </a:pPr>
            <a:endParaRPr lang="da-DK" sz="4800" b="1" dirty="0"/>
          </a:p>
          <a:p>
            <a:pPr marL="0" indent="0">
              <a:buNone/>
            </a:pPr>
            <a:endParaRPr lang="da-DK" sz="4800" b="1" dirty="0"/>
          </a:p>
          <a:p>
            <a:pPr marL="0" indent="0">
              <a:buNone/>
            </a:pPr>
            <a:r>
              <a:rPr lang="da-DK" sz="4800" b="1" dirty="0"/>
              <a:t>SPØRGSMÅL?</a:t>
            </a:r>
          </a:p>
          <a:p>
            <a:pPr marL="0" indent="0">
              <a:buNone/>
            </a:pPr>
            <a:r>
              <a:rPr lang="da-DK" b="1" dirty="0"/>
              <a:t>Mere fra Pia og Poul senere</a:t>
            </a:r>
            <a:endParaRPr lang="da-DK" sz="1400" b="1" dirty="0"/>
          </a:p>
        </p:txBody>
      </p:sp>
      <p:sp>
        <p:nvSpPr>
          <p:cNvPr id="4" name="Date Placeholder 3">
            <a:extLst>
              <a:ext uri="{FF2B5EF4-FFF2-40B4-BE49-F238E27FC236}">
                <a16:creationId xmlns:a16="http://schemas.microsoft.com/office/drawing/2014/main" id="{B6194699-BDA8-CABE-B822-700EE9E93026}"/>
              </a:ext>
            </a:extLst>
          </p:cNvPr>
          <p:cNvSpPr>
            <a:spLocks noGrp="1"/>
          </p:cNvSpPr>
          <p:nvPr>
            <p:ph type="dt" sz="half" idx="20"/>
          </p:nvPr>
        </p:nvSpPr>
        <p:spPr/>
        <p:txBody>
          <a:bodyPr/>
          <a:lstStyle/>
          <a:p>
            <a:fld id="{4F5C166C-2019-40ED-834D-6B675705E6F2}" type="datetime1">
              <a:rPr lang="da-DK" smtClean="0"/>
              <a:t>09-05-2025</a:t>
            </a:fld>
            <a:endParaRPr lang="da-DK"/>
          </a:p>
        </p:txBody>
      </p:sp>
      <p:sp>
        <p:nvSpPr>
          <p:cNvPr id="5" name="Footer Placeholder 4">
            <a:extLst>
              <a:ext uri="{FF2B5EF4-FFF2-40B4-BE49-F238E27FC236}">
                <a16:creationId xmlns:a16="http://schemas.microsoft.com/office/drawing/2014/main" id="{BE49C23F-6827-6013-FB5B-B4A92479D8DD}"/>
              </a:ext>
            </a:extLst>
          </p:cNvPr>
          <p:cNvSpPr>
            <a:spLocks noGrp="1"/>
          </p:cNvSpPr>
          <p:nvPr>
            <p:ph type="ftr" sz="quarter" idx="21"/>
          </p:nvPr>
        </p:nvSpPr>
        <p:spPr/>
        <p:txBody>
          <a:bodyPr/>
          <a:lstStyle/>
          <a:p>
            <a:endParaRPr lang="da-DK"/>
          </a:p>
        </p:txBody>
      </p:sp>
      <p:sp>
        <p:nvSpPr>
          <p:cNvPr id="6" name="Slide Number Placeholder 5">
            <a:extLst>
              <a:ext uri="{FF2B5EF4-FFF2-40B4-BE49-F238E27FC236}">
                <a16:creationId xmlns:a16="http://schemas.microsoft.com/office/drawing/2014/main" id="{E024D209-314E-3EB2-EEFF-6DB37C815F38}"/>
              </a:ext>
            </a:extLst>
          </p:cNvPr>
          <p:cNvSpPr>
            <a:spLocks noGrp="1"/>
          </p:cNvSpPr>
          <p:nvPr>
            <p:ph type="sldNum" sz="quarter" idx="22"/>
          </p:nvPr>
        </p:nvSpPr>
        <p:spPr/>
        <p:txBody>
          <a:bodyPr/>
          <a:lstStyle/>
          <a:p>
            <a:fld id="{45D37B1E-C366-494F-A587-962AD9AABC83}" type="slidenum">
              <a:rPr lang="da-DK" smtClean="0"/>
              <a:pPr/>
              <a:t>37</a:t>
            </a:fld>
            <a:endParaRPr lang="da-DK"/>
          </a:p>
        </p:txBody>
      </p:sp>
      <p:pic>
        <p:nvPicPr>
          <p:cNvPr id="7" name="Picture 2" descr="Travlhed og engagement i SDU's Nyt SIS-program">
            <a:extLst>
              <a:ext uri="{FF2B5EF4-FFF2-40B4-BE49-F238E27FC236}">
                <a16:creationId xmlns:a16="http://schemas.microsoft.com/office/drawing/2014/main" id="{7E617BC4-CFF0-456C-F43F-7971545E0C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0916" y="1028246"/>
            <a:ext cx="5405751" cy="30784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1387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737297-210C-4E8D-B7F5-87458446B75F}"/>
              </a:ext>
            </a:extLst>
          </p:cNvPr>
          <p:cNvSpPr>
            <a:spLocks noGrp="1"/>
          </p:cNvSpPr>
          <p:nvPr>
            <p:ph type="ctrTitle"/>
          </p:nvPr>
        </p:nvSpPr>
        <p:spPr>
          <a:xfrm>
            <a:off x="349384" y="1760373"/>
            <a:ext cx="11151736" cy="4070408"/>
          </a:xfrm>
        </p:spPr>
        <p:txBody>
          <a:bodyPr/>
          <a:lstStyle/>
          <a:p>
            <a:r>
              <a:rPr lang="da-DK" dirty="0" err="1"/>
              <a:t>SDU´s</a:t>
            </a:r>
            <a:r>
              <a:rPr lang="da-DK" dirty="0"/>
              <a:t> SIS program</a:t>
            </a:r>
            <a:br>
              <a:rPr lang="da-DK" dirty="0"/>
            </a:br>
            <a:r>
              <a:rPr lang="da-DK" sz="8000" b="0" dirty="0"/>
              <a:t>- SDU Fælles</a:t>
            </a:r>
            <a:br>
              <a:rPr lang="da-DK" sz="8000" b="0" dirty="0"/>
            </a:br>
            <a:r>
              <a:rPr lang="da-DK" sz="8000" b="0" dirty="0"/>
              <a:t>- SDU Lokal</a:t>
            </a:r>
            <a:endParaRPr lang="da-DK" b="0" dirty="0"/>
          </a:p>
        </p:txBody>
      </p:sp>
      <p:sp>
        <p:nvSpPr>
          <p:cNvPr id="3" name="Date Placeholder 2">
            <a:extLst>
              <a:ext uri="{FF2B5EF4-FFF2-40B4-BE49-F238E27FC236}">
                <a16:creationId xmlns:a16="http://schemas.microsoft.com/office/drawing/2014/main" id="{09F44E96-E9DD-9C71-D0F6-2A881518BA77}"/>
              </a:ext>
            </a:extLst>
          </p:cNvPr>
          <p:cNvSpPr>
            <a:spLocks noGrp="1"/>
          </p:cNvSpPr>
          <p:nvPr>
            <p:ph type="dt" sz="half" idx="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C7FFEC2-B804-4E21-8F6D-80251A3FDF81}" type="datetime1">
              <a:rPr kumimoji="0" lang="da-DK" sz="1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8-05-2025</a:t>
            </a:fld>
            <a:endParaRPr kumimoji="0" lang="da-DK" sz="100" b="0" i="0" u="none" strike="noStrike" kern="1200" cap="none" spc="0" normalizeH="0" baseline="0" noProof="0">
              <a:ln>
                <a:noFill/>
              </a:ln>
              <a:noFill/>
              <a:effectLst/>
              <a:uLnTx/>
              <a:uFillTx/>
              <a:latin typeface="Arial"/>
              <a:ea typeface="+mn-ea"/>
              <a:cs typeface="+mn-cs"/>
            </a:endParaRPr>
          </a:p>
        </p:txBody>
      </p:sp>
    </p:spTree>
    <p:extLst>
      <p:ext uri="{BB962C8B-B14F-4D97-AF65-F5344CB8AC3E}">
        <p14:creationId xmlns:p14="http://schemas.microsoft.com/office/powerpoint/2010/main" val="38666248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73E63-B4EE-F970-C97D-DDE7F84F5410}"/>
              </a:ext>
            </a:extLst>
          </p:cNvPr>
          <p:cNvSpPr>
            <a:spLocks noGrp="1"/>
          </p:cNvSpPr>
          <p:nvPr>
            <p:ph type="title"/>
          </p:nvPr>
        </p:nvSpPr>
        <p:spPr>
          <a:xfrm>
            <a:off x="6146800" y="1360589"/>
            <a:ext cx="4680000" cy="1822734"/>
          </a:xfrm>
        </p:spPr>
        <p:txBody>
          <a:bodyPr anchor="t">
            <a:normAutofit/>
          </a:bodyPr>
          <a:lstStyle/>
          <a:p>
            <a:r>
              <a:rPr lang="da-DK" dirty="0"/>
              <a:t>SIS historik	</a:t>
            </a:r>
          </a:p>
        </p:txBody>
      </p:sp>
      <p:sp>
        <p:nvSpPr>
          <p:cNvPr id="3" name="Content Placeholder 2">
            <a:extLst>
              <a:ext uri="{FF2B5EF4-FFF2-40B4-BE49-F238E27FC236}">
                <a16:creationId xmlns:a16="http://schemas.microsoft.com/office/drawing/2014/main" id="{0876E2E6-D71F-8A98-EB78-2D73678D3347}"/>
              </a:ext>
            </a:extLst>
          </p:cNvPr>
          <p:cNvSpPr>
            <a:spLocks noGrp="1"/>
          </p:cNvSpPr>
          <p:nvPr>
            <p:ph sz="quarter" idx="19"/>
          </p:nvPr>
        </p:nvSpPr>
        <p:spPr>
          <a:xfrm>
            <a:off x="6146800" y="2271956"/>
            <a:ext cx="5598160" cy="3915484"/>
          </a:xfrm>
        </p:spPr>
        <p:txBody>
          <a:bodyPr>
            <a:normAutofit/>
          </a:bodyPr>
          <a:lstStyle/>
          <a:p>
            <a:pPr>
              <a:spcAft>
                <a:spcPts val="600"/>
              </a:spcAft>
            </a:pPr>
            <a:r>
              <a:rPr lang="da-DK" sz="1800" dirty="0"/>
              <a:t>2018 – STADS analyse</a:t>
            </a:r>
          </a:p>
          <a:p>
            <a:pPr>
              <a:spcAft>
                <a:spcPts val="600"/>
              </a:spcAft>
            </a:pPr>
            <a:r>
              <a:rPr lang="da-DK" sz="1800" dirty="0"/>
              <a:t>2019 – Opstart Kopernikus (ministeriet)</a:t>
            </a:r>
          </a:p>
          <a:p>
            <a:pPr>
              <a:spcAft>
                <a:spcPts val="600"/>
              </a:spcAft>
            </a:pPr>
            <a:r>
              <a:rPr lang="da-DK" sz="1800" dirty="0"/>
              <a:t>2021 – Overdragelse af program til universiteterne</a:t>
            </a:r>
          </a:p>
          <a:p>
            <a:pPr>
              <a:spcAft>
                <a:spcPts val="600"/>
              </a:spcAft>
            </a:pPr>
            <a:r>
              <a:rPr lang="da-DK" sz="1800" dirty="0"/>
              <a:t>2022 – Udbud</a:t>
            </a:r>
          </a:p>
          <a:p>
            <a:pPr>
              <a:spcAft>
                <a:spcPts val="600"/>
              </a:spcAft>
            </a:pPr>
            <a:r>
              <a:rPr lang="da-DK" sz="1800" dirty="0"/>
              <a:t>2023 – Aktstykke og kontrakt</a:t>
            </a:r>
          </a:p>
          <a:p>
            <a:pPr>
              <a:spcAft>
                <a:spcPts val="600"/>
              </a:spcAft>
            </a:pPr>
            <a:r>
              <a:rPr lang="da-DK" sz="1800" dirty="0"/>
              <a:t>2024 – Afklaringsfase + Designstart</a:t>
            </a:r>
          </a:p>
          <a:p>
            <a:pPr>
              <a:spcAft>
                <a:spcPts val="600"/>
              </a:spcAft>
            </a:pPr>
            <a:r>
              <a:rPr lang="da-DK" sz="1800" dirty="0"/>
              <a:t>2025 -  Design, </a:t>
            </a:r>
            <a:r>
              <a:rPr lang="da-DK" sz="1800" dirty="0" err="1"/>
              <a:t>Eduhub</a:t>
            </a:r>
            <a:endParaRPr lang="da-DK" sz="1800" dirty="0"/>
          </a:p>
          <a:p>
            <a:pPr>
              <a:spcAft>
                <a:spcPts val="600"/>
              </a:spcAft>
            </a:pPr>
            <a:endParaRPr lang="da-DK" sz="1800" dirty="0"/>
          </a:p>
          <a:p>
            <a:pPr marL="0" indent="0">
              <a:spcAft>
                <a:spcPts val="600"/>
              </a:spcAft>
              <a:buNone/>
            </a:pPr>
            <a:r>
              <a:rPr lang="da-DK" sz="1800" b="1" dirty="0"/>
              <a:t>Afslutning 2028 </a:t>
            </a:r>
          </a:p>
          <a:p>
            <a:pPr marL="0" indent="0">
              <a:spcAft>
                <a:spcPts val="600"/>
              </a:spcAft>
              <a:buNone/>
            </a:pPr>
            <a:endParaRPr lang="da-DK" sz="1800" b="1" dirty="0"/>
          </a:p>
        </p:txBody>
      </p:sp>
      <p:sp>
        <p:nvSpPr>
          <p:cNvPr id="4" name="Date Placeholder 3">
            <a:extLst>
              <a:ext uri="{FF2B5EF4-FFF2-40B4-BE49-F238E27FC236}">
                <a16:creationId xmlns:a16="http://schemas.microsoft.com/office/drawing/2014/main" id="{07F5CB89-CD3C-0316-D12E-5C155A908720}"/>
              </a:ext>
            </a:extLst>
          </p:cNvPr>
          <p:cNvSpPr>
            <a:spLocks noGrp="1"/>
          </p:cNvSpPr>
          <p:nvPr>
            <p:ph type="dt" sz="half" idx="4294967295"/>
          </p:nvPr>
        </p:nvSpPr>
        <p:spPr>
          <a:xfrm>
            <a:off x="0" y="6912000"/>
            <a:ext cx="0" cy="0"/>
          </a:xfrm>
        </p:spPr>
        <p:txBody>
          <a:bodyPr/>
          <a:lstStyle/>
          <a:p>
            <a:pPr>
              <a:spcAft>
                <a:spcPts val="600"/>
              </a:spcAft>
            </a:pPr>
            <a:fld id="{17A36AFE-3BE3-4B66-A182-1AE1B14BF888}" type="datetime1">
              <a:rPr lang="da-DK" smtClean="0"/>
              <a:pPr>
                <a:spcAft>
                  <a:spcPts val="600"/>
                </a:spcAft>
              </a:pPr>
              <a:t>08-05-2025</a:t>
            </a:fld>
            <a:endParaRPr lang="da-DK"/>
          </a:p>
        </p:txBody>
      </p:sp>
      <p:sp>
        <p:nvSpPr>
          <p:cNvPr id="6" name="Slide Number Placeholder 5">
            <a:extLst>
              <a:ext uri="{FF2B5EF4-FFF2-40B4-BE49-F238E27FC236}">
                <a16:creationId xmlns:a16="http://schemas.microsoft.com/office/drawing/2014/main" id="{970C15EF-EBA4-9272-E3E5-8DDC303DFEBC}"/>
              </a:ext>
            </a:extLst>
          </p:cNvPr>
          <p:cNvSpPr>
            <a:spLocks noGrp="1"/>
          </p:cNvSpPr>
          <p:nvPr>
            <p:ph type="sldNum" sz="quarter" idx="4294967295"/>
          </p:nvPr>
        </p:nvSpPr>
        <p:spPr>
          <a:xfrm>
            <a:off x="0" y="6912000"/>
            <a:ext cx="0" cy="0"/>
          </a:xfrm>
        </p:spPr>
        <p:txBody>
          <a:bodyPr/>
          <a:lstStyle/>
          <a:p>
            <a:pPr>
              <a:spcAft>
                <a:spcPts val="600"/>
              </a:spcAft>
            </a:pPr>
            <a:fld id="{45D37B1E-C366-494F-A587-962AD9AABC83}" type="slidenum">
              <a:rPr lang="da-DK" smtClean="0"/>
              <a:pPr>
                <a:spcAft>
                  <a:spcPts val="600"/>
                </a:spcAft>
              </a:pPr>
              <a:t>5</a:t>
            </a:fld>
            <a:endParaRPr lang="da-DK"/>
          </a:p>
        </p:txBody>
      </p:sp>
      <p:pic>
        <p:nvPicPr>
          <p:cNvPr id="9" name="Picture 8" descr="Multicolored tangled and untangled wire">
            <a:extLst>
              <a:ext uri="{FF2B5EF4-FFF2-40B4-BE49-F238E27FC236}">
                <a16:creationId xmlns:a16="http://schemas.microsoft.com/office/drawing/2014/main" id="{AEFEB294-7A39-0D7E-F169-38580811263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5598160" cy="6858000"/>
          </a:xfrm>
          <a:prstGeom prst="rect">
            <a:avLst/>
          </a:prstGeom>
        </p:spPr>
      </p:pic>
      <p:pic>
        <p:nvPicPr>
          <p:cNvPr id="12290" name="Picture 2" descr="Emoji - Prayer hands - Aleteia">
            <a:extLst>
              <a:ext uri="{FF2B5EF4-FFF2-40B4-BE49-F238E27FC236}">
                <a16:creationId xmlns:a16="http://schemas.microsoft.com/office/drawing/2014/main" id="{8D97BB3B-FE03-E920-B253-DFE8DC42070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8617" y="5008675"/>
            <a:ext cx="925354" cy="5230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95655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Child playing in the sheets">
            <a:extLst>
              <a:ext uri="{FF2B5EF4-FFF2-40B4-BE49-F238E27FC236}">
                <a16:creationId xmlns:a16="http://schemas.microsoft.com/office/drawing/2014/main" id="{0D20001C-AFF7-A80F-499D-9C94795909A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0016" r="21286" b="-1"/>
          <a:stretch/>
        </p:blipFill>
        <p:spPr>
          <a:xfrm>
            <a:off x="20" y="10"/>
            <a:ext cx="6099280" cy="6857990"/>
          </a:xfrm>
          <a:prstGeom prst="rect">
            <a:avLst/>
          </a:prstGeom>
          <a:noFill/>
        </p:spPr>
      </p:pic>
      <p:sp>
        <p:nvSpPr>
          <p:cNvPr id="2" name="Title 1">
            <a:extLst>
              <a:ext uri="{FF2B5EF4-FFF2-40B4-BE49-F238E27FC236}">
                <a16:creationId xmlns:a16="http://schemas.microsoft.com/office/drawing/2014/main" id="{E61E8DEF-045A-AF2E-C16A-DC5EB25ED6B6}"/>
              </a:ext>
            </a:extLst>
          </p:cNvPr>
          <p:cNvSpPr>
            <a:spLocks noGrp="1"/>
          </p:cNvSpPr>
          <p:nvPr>
            <p:ph type="title"/>
          </p:nvPr>
        </p:nvSpPr>
        <p:spPr>
          <a:xfrm>
            <a:off x="6692401" y="1076109"/>
            <a:ext cx="4680000" cy="1822734"/>
          </a:xfrm>
        </p:spPr>
        <p:txBody>
          <a:bodyPr anchor="t">
            <a:normAutofit/>
          </a:bodyPr>
          <a:lstStyle/>
          <a:p>
            <a:r>
              <a:rPr lang="da-DK"/>
              <a:t>VISION – SDU SIS</a:t>
            </a:r>
          </a:p>
        </p:txBody>
      </p:sp>
      <p:sp>
        <p:nvSpPr>
          <p:cNvPr id="3" name="Content Placeholder 2">
            <a:extLst>
              <a:ext uri="{FF2B5EF4-FFF2-40B4-BE49-F238E27FC236}">
                <a16:creationId xmlns:a16="http://schemas.microsoft.com/office/drawing/2014/main" id="{61969D22-8317-4F9F-D498-85BBCDEB10E4}"/>
              </a:ext>
            </a:extLst>
          </p:cNvPr>
          <p:cNvSpPr>
            <a:spLocks noGrp="1"/>
          </p:cNvSpPr>
          <p:nvPr>
            <p:ph sz="quarter" idx="19"/>
          </p:nvPr>
        </p:nvSpPr>
        <p:spPr>
          <a:xfrm>
            <a:off x="6692400" y="2195999"/>
            <a:ext cx="5252551" cy="3146021"/>
          </a:xfrm>
        </p:spPr>
        <p:txBody>
          <a:bodyPr>
            <a:normAutofit/>
          </a:bodyPr>
          <a:lstStyle/>
          <a:p>
            <a:pPr>
              <a:lnSpc>
                <a:spcPct val="100000"/>
              </a:lnSpc>
              <a:spcBef>
                <a:spcPts val="1200"/>
              </a:spcBef>
              <a:buFont typeface="Arial" panose="020B0604020202020204" pitchFamily="34" charset="0"/>
              <a:buChar char="•"/>
            </a:pPr>
            <a:r>
              <a:rPr lang="da-DK" sz="1800" b="0" i="0">
                <a:solidFill>
                  <a:schemeClr val="accent2">
                    <a:lumMod val="75000"/>
                  </a:schemeClr>
                </a:solidFill>
                <a:effectLst/>
              </a:rPr>
              <a:t>De </a:t>
            </a:r>
            <a:r>
              <a:rPr lang="da-DK" sz="1800" i="0">
                <a:solidFill>
                  <a:schemeClr val="accent2">
                    <a:lumMod val="75000"/>
                  </a:schemeClr>
                </a:solidFill>
                <a:effectLst/>
              </a:rPr>
              <a:t>studerende</a:t>
            </a:r>
            <a:r>
              <a:rPr lang="da-DK" sz="1800" b="0" i="0">
                <a:solidFill>
                  <a:schemeClr val="accent2">
                    <a:lumMod val="75000"/>
                  </a:schemeClr>
                </a:solidFill>
                <a:effectLst/>
              </a:rPr>
              <a:t> </a:t>
            </a:r>
            <a:r>
              <a:rPr lang="da-DK" sz="1800" b="0" i="0">
                <a:effectLst/>
              </a:rPr>
              <a:t>oplever en sammenhængende  og fleksibel understøttelse af studieforløbet</a:t>
            </a:r>
            <a:endParaRPr lang="da-DK" sz="1800" b="1" i="0">
              <a:effectLst/>
            </a:endParaRPr>
          </a:p>
          <a:p>
            <a:pPr>
              <a:lnSpc>
                <a:spcPct val="100000"/>
              </a:lnSpc>
              <a:spcBef>
                <a:spcPts val="1200"/>
              </a:spcBef>
              <a:buFont typeface="Arial" panose="020B0604020202020204" pitchFamily="34" charset="0"/>
              <a:buChar char="•"/>
            </a:pPr>
            <a:r>
              <a:rPr lang="da-DK" sz="1800" b="0" i="0">
                <a:solidFill>
                  <a:schemeClr val="accent2">
                    <a:lumMod val="75000"/>
                  </a:schemeClr>
                </a:solidFill>
                <a:effectLst/>
              </a:rPr>
              <a:t>De </a:t>
            </a:r>
            <a:r>
              <a:rPr lang="da-DK" sz="1800" i="0">
                <a:solidFill>
                  <a:schemeClr val="accent2">
                    <a:lumMod val="75000"/>
                  </a:schemeClr>
                </a:solidFill>
                <a:effectLst/>
              </a:rPr>
              <a:t>studieadministrative </a:t>
            </a:r>
            <a:r>
              <a:rPr lang="da-DK" sz="1800" i="0">
                <a:effectLst/>
              </a:rPr>
              <a:t>medarbejdere </a:t>
            </a:r>
            <a:r>
              <a:rPr lang="da-DK" sz="1800" b="0" i="0">
                <a:effectLst/>
              </a:rPr>
              <a:t>har en effektiv digital platform</a:t>
            </a:r>
            <a:endParaRPr lang="da-DK" sz="1800" b="1" i="0">
              <a:effectLst/>
            </a:endParaRPr>
          </a:p>
          <a:p>
            <a:pPr>
              <a:lnSpc>
                <a:spcPct val="100000"/>
              </a:lnSpc>
              <a:spcBef>
                <a:spcPts val="1200"/>
              </a:spcBef>
              <a:buFont typeface="Arial" panose="020B0604020202020204" pitchFamily="34" charset="0"/>
              <a:buChar char="•"/>
            </a:pPr>
            <a:r>
              <a:rPr lang="da-DK" sz="1800" b="0" i="0">
                <a:solidFill>
                  <a:schemeClr val="accent2">
                    <a:lumMod val="75000"/>
                  </a:schemeClr>
                </a:solidFill>
                <a:effectLst/>
              </a:rPr>
              <a:t>SDU´s </a:t>
            </a:r>
            <a:r>
              <a:rPr lang="da-DK" sz="1800" i="0">
                <a:solidFill>
                  <a:schemeClr val="accent2">
                    <a:lumMod val="75000"/>
                  </a:schemeClr>
                </a:solidFill>
                <a:effectLst/>
              </a:rPr>
              <a:t>systemforvaltning</a:t>
            </a:r>
            <a:r>
              <a:rPr lang="da-DK" sz="1800" b="0" i="0">
                <a:solidFill>
                  <a:schemeClr val="accent2">
                    <a:lumMod val="75000"/>
                  </a:schemeClr>
                </a:solidFill>
                <a:effectLst/>
              </a:rPr>
              <a:t> </a:t>
            </a:r>
            <a:r>
              <a:rPr lang="da-DK" sz="1800" b="0" i="0">
                <a:effectLst/>
              </a:rPr>
              <a:t>bygger på robust målarkitektur og stærke kompetencer</a:t>
            </a:r>
            <a:endParaRPr lang="da-DK" sz="1800" b="1" i="0">
              <a:effectLst/>
            </a:endParaRPr>
          </a:p>
          <a:p>
            <a:pPr>
              <a:lnSpc>
                <a:spcPct val="100000"/>
              </a:lnSpc>
              <a:spcBef>
                <a:spcPts val="1200"/>
              </a:spcBef>
              <a:buFont typeface="Arial" panose="020B0604020202020204" pitchFamily="34" charset="0"/>
              <a:buChar char="•"/>
            </a:pPr>
            <a:r>
              <a:rPr lang="da-DK" sz="1800" b="0" i="0">
                <a:solidFill>
                  <a:schemeClr val="accent2">
                    <a:lumMod val="75000"/>
                  </a:schemeClr>
                </a:solidFill>
                <a:effectLst/>
              </a:rPr>
              <a:t>Data</a:t>
            </a:r>
            <a:r>
              <a:rPr lang="da-DK" sz="1800" b="0" i="0">
                <a:effectLst/>
              </a:rPr>
              <a:t> er opdaterede og tilgængelige for både studerende, undervisere og ledere</a:t>
            </a:r>
            <a:endParaRPr lang="da-DK" sz="1800" b="1" i="0">
              <a:effectLst/>
            </a:endParaRPr>
          </a:p>
          <a:p>
            <a:pPr>
              <a:lnSpc>
                <a:spcPct val="100000"/>
              </a:lnSpc>
            </a:pPr>
            <a:endParaRPr lang="da-DK"/>
          </a:p>
        </p:txBody>
      </p:sp>
      <p:sp>
        <p:nvSpPr>
          <p:cNvPr id="4" name="Date Placeholder 3">
            <a:extLst>
              <a:ext uri="{FF2B5EF4-FFF2-40B4-BE49-F238E27FC236}">
                <a16:creationId xmlns:a16="http://schemas.microsoft.com/office/drawing/2014/main" id="{B244FBFC-1036-FD5F-5830-59FAD4D07BD7}"/>
              </a:ext>
            </a:extLst>
          </p:cNvPr>
          <p:cNvSpPr>
            <a:spLocks noGrp="1"/>
          </p:cNvSpPr>
          <p:nvPr>
            <p:ph type="dt" sz="half" idx="4294967295"/>
          </p:nvPr>
        </p:nvSpPr>
        <p:spPr>
          <a:xfrm>
            <a:off x="0" y="6912000"/>
            <a:ext cx="0" cy="0"/>
          </a:xfr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2F9A9B5F-849C-4737-878A-BA618E7B7493}" type="datetime1">
              <a:rPr kumimoji="0" lang="da-DK" sz="1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08-05-2025</a:t>
            </a:fld>
            <a:endParaRPr kumimoji="0" lang="da-DK" sz="100" b="0" i="0" u="none" strike="noStrike" kern="1200" cap="none" spc="0" normalizeH="0" baseline="0" noProof="0">
              <a:ln>
                <a:noFill/>
              </a:ln>
              <a:no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4DD11432-7E66-090E-24A3-A9327800ABE9}"/>
              </a:ext>
            </a:extLst>
          </p:cNvPr>
          <p:cNvSpPr>
            <a:spLocks noGrp="1"/>
          </p:cNvSpPr>
          <p:nvPr>
            <p:ph type="sldNum" sz="quarter" idx="4294967295"/>
          </p:nvPr>
        </p:nvSpPr>
        <p:spPr>
          <a:xfrm>
            <a:off x="0" y="6912000"/>
            <a:ext cx="0" cy="0"/>
          </a:xfrm>
        </p:spPr>
        <p: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45D37B1E-C366-494F-A587-962AD9AABC83}" type="slidenum">
              <a:rPr kumimoji="0" lang="da-DK" sz="100" b="0" i="0" u="none" strike="noStrike" kern="1200" cap="none" spc="0" normalizeH="0" baseline="0" noProof="0" smtClean="0">
                <a:ln>
                  <a:noFill/>
                </a:ln>
                <a:noFill/>
                <a:effectLst/>
                <a:uLnTx/>
                <a:uFillTx/>
                <a:latin typeface="Arial"/>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6</a:t>
            </a:fld>
            <a:endParaRPr kumimoji="0" lang="da-DK" sz="100" b="0" i="0" u="none" strike="noStrike" kern="1200" cap="none" spc="0" normalizeH="0" baseline="0" noProof="0">
              <a:ln>
                <a:noFill/>
              </a:ln>
              <a:noFill/>
              <a:effectLst/>
              <a:uLnTx/>
              <a:uFillTx/>
              <a:latin typeface="Arial"/>
              <a:ea typeface="+mn-ea"/>
              <a:cs typeface="+mn-cs"/>
            </a:endParaRPr>
          </a:p>
        </p:txBody>
      </p:sp>
      <p:pic>
        <p:nvPicPr>
          <p:cNvPr id="7" name="Billede 6">
            <a:extLst>
              <a:ext uri="{FF2B5EF4-FFF2-40B4-BE49-F238E27FC236}">
                <a16:creationId xmlns:a16="http://schemas.microsoft.com/office/drawing/2014/main" id="{F2697379-9E6A-E8DD-BF80-8FE174746F5D}"/>
              </a:ext>
            </a:extLst>
          </p:cNvPr>
          <p:cNvPicPr>
            <a:picLocks noChangeAspect="1"/>
          </p:cNvPicPr>
          <p:nvPr/>
        </p:nvPicPr>
        <p:blipFill>
          <a:blip r:embed="rId4"/>
          <a:stretch>
            <a:fillRect/>
          </a:stretch>
        </p:blipFill>
        <p:spPr>
          <a:xfrm>
            <a:off x="11035284" y="6209497"/>
            <a:ext cx="838200" cy="504825"/>
          </a:xfrm>
          <a:prstGeom prst="rect">
            <a:avLst/>
          </a:prstGeom>
        </p:spPr>
      </p:pic>
    </p:spTree>
    <p:extLst>
      <p:ext uri="{BB962C8B-B14F-4D97-AF65-F5344CB8AC3E}">
        <p14:creationId xmlns:p14="http://schemas.microsoft.com/office/powerpoint/2010/main" val="7739151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D67A8ADE-053A-38DF-C605-9BA4D26F564B}"/>
              </a:ext>
            </a:extLst>
          </p:cNvPr>
          <p:cNvSpPr>
            <a:spLocks noGrp="1"/>
          </p:cNvSpPr>
          <p:nvPr>
            <p:ph type="dt" sz="half" idx="2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B2D9105-9B0C-42E3-B691-90E617D04B34}" type="datetime1">
              <a:rPr kumimoji="0" lang="da-DK" sz="100" b="0" i="0" u="none" strike="noStrike" kern="1200" cap="none" spc="0" normalizeH="0" baseline="0" noProof="0" smtClean="0">
                <a:ln>
                  <a:noFill/>
                </a:ln>
                <a:no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08-05-2025</a:t>
            </a:fld>
            <a:endParaRPr kumimoji="0" lang="da-DK" sz="100" b="0" i="0" u="none" strike="noStrike" kern="1200" cap="none" spc="0" normalizeH="0" baseline="0" noProof="0" dirty="0">
              <a:ln>
                <a:noFill/>
              </a:ln>
              <a:no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DFBE866C-AAF9-24DC-0061-23237DC57546}"/>
              </a:ext>
            </a:extLst>
          </p:cNvPr>
          <p:cNvSpPr>
            <a:spLocks noGrp="1"/>
          </p:cNvSpPr>
          <p:nvPr>
            <p:ph type="ftr" sz="quarter" idx="2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2129BD5A-881E-3294-24BA-887E5CD4CBD1}"/>
              </a:ext>
            </a:extLst>
          </p:cNvPr>
          <p:cNvSpPr>
            <a:spLocks noGrp="1"/>
          </p:cNvSpPr>
          <p:nvPr>
            <p:ph type="sldNum" sz="quarter" idx="2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5D37B1E-C366-494F-A587-962AD9AABC83}" type="slidenum">
              <a:rPr kumimoji="0" lang="da-DK" sz="100" b="0" i="0" u="none" strike="noStrike" kern="1200" cap="none" spc="0" normalizeH="0" baseline="0" noProof="0" smtClean="0">
                <a:ln>
                  <a:noFill/>
                </a:ln>
                <a:noFill/>
                <a:effectLst/>
                <a:uLnTx/>
                <a:uFillTx/>
                <a:latin typeface="Arial"/>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7</a:t>
            </a:fld>
            <a:endParaRPr kumimoji="0" lang="da-DK" sz="100" b="0" i="0" u="none" strike="noStrike" kern="1200" cap="none" spc="0" normalizeH="0" baseline="0" noProof="0" dirty="0">
              <a:ln>
                <a:noFill/>
              </a:ln>
              <a:noFill/>
              <a:effectLst/>
              <a:uLnTx/>
              <a:uFillTx/>
              <a:latin typeface="Arial"/>
              <a:ea typeface="+mn-ea"/>
              <a:cs typeface="+mn-cs"/>
            </a:endParaRPr>
          </a:p>
        </p:txBody>
      </p:sp>
      <p:graphicFrame>
        <p:nvGraphicFramePr>
          <p:cNvPr id="11" name="Diagram 10">
            <a:extLst>
              <a:ext uri="{FF2B5EF4-FFF2-40B4-BE49-F238E27FC236}">
                <a16:creationId xmlns:a16="http://schemas.microsoft.com/office/drawing/2014/main" id="{E16545E0-C091-660C-ACD1-D4FB1C049106}"/>
              </a:ext>
            </a:extLst>
          </p:cNvPr>
          <p:cNvGraphicFramePr/>
          <p:nvPr>
            <p:extLst>
              <p:ext uri="{D42A27DB-BD31-4B8C-83A1-F6EECF244321}">
                <p14:modId xmlns:p14="http://schemas.microsoft.com/office/powerpoint/2010/main" val="3299252752"/>
              </p:ext>
            </p:extLst>
          </p:nvPr>
        </p:nvGraphicFramePr>
        <p:xfrm>
          <a:off x="1609260" y="450305"/>
          <a:ext cx="9922565" cy="61058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4" name="TextBox 13">
            <a:extLst>
              <a:ext uri="{FF2B5EF4-FFF2-40B4-BE49-F238E27FC236}">
                <a16:creationId xmlns:a16="http://schemas.microsoft.com/office/drawing/2014/main" id="{D83DD482-7958-33F0-A5F1-760AD39CBBD1}"/>
              </a:ext>
            </a:extLst>
          </p:cNvPr>
          <p:cNvSpPr txBox="1"/>
          <p:nvPr/>
        </p:nvSpPr>
        <p:spPr>
          <a:xfrm flipH="1">
            <a:off x="5049317" y="519764"/>
            <a:ext cx="5018707" cy="246221"/>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600" b="1" i="0" u="none" strike="noStrike" kern="1200" cap="none" spc="0" normalizeH="0" baseline="0" noProof="0" dirty="0">
                <a:ln>
                  <a:noFill/>
                </a:ln>
                <a:solidFill>
                  <a:srgbClr val="000000"/>
                </a:solidFill>
                <a:effectLst/>
                <a:uLnTx/>
                <a:uFillTx/>
                <a:latin typeface="Arial"/>
                <a:ea typeface="+mn-ea"/>
                <a:cs typeface="+mn-cs"/>
              </a:rPr>
              <a:t>SAMARBEJDE / BESLUTNINGSDYGTIGHED</a:t>
            </a:r>
          </a:p>
        </p:txBody>
      </p:sp>
    </p:spTree>
    <p:extLst>
      <p:ext uri="{BB962C8B-B14F-4D97-AF65-F5344CB8AC3E}">
        <p14:creationId xmlns:p14="http://schemas.microsoft.com/office/powerpoint/2010/main" val="4344257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3DBBF-347D-938C-38D5-AD75D89D3DFE}"/>
            </a:ext>
          </a:extLst>
        </p:cNvPr>
        <p:cNvGrpSpPr/>
        <p:nvPr/>
      </p:nvGrpSpPr>
      <p:grpSpPr>
        <a:xfrm>
          <a:off x="0" y="0"/>
          <a:ext cx="0" cy="0"/>
          <a:chOff x="0" y="0"/>
          <a:chExt cx="0" cy="0"/>
        </a:xfrm>
      </p:grpSpPr>
      <p:sp>
        <p:nvSpPr>
          <p:cNvPr id="143" name="Rektangel: afrundede hjørner 142">
            <a:extLst>
              <a:ext uri="{FF2B5EF4-FFF2-40B4-BE49-F238E27FC236}">
                <a16:creationId xmlns:a16="http://schemas.microsoft.com/office/drawing/2014/main" id="{D9D44704-5553-99AE-7842-F81C13E16BBA}"/>
              </a:ext>
            </a:extLst>
          </p:cNvPr>
          <p:cNvSpPr/>
          <p:nvPr/>
        </p:nvSpPr>
        <p:spPr>
          <a:xfrm>
            <a:off x="6772050" y="2387199"/>
            <a:ext cx="4890597" cy="3971487"/>
          </a:xfrm>
          <a:prstGeom prst="roundRect">
            <a:avLst/>
          </a:prstGeom>
          <a:solidFill>
            <a:schemeClr val="accent1">
              <a:lumMod val="40000"/>
              <a:lumOff val="60000"/>
            </a:scheme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 name="Pladsholder til slidenummer 3">
            <a:extLst>
              <a:ext uri="{FF2B5EF4-FFF2-40B4-BE49-F238E27FC236}">
                <a16:creationId xmlns:a16="http://schemas.microsoft.com/office/drawing/2014/main" id="{C8609EDF-4E13-54CF-7685-DB05AF5F48CE}"/>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DF810D-F77C-4BB2-BE6A-BDC67BB44902}" type="slidenum">
              <a:rPr kumimoji="0" lang="da-DK" sz="800" b="1" i="0" u="none" strike="noStrike" kern="1200" cap="none" spc="0" normalizeH="0" baseline="0" noProof="0" smtClean="0">
                <a:ln>
                  <a:noFill/>
                </a:ln>
                <a:solidFill>
                  <a:srgbClr val="064F44"/>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a-DK" sz="800" b="1" i="0" u="none" strike="noStrike" kern="1200" cap="none" spc="0" normalizeH="0" baseline="0" noProof="0">
              <a:ln>
                <a:noFill/>
              </a:ln>
              <a:solidFill>
                <a:srgbClr val="064F44"/>
              </a:solidFill>
              <a:effectLst/>
              <a:uLnTx/>
              <a:uFillTx/>
              <a:latin typeface="Arial" panose="020B0604020202020204"/>
              <a:ea typeface="+mn-ea"/>
              <a:cs typeface="+mn-cs"/>
            </a:endParaRPr>
          </a:p>
        </p:txBody>
      </p:sp>
      <p:sp>
        <p:nvSpPr>
          <p:cNvPr id="6" name="Rektangel: afrundede hjørner 5">
            <a:extLst>
              <a:ext uri="{FF2B5EF4-FFF2-40B4-BE49-F238E27FC236}">
                <a16:creationId xmlns:a16="http://schemas.microsoft.com/office/drawing/2014/main" id="{A66883DF-5590-B738-0990-987DD7014373}"/>
              </a:ext>
            </a:extLst>
          </p:cNvPr>
          <p:cNvSpPr/>
          <p:nvPr/>
        </p:nvSpPr>
        <p:spPr>
          <a:xfrm>
            <a:off x="2115674" y="2383632"/>
            <a:ext cx="4406344" cy="3971487"/>
          </a:xfrm>
          <a:prstGeom prst="roundRect">
            <a:avLst/>
          </a:prstGeom>
          <a:solidFill>
            <a:schemeClr val="accent3">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3" name="Rektangel: afrundede hjørner 32">
            <a:extLst>
              <a:ext uri="{FF2B5EF4-FFF2-40B4-BE49-F238E27FC236}">
                <a16:creationId xmlns:a16="http://schemas.microsoft.com/office/drawing/2014/main" id="{1B423D35-BE95-E9DE-986F-0A08DE4C589D}"/>
              </a:ext>
            </a:extLst>
          </p:cNvPr>
          <p:cNvSpPr/>
          <p:nvPr/>
        </p:nvSpPr>
        <p:spPr>
          <a:xfrm>
            <a:off x="5644707" y="1524008"/>
            <a:ext cx="1976300" cy="252000"/>
          </a:xfrm>
          <a:prstGeom prst="roundRect">
            <a:avLst/>
          </a:prstGeom>
          <a:solidFill>
            <a:srgbClr val="3764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Programledelse</a:t>
            </a:r>
          </a:p>
        </p:txBody>
      </p:sp>
      <p:cxnSp>
        <p:nvCxnSpPr>
          <p:cNvPr id="43" name="Lige forbindelse 42">
            <a:extLst>
              <a:ext uri="{FF2B5EF4-FFF2-40B4-BE49-F238E27FC236}">
                <a16:creationId xmlns:a16="http://schemas.microsoft.com/office/drawing/2014/main" id="{012C7BEC-4E13-3043-A4C6-1BDFB03DC690}"/>
              </a:ext>
            </a:extLst>
          </p:cNvPr>
          <p:cNvCxnSpPr>
            <a:cxnSpLocks/>
          </p:cNvCxnSpPr>
          <p:nvPr/>
        </p:nvCxnSpPr>
        <p:spPr>
          <a:xfrm flipH="1">
            <a:off x="6628145" y="1776008"/>
            <a:ext cx="4712" cy="1529443"/>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8" name="Rektangel: afrundede hjørner 117">
            <a:extLst>
              <a:ext uri="{FF2B5EF4-FFF2-40B4-BE49-F238E27FC236}">
                <a16:creationId xmlns:a16="http://schemas.microsoft.com/office/drawing/2014/main" id="{EE0F4B9D-FFCB-58A8-F263-91F9B4F56E22}"/>
              </a:ext>
            </a:extLst>
          </p:cNvPr>
          <p:cNvSpPr/>
          <p:nvPr/>
        </p:nvSpPr>
        <p:spPr>
          <a:xfrm>
            <a:off x="1132197" y="2325913"/>
            <a:ext cx="1082691" cy="222584"/>
          </a:xfrm>
          <a:prstGeom prst="roundRect">
            <a:avLst/>
          </a:prstGeom>
          <a:solidFill>
            <a:srgbClr val="376466">
              <a:alpha val="85098"/>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prstClr val="white"/>
                </a:solidFill>
                <a:effectLst/>
                <a:uLnTx/>
                <a:uFillTx/>
                <a:latin typeface="Arial" panose="020B0604020202020204"/>
                <a:ea typeface="+mn-ea"/>
                <a:cs typeface="+mn-cs"/>
              </a:rPr>
              <a:t>Procesejer forum </a:t>
            </a:r>
          </a:p>
        </p:txBody>
      </p:sp>
      <p:grpSp>
        <p:nvGrpSpPr>
          <p:cNvPr id="21" name="Group 20">
            <a:extLst>
              <a:ext uri="{FF2B5EF4-FFF2-40B4-BE49-F238E27FC236}">
                <a16:creationId xmlns:a16="http://schemas.microsoft.com/office/drawing/2014/main" id="{4E0B9B7C-B673-0999-A132-6CD97D4F5CE6}"/>
              </a:ext>
            </a:extLst>
          </p:cNvPr>
          <p:cNvGrpSpPr/>
          <p:nvPr/>
        </p:nvGrpSpPr>
        <p:grpSpPr>
          <a:xfrm>
            <a:off x="5646015" y="722196"/>
            <a:ext cx="1976300" cy="522718"/>
            <a:chOff x="5646015" y="892460"/>
            <a:chExt cx="1976300" cy="522718"/>
          </a:xfrm>
        </p:grpSpPr>
        <p:sp>
          <p:nvSpPr>
            <p:cNvPr id="121" name="Rektangel: afrundede hjørner 120">
              <a:extLst>
                <a:ext uri="{FF2B5EF4-FFF2-40B4-BE49-F238E27FC236}">
                  <a16:creationId xmlns:a16="http://schemas.microsoft.com/office/drawing/2014/main" id="{0065F0D1-BD21-770D-5AA9-298DF9DBA532}"/>
                </a:ext>
              </a:extLst>
            </p:cNvPr>
            <p:cNvSpPr/>
            <p:nvPr/>
          </p:nvSpPr>
          <p:spPr>
            <a:xfrm>
              <a:off x="5646015" y="892460"/>
              <a:ext cx="1976300" cy="522718"/>
            </a:xfrm>
            <a:prstGeom prst="roundRect">
              <a:avLst/>
            </a:prstGeom>
            <a:solidFill>
              <a:srgbClr val="3764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Programstyregruppe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22" name="Rektangel: afrundede hjørner 121">
              <a:extLst>
                <a:ext uri="{FF2B5EF4-FFF2-40B4-BE49-F238E27FC236}">
                  <a16:creationId xmlns:a16="http://schemas.microsoft.com/office/drawing/2014/main" id="{2ADED808-3164-4F82-D1BF-731F9EEF07C3}"/>
                </a:ext>
              </a:extLst>
            </p:cNvPr>
            <p:cNvSpPr/>
            <p:nvPr/>
          </p:nvSpPr>
          <p:spPr>
            <a:xfrm>
              <a:off x="6140682" y="1206144"/>
              <a:ext cx="1002649" cy="192286"/>
            </a:xfrm>
            <a:prstGeom prst="roundRect">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Programejer</a:t>
              </a:r>
            </a:p>
          </p:txBody>
        </p:sp>
      </p:grpSp>
      <p:sp>
        <p:nvSpPr>
          <p:cNvPr id="123" name="Rektangel: afrundede hjørner 122">
            <a:extLst>
              <a:ext uri="{FF2B5EF4-FFF2-40B4-BE49-F238E27FC236}">
                <a16:creationId xmlns:a16="http://schemas.microsoft.com/office/drawing/2014/main" id="{AC38622D-61E0-CED0-0A3A-4732AF3B5A7E}"/>
              </a:ext>
            </a:extLst>
          </p:cNvPr>
          <p:cNvSpPr/>
          <p:nvPr/>
        </p:nvSpPr>
        <p:spPr>
          <a:xfrm>
            <a:off x="1194639" y="767303"/>
            <a:ext cx="1435309" cy="439091"/>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Kontraktstyregruppe   </a:t>
            </a:r>
          </a:p>
        </p:txBody>
      </p:sp>
      <p:sp>
        <p:nvSpPr>
          <p:cNvPr id="124" name="Rektangel: afrundede hjørner 123">
            <a:extLst>
              <a:ext uri="{FF2B5EF4-FFF2-40B4-BE49-F238E27FC236}">
                <a16:creationId xmlns:a16="http://schemas.microsoft.com/office/drawing/2014/main" id="{4774AB6B-ED01-6AAC-303D-38D51121C335}"/>
              </a:ext>
            </a:extLst>
          </p:cNvPr>
          <p:cNvSpPr/>
          <p:nvPr/>
        </p:nvSpPr>
        <p:spPr>
          <a:xfrm>
            <a:off x="2369672" y="1498004"/>
            <a:ext cx="1152719" cy="307611"/>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Projektgruppe   </a:t>
            </a:r>
          </a:p>
        </p:txBody>
      </p:sp>
      <p:sp>
        <p:nvSpPr>
          <p:cNvPr id="127" name="Rektangel: afrundede hjørner 126">
            <a:extLst>
              <a:ext uri="{FF2B5EF4-FFF2-40B4-BE49-F238E27FC236}">
                <a16:creationId xmlns:a16="http://schemas.microsoft.com/office/drawing/2014/main" id="{51878E1C-7CC4-224E-9FD1-4525BEDE820D}"/>
              </a:ext>
            </a:extLst>
          </p:cNvPr>
          <p:cNvSpPr/>
          <p:nvPr/>
        </p:nvSpPr>
        <p:spPr>
          <a:xfrm>
            <a:off x="343813" y="1494198"/>
            <a:ext cx="1152720" cy="298739"/>
          </a:xfrm>
          <a:prstGeom prst="round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Driftsgruppe   </a:t>
            </a:r>
          </a:p>
        </p:txBody>
      </p:sp>
      <p:cxnSp>
        <p:nvCxnSpPr>
          <p:cNvPr id="128" name="Forbindelse: vinklet 127">
            <a:extLst>
              <a:ext uri="{FF2B5EF4-FFF2-40B4-BE49-F238E27FC236}">
                <a16:creationId xmlns:a16="http://schemas.microsoft.com/office/drawing/2014/main" id="{08529E35-054C-1320-8042-820162ECF406}"/>
              </a:ext>
            </a:extLst>
          </p:cNvPr>
          <p:cNvCxnSpPr>
            <a:cxnSpLocks/>
            <a:stCxn id="127" idx="0"/>
            <a:endCxn id="123" idx="2"/>
          </p:cNvCxnSpPr>
          <p:nvPr/>
        </p:nvCxnSpPr>
        <p:spPr>
          <a:xfrm rot="5400000" flipH="1" flipV="1">
            <a:off x="1272331" y="854236"/>
            <a:ext cx="287804" cy="992121"/>
          </a:xfrm>
          <a:prstGeom prst="bentConnector3">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6" name="Rektangel: afrundede hjørner 135">
            <a:extLst>
              <a:ext uri="{FF2B5EF4-FFF2-40B4-BE49-F238E27FC236}">
                <a16:creationId xmlns:a16="http://schemas.microsoft.com/office/drawing/2014/main" id="{554717D1-1271-F63A-25C9-4B0E62F75C0C}"/>
              </a:ext>
            </a:extLst>
          </p:cNvPr>
          <p:cNvSpPr/>
          <p:nvPr/>
        </p:nvSpPr>
        <p:spPr>
          <a:xfrm>
            <a:off x="65631" y="2325913"/>
            <a:ext cx="878319" cy="222584"/>
          </a:xfrm>
          <a:prstGeom prst="roundRect">
            <a:avLst/>
          </a:prstGeom>
          <a:solidFill>
            <a:srgbClr val="376466">
              <a:alpha val="85098"/>
            </a:srgbClr>
          </a:solidFill>
          <a:ln>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prstClr val="white"/>
                </a:solidFill>
                <a:effectLst/>
                <a:uLnTx/>
                <a:uFillTx/>
                <a:latin typeface="Arial" panose="020B0604020202020204"/>
                <a:ea typeface="+mn-ea"/>
                <a:cs typeface="+mn-cs"/>
              </a:rPr>
              <a:t>CIO forum </a:t>
            </a:r>
          </a:p>
        </p:txBody>
      </p:sp>
      <p:cxnSp>
        <p:nvCxnSpPr>
          <p:cNvPr id="137" name="Forbindelse: vinklet 136">
            <a:extLst>
              <a:ext uri="{FF2B5EF4-FFF2-40B4-BE49-F238E27FC236}">
                <a16:creationId xmlns:a16="http://schemas.microsoft.com/office/drawing/2014/main" id="{87195A49-118C-DFAF-D181-C050EBC3BD31}"/>
              </a:ext>
            </a:extLst>
          </p:cNvPr>
          <p:cNvCxnSpPr>
            <a:cxnSpLocks/>
          </p:cNvCxnSpPr>
          <p:nvPr/>
        </p:nvCxnSpPr>
        <p:spPr>
          <a:xfrm rot="5400000" flipH="1">
            <a:off x="2037465" y="806273"/>
            <a:ext cx="12952" cy="3497400"/>
          </a:xfrm>
          <a:prstGeom prst="bentConnector3">
            <a:avLst>
              <a:gd name="adj1" fmla="val -2267233"/>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8" name="Lige forbindelse 147">
            <a:extLst>
              <a:ext uri="{FF2B5EF4-FFF2-40B4-BE49-F238E27FC236}">
                <a16:creationId xmlns:a16="http://schemas.microsoft.com/office/drawing/2014/main" id="{91EB2981-8667-8ADD-6F3A-8A04EFF35C1E}"/>
              </a:ext>
            </a:extLst>
          </p:cNvPr>
          <p:cNvCxnSpPr>
            <a:cxnSpLocks/>
            <a:stCxn id="33" idx="0"/>
            <a:endCxn id="121" idx="2"/>
          </p:cNvCxnSpPr>
          <p:nvPr/>
        </p:nvCxnSpPr>
        <p:spPr>
          <a:xfrm flipV="1">
            <a:off x="6632857" y="1244914"/>
            <a:ext cx="1308" cy="27909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2" name="Forbindelse: vinklet 191">
            <a:extLst>
              <a:ext uri="{FF2B5EF4-FFF2-40B4-BE49-F238E27FC236}">
                <a16:creationId xmlns:a16="http://schemas.microsoft.com/office/drawing/2014/main" id="{7184CA0B-9516-3640-1E4A-AF9DB374DE26}"/>
              </a:ext>
            </a:extLst>
          </p:cNvPr>
          <p:cNvCxnSpPr>
            <a:cxnSpLocks/>
            <a:stCxn id="124" idx="0"/>
            <a:endCxn id="123" idx="2"/>
          </p:cNvCxnSpPr>
          <p:nvPr/>
        </p:nvCxnSpPr>
        <p:spPr>
          <a:xfrm rot="16200000" flipV="1">
            <a:off x="2283358" y="835330"/>
            <a:ext cx="291610" cy="1033738"/>
          </a:xfrm>
          <a:prstGeom prst="bentConnector3">
            <a:avLst>
              <a:gd name="adj1"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0" name="Forbindelse: vinklet 179">
            <a:extLst>
              <a:ext uri="{FF2B5EF4-FFF2-40B4-BE49-F238E27FC236}">
                <a16:creationId xmlns:a16="http://schemas.microsoft.com/office/drawing/2014/main" id="{C9FC8138-D933-40DB-6B7E-8D706A8BC464}"/>
              </a:ext>
            </a:extLst>
          </p:cNvPr>
          <p:cNvCxnSpPr>
            <a:cxnSpLocks/>
          </p:cNvCxnSpPr>
          <p:nvPr/>
        </p:nvCxnSpPr>
        <p:spPr>
          <a:xfrm rot="5400000" flipH="1" flipV="1">
            <a:off x="6541068" y="3318628"/>
            <a:ext cx="180000" cy="0"/>
          </a:xfrm>
          <a:prstGeom prst="bentConnector3">
            <a:avLst>
              <a:gd name="adj1" fmla="val 50000"/>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Rektangel: afrundede hjørner 8">
            <a:extLst>
              <a:ext uri="{FF2B5EF4-FFF2-40B4-BE49-F238E27FC236}">
                <a16:creationId xmlns:a16="http://schemas.microsoft.com/office/drawing/2014/main" id="{D58B51B4-8174-48AF-4EB2-B231BD2FE381}"/>
              </a:ext>
            </a:extLst>
          </p:cNvPr>
          <p:cNvSpPr/>
          <p:nvPr/>
        </p:nvSpPr>
        <p:spPr>
          <a:xfrm>
            <a:off x="3553920" y="3649774"/>
            <a:ext cx="8038656" cy="195598"/>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9" name="Tekstfelt 18">
            <a:extLst>
              <a:ext uri="{FF2B5EF4-FFF2-40B4-BE49-F238E27FC236}">
                <a16:creationId xmlns:a16="http://schemas.microsoft.com/office/drawing/2014/main" id="{916329FA-05DA-9FFF-F96B-257D28DE317E}"/>
              </a:ext>
            </a:extLst>
          </p:cNvPr>
          <p:cNvSpPr txBox="1"/>
          <p:nvPr/>
        </p:nvSpPr>
        <p:spPr>
          <a:xfrm>
            <a:off x="3434751" y="3664059"/>
            <a:ext cx="1164692" cy="184666"/>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prstClr val="white"/>
                </a:solidFill>
                <a:effectLst/>
                <a:uLnTx/>
                <a:uFillTx/>
                <a:latin typeface="Arial" panose="020B0604020202020204"/>
                <a:ea typeface="+mn-ea"/>
                <a:cs typeface="+mn-cs"/>
              </a:rPr>
              <a:t>Proces &amp; konfigurering</a:t>
            </a:r>
          </a:p>
        </p:txBody>
      </p:sp>
      <p:grpSp>
        <p:nvGrpSpPr>
          <p:cNvPr id="109" name="Group 108">
            <a:extLst>
              <a:ext uri="{FF2B5EF4-FFF2-40B4-BE49-F238E27FC236}">
                <a16:creationId xmlns:a16="http://schemas.microsoft.com/office/drawing/2014/main" id="{D7FD9D58-28C8-6C9A-480D-43DFF762CACB}"/>
              </a:ext>
            </a:extLst>
          </p:cNvPr>
          <p:cNvGrpSpPr/>
          <p:nvPr/>
        </p:nvGrpSpPr>
        <p:grpSpPr>
          <a:xfrm>
            <a:off x="3529711" y="3876298"/>
            <a:ext cx="8060357" cy="197045"/>
            <a:chOff x="3608568" y="3902920"/>
            <a:chExt cx="6615788" cy="247261"/>
          </a:xfrm>
        </p:grpSpPr>
        <p:sp>
          <p:nvSpPr>
            <p:cNvPr id="10" name="Rektangel: afrundede hjørner 9">
              <a:extLst>
                <a:ext uri="{FF2B5EF4-FFF2-40B4-BE49-F238E27FC236}">
                  <a16:creationId xmlns:a16="http://schemas.microsoft.com/office/drawing/2014/main" id="{8B7F7ADA-271D-15CC-541B-B001A4CCFB22}"/>
                </a:ext>
              </a:extLst>
            </p:cNvPr>
            <p:cNvSpPr/>
            <p:nvPr/>
          </p:nvSpPr>
          <p:spPr>
            <a:xfrm>
              <a:off x="3637670" y="3917449"/>
              <a:ext cx="6586686" cy="232732"/>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0" name="Tekstfelt 19">
              <a:extLst>
                <a:ext uri="{FF2B5EF4-FFF2-40B4-BE49-F238E27FC236}">
                  <a16:creationId xmlns:a16="http://schemas.microsoft.com/office/drawing/2014/main" id="{04DE035C-1EF7-00A6-B92A-31053D292A3E}"/>
                </a:ext>
              </a:extLst>
            </p:cNvPr>
            <p:cNvSpPr txBox="1"/>
            <p:nvPr/>
          </p:nvSpPr>
          <p:spPr>
            <a:xfrm>
              <a:off x="3608568" y="3902920"/>
              <a:ext cx="398416" cy="23172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prstClr val="white"/>
                  </a:solidFill>
                  <a:effectLst/>
                  <a:uLnTx/>
                  <a:uFillTx/>
                  <a:latin typeface="Arial" panose="020B0604020202020204"/>
                  <a:ea typeface="+mn-ea"/>
                  <a:cs typeface="+mn-cs"/>
                </a:rPr>
                <a:t>Test </a:t>
              </a:r>
            </a:p>
          </p:txBody>
        </p:sp>
      </p:grpSp>
      <p:grpSp>
        <p:nvGrpSpPr>
          <p:cNvPr id="107" name="Group 106">
            <a:extLst>
              <a:ext uri="{FF2B5EF4-FFF2-40B4-BE49-F238E27FC236}">
                <a16:creationId xmlns:a16="http://schemas.microsoft.com/office/drawing/2014/main" id="{5564449D-EC15-173F-704C-5E05F8736D57}"/>
              </a:ext>
            </a:extLst>
          </p:cNvPr>
          <p:cNvGrpSpPr/>
          <p:nvPr/>
        </p:nvGrpSpPr>
        <p:grpSpPr>
          <a:xfrm>
            <a:off x="3508559" y="4625759"/>
            <a:ext cx="8047977" cy="204509"/>
            <a:chOff x="3566524" y="4345816"/>
            <a:chExt cx="6637578" cy="161601"/>
          </a:xfrm>
        </p:grpSpPr>
        <p:sp>
          <p:nvSpPr>
            <p:cNvPr id="18" name="Rektangel: afrundede hjørner 17">
              <a:extLst>
                <a:ext uri="{FF2B5EF4-FFF2-40B4-BE49-F238E27FC236}">
                  <a16:creationId xmlns:a16="http://schemas.microsoft.com/office/drawing/2014/main" id="{4260A958-959A-A17E-8953-FF190A16B080}"/>
                </a:ext>
              </a:extLst>
            </p:cNvPr>
            <p:cNvSpPr/>
            <p:nvPr/>
          </p:nvSpPr>
          <p:spPr>
            <a:xfrm>
              <a:off x="3607231" y="4345816"/>
              <a:ext cx="6596871" cy="161601"/>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5" name="Tekstfelt 24">
              <a:extLst>
                <a:ext uri="{FF2B5EF4-FFF2-40B4-BE49-F238E27FC236}">
                  <a16:creationId xmlns:a16="http://schemas.microsoft.com/office/drawing/2014/main" id="{94A6E194-5229-9F6B-5C87-13522A33DBDB}"/>
                </a:ext>
              </a:extLst>
            </p:cNvPr>
            <p:cNvSpPr txBox="1"/>
            <p:nvPr/>
          </p:nvSpPr>
          <p:spPr>
            <a:xfrm>
              <a:off x="3566524" y="4350790"/>
              <a:ext cx="1789212" cy="145921"/>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prstClr val="white"/>
                  </a:solidFill>
                  <a:effectLst/>
                  <a:uLnTx/>
                  <a:uFillTx/>
                  <a:latin typeface="Arial" panose="020B0604020202020204"/>
                  <a:ea typeface="+mn-ea"/>
                  <a:cs typeface="+mn-cs"/>
                </a:rPr>
                <a:t>Teknisk infrastruktur &amp; IT-sikkerhed</a:t>
              </a:r>
            </a:p>
          </p:txBody>
        </p:sp>
      </p:grpSp>
      <p:grpSp>
        <p:nvGrpSpPr>
          <p:cNvPr id="108" name="Group 107">
            <a:extLst>
              <a:ext uri="{FF2B5EF4-FFF2-40B4-BE49-F238E27FC236}">
                <a16:creationId xmlns:a16="http://schemas.microsoft.com/office/drawing/2014/main" id="{536BC954-E5E7-36F5-6143-C3ABD1CD2D6F}"/>
              </a:ext>
            </a:extLst>
          </p:cNvPr>
          <p:cNvGrpSpPr/>
          <p:nvPr/>
        </p:nvGrpSpPr>
        <p:grpSpPr>
          <a:xfrm>
            <a:off x="3513775" y="4366195"/>
            <a:ext cx="8053089" cy="206542"/>
            <a:chOff x="3588544" y="4158234"/>
            <a:chExt cx="6635189" cy="254292"/>
          </a:xfrm>
        </p:grpSpPr>
        <p:sp>
          <p:nvSpPr>
            <p:cNvPr id="8" name="Rektangel: afrundede hjørner 7">
              <a:extLst>
                <a:ext uri="{FF2B5EF4-FFF2-40B4-BE49-F238E27FC236}">
                  <a16:creationId xmlns:a16="http://schemas.microsoft.com/office/drawing/2014/main" id="{8B6DB060-5124-2D5A-6938-1AD36F558B64}"/>
                </a:ext>
              </a:extLst>
            </p:cNvPr>
            <p:cNvSpPr/>
            <p:nvPr/>
          </p:nvSpPr>
          <p:spPr>
            <a:xfrm>
              <a:off x="3626864" y="4158234"/>
              <a:ext cx="6596869" cy="254292"/>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7" name="Tekstfelt 26">
              <a:extLst>
                <a:ext uri="{FF2B5EF4-FFF2-40B4-BE49-F238E27FC236}">
                  <a16:creationId xmlns:a16="http://schemas.microsoft.com/office/drawing/2014/main" id="{AD33FE6A-CDB9-9008-A0A3-5E75DD3B1A45}"/>
                </a:ext>
              </a:extLst>
            </p:cNvPr>
            <p:cNvSpPr txBox="1"/>
            <p:nvPr/>
          </p:nvSpPr>
          <p:spPr>
            <a:xfrm>
              <a:off x="3588544" y="4170820"/>
              <a:ext cx="1086863" cy="22735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prstClr val="white"/>
                  </a:solidFill>
                  <a:effectLst/>
                  <a:uLnTx/>
                  <a:uFillTx/>
                  <a:latin typeface="Arial" panose="020B0604020202020204"/>
                  <a:ea typeface="+mn-ea"/>
                  <a:cs typeface="+mn-cs"/>
                </a:rPr>
                <a:t>Fælles integrationer</a:t>
              </a:r>
            </a:p>
          </p:txBody>
        </p:sp>
      </p:grpSp>
      <p:grpSp>
        <p:nvGrpSpPr>
          <p:cNvPr id="106" name="Group 105">
            <a:extLst>
              <a:ext uri="{FF2B5EF4-FFF2-40B4-BE49-F238E27FC236}">
                <a16:creationId xmlns:a16="http://schemas.microsoft.com/office/drawing/2014/main" id="{7B76CB47-E4D6-492E-EDD6-A6AEB8A54EFF}"/>
              </a:ext>
            </a:extLst>
          </p:cNvPr>
          <p:cNvGrpSpPr/>
          <p:nvPr/>
        </p:nvGrpSpPr>
        <p:grpSpPr>
          <a:xfrm>
            <a:off x="3505262" y="4870565"/>
            <a:ext cx="8054520" cy="213496"/>
            <a:chOff x="3586397" y="4737155"/>
            <a:chExt cx="6638614" cy="151174"/>
          </a:xfrm>
        </p:grpSpPr>
        <p:sp>
          <p:nvSpPr>
            <p:cNvPr id="26" name="Rektangel: afrundede hjørner 25">
              <a:extLst>
                <a:ext uri="{FF2B5EF4-FFF2-40B4-BE49-F238E27FC236}">
                  <a16:creationId xmlns:a16="http://schemas.microsoft.com/office/drawing/2014/main" id="{A7BBE60E-7E83-95FE-F216-C774D31EA981}"/>
                </a:ext>
              </a:extLst>
            </p:cNvPr>
            <p:cNvSpPr/>
            <p:nvPr/>
          </p:nvSpPr>
          <p:spPr>
            <a:xfrm>
              <a:off x="3626862" y="4738372"/>
              <a:ext cx="6598149" cy="149957"/>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Tekstfelt 27">
              <a:extLst>
                <a:ext uri="{FF2B5EF4-FFF2-40B4-BE49-F238E27FC236}">
                  <a16:creationId xmlns:a16="http://schemas.microsoft.com/office/drawing/2014/main" id="{8D855ADB-6B52-E72B-3EAE-CD0ACB7FFD15}"/>
                </a:ext>
              </a:extLst>
            </p:cNvPr>
            <p:cNvSpPr txBox="1"/>
            <p:nvPr/>
          </p:nvSpPr>
          <p:spPr>
            <a:xfrm>
              <a:off x="3586397" y="4737155"/>
              <a:ext cx="1000203" cy="13076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prstClr val="white"/>
                  </a:solidFill>
                  <a:effectLst/>
                  <a:uLnTx/>
                  <a:uFillTx/>
                  <a:latin typeface="Arial" panose="020B0604020202020204"/>
                  <a:ea typeface="+mn-ea"/>
                  <a:cs typeface="+mn-cs"/>
                </a:rPr>
                <a:t>Datamigrering </a:t>
              </a:r>
            </a:p>
          </p:txBody>
        </p:sp>
      </p:grpSp>
      <p:grpSp>
        <p:nvGrpSpPr>
          <p:cNvPr id="89" name="Group 88">
            <a:extLst>
              <a:ext uri="{FF2B5EF4-FFF2-40B4-BE49-F238E27FC236}">
                <a16:creationId xmlns:a16="http://schemas.microsoft.com/office/drawing/2014/main" id="{6CFE9583-03C3-1CF7-B261-7CE3761A79A6}"/>
              </a:ext>
            </a:extLst>
          </p:cNvPr>
          <p:cNvGrpSpPr/>
          <p:nvPr/>
        </p:nvGrpSpPr>
        <p:grpSpPr>
          <a:xfrm>
            <a:off x="3505261" y="5397180"/>
            <a:ext cx="8054986" cy="211668"/>
            <a:chOff x="3581124" y="5253897"/>
            <a:chExt cx="6630485" cy="210469"/>
          </a:xfrm>
        </p:grpSpPr>
        <p:sp>
          <p:nvSpPr>
            <p:cNvPr id="24" name="Rektangel: afrundede hjørner 23">
              <a:extLst>
                <a:ext uri="{FF2B5EF4-FFF2-40B4-BE49-F238E27FC236}">
                  <a16:creationId xmlns:a16="http://schemas.microsoft.com/office/drawing/2014/main" id="{FA081F23-C04B-9C4C-9DB0-C1E5D976A2C6}"/>
                </a:ext>
              </a:extLst>
            </p:cNvPr>
            <p:cNvSpPr/>
            <p:nvPr/>
          </p:nvSpPr>
          <p:spPr>
            <a:xfrm>
              <a:off x="3624923" y="5253897"/>
              <a:ext cx="6586686" cy="210469"/>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9" name="Tekstfelt 28">
              <a:extLst>
                <a:ext uri="{FF2B5EF4-FFF2-40B4-BE49-F238E27FC236}">
                  <a16:creationId xmlns:a16="http://schemas.microsoft.com/office/drawing/2014/main" id="{133961EB-7BEB-87DB-F6F3-72A9B4C04342}"/>
                </a:ext>
              </a:extLst>
            </p:cNvPr>
            <p:cNvSpPr txBox="1"/>
            <p:nvPr/>
          </p:nvSpPr>
          <p:spPr>
            <a:xfrm>
              <a:off x="3581124" y="5259561"/>
              <a:ext cx="1124417" cy="183620"/>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prstClr val="white"/>
                  </a:solidFill>
                  <a:effectLst/>
                  <a:uLnTx/>
                  <a:uFillTx/>
                  <a:latin typeface="Arial" panose="020B0604020202020204"/>
                  <a:ea typeface="+mn-ea"/>
                  <a:cs typeface="+mn-cs"/>
                </a:rPr>
                <a:t>GDPR &amp; informationssikkerhed  </a:t>
              </a:r>
            </a:p>
          </p:txBody>
        </p:sp>
      </p:grpSp>
      <p:sp>
        <p:nvSpPr>
          <p:cNvPr id="30" name="Rektangel: afrundede hjørner 29">
            <a:extLst>
              <a:ext uri="{FF2B5EF4-FFF2-40B4-BE49-F238E27FC236}">
                <a16:creationId xmlns:a16="http://schemas.microsoft.com/office/drawing/2014/main" id="{980B3DE7-70E8-8FCB-C6AE-2FB4EAC546B8}"/>
              </a:ext>
            </a:extLst>
          </p:cNvPr>
          <p:cNvSpPr/>
          <p:nvPr/>
        </p:nvSpPr>
        <p:spPr>
          <a:xfrm>
            <a:off x="3553920" y="5127208"/>
            <a:ext cx="8013631" cy="226547"/>
          </a:xfrm>
          <a:prstGeom prst="roundRect">
            <a:avLst/>
          </a:prstGeom>
          <a:solidFill>
            <a:srgbClr val="698B8C"/>
          </a:solidFill>
          <a:ln>
            <a:prstDash val="solid"/>
            <a:extLst>
              <a:ext uri="{C807C97D-BFC1-408E-A445-0C87EB9F89A2}">
                <ask:lineSketchStyleProps xmlns:ask="http://schemas.microsoft.com/office/drawing/2018/sketchyshapes">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prstClr val="white"/>
                </a:solidFill>
                <a:effectLst/>
                <a:uLnTx/>
                <a:uFillTx/>
                <a:latin typeface="Arial" panose="020B0604020202020204"/>
                <a:ea typeface="+mn-ea"/>
                <a:cs typeface="+mn-cs"/>
              </a:rPr>
              <a:t> Lokale integrationer</a:t>
            </a:r>
          </a:p>
        </p:txBody>
      </p:sp>
      <p:sp>
        <p:nvSpPr>
          <p:cNvPr id="12" name="Pladsholder til dato 4">
            <a:extLst>
              <a:ext uri="{FF2B5EF4-FFF2-40B4-BE49-F238E27FC236}">
                <a16:creationId xmlns:a16="http://schemas.microsoft.com/office/drawing/2014/main" id="{3062D1F3-AA6C-5D3C-E80B-05069FB13A81}"/>
              </a:ext>
            </a:extLst>
          </p:cNvPr>
          <p:cNvSpPr>
            <a:spLocks noGrp="1"/>
          </p:cNvSpPr>
          <p:nvPr>
            <p:ph type="dt" sz="half" idx="2"/>
          </p:nvPr>
        </p:nvSpPr>
        <p:spPr>
          <a:xfrm>
            <a:off x="10649551" y="6367732"/>
            <a:ext cx="74762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585D110-0B52-4CB9-8AE7-B495E4D5B418}" type="datetime1">
              <a:rPr kumimoji="0" lang="da-DK" sz="800" b="0" i="0" u="none" strike="noStrike" kern="1200" cap="none" spc="0" normalizeH="0" baseline="0" noProof="0" smtClean="0">
                <a:ln>
                  <a:noFill/>
                </a:ln>
                <a:solidFill>
                  <a:prstClr val="black"/>
                </a:solidFill>
                <a:effectLst/>
                <a:uLnTx/>
                <a:uFillTx/>
                <a:latin typeface="Arial" panose="020B0604020202020204"/>
                <a:cs typeface="Times New Roman" panose="02020603050405020304" pitchFamily="18" charset="0"/>
              </a:rPr>
              <a:pPr marL="0" marR="0" lvl="0" indent="0" algn="l" defTabSz="914400" rtl="0" eaLnBrk="1" fontAlgn="auto" latinLnBrk="0" hangingPunct="1">
                <a:lnSpc>
                  <a:spcPct val="100000"/>
                </a:lnSpc>
                <a:spcBef>
                  <a:spcPts val="0"/>
                </a:spcBef>
                <a:spcAft>
                  <a:spcPts val="0"/>
                </a:spcAft>
                <a:buClrTx/>
                <a:buSzTx/>
                <a:buFontTx/>
                <a:buNone/>
                <a:tabLst/>
                <a:defRPr/>
              </a:pPr>
              <a:t>08-05-2025</a:t>
            </a:fld>
            <a:endParaRPr kumimoji="0" lang="da-DK" sz="800" b="0" i="0" u="none" strike="noStrike" kern="1200" cap="none" spc="0" normalizeH="0" baseline="0" noProof="0">
              <a:ln>
                <a:noFill/>
              </a:ln>
              <a:solidFill>
                <a:prstClr val="black"/>
              </a:solidFill>
              <a:effectLst/>
              <a:uLnTx/>
              <a:uFillTx/>
              <a:latin typeface="Arial" panose="020B0604020202020204"/>
              <a:cs typeface="Times New Roman" panose="02020603050405020304" pitchFamily="18" charset="0"/>
            </a:endParaRPr>
          </a:p>
        </p:txBody>
      </p:sp>
      <p:cxnSp>
        <p:nvCxnSpPr>
          <p:cNvPr id="63" name="Lige forbindelse 42">
            <a:extLst>
              <a:ext uri="{FF2B5EF4-FFF2-40B4-BE49-F238E27FC236}">
                <a16:creationId xmlns:a16="http://schemas.microsoft.com/office/drawing/2014/main" id="{77A6A3A8-77FF-6710-3580-811D693997ED}"/>
              </a:ext>
            </a:extLst>
          </p:cNvPr>
          <p:cNvCxnSpPr>
            <a:cxnSpLocks/>
          </p:cNvCxnSpPr>
          <p:nvPr/>
        </p:nvCxnSpPr>
        <p:spPr>
          <a:xfrm flipV="1">
            <a:off x="2616797" y="4674026"/>
            <a:ext cx="216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1" name="Lige forbindelse 42">
            <a:extLst>
              <a:ext uri="{FF2B5EF4-FFF2-40B4-BE49-F238E27FC236}">
                <a16:creationId xmlns:a16="http://schemas.microsoft.com/office/drawing/2014/main" id="{56464BA1-B4AC-86B9-CFAC-C175FEFA5643}"/>
              </a:ext>
            </a:extLst>
          </p:cNvPr>
          <p:cNvCxnSpPr>
            <a:cxnSpLocks/>
          </p:cNvCxnSpPr>
          <p:nvPr/>
        </p:nvCxnSpPr>
        <p:spPr>
          <a:xfrm flipH="1" flipV="1">
            <a:off x="2823792" y="2262946"/>
            <a:ext cx="3836756" cy="931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83" name="Lige forbindelse 42">
            <a:extLst>
              <a:ext uri="{FF2B5EF4-FFF2-40B4-BE49-F238E27FC236}">
                <a16:creationId xmlns:a16="http://schemas.microsoft.com/office/drawing/2014/main" id="{70488573-1E72-9B6E-9C4F-44377C0B17F6}"/>
              </a:ext>
            </a:extLst>
          </p:cNvPr>
          <p:cNvCxnSpPr>
            <a:cxnSpLocks/>
          </p:cNvCxnSpPr>
          <p:nvPr/>
        </p:nvCxnSpPr>
        <p:spPr>
          <a:xfrm flipH="1" flipV="1">
            <a:off x="4513895" y="2262946"/>
            <a:ext cx="13320" cy="63294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FB005C89-8A58-8A4E-14F4-F0494402C718}"/>
              </a:ext>
            </a:extLst>
          </p:cNvPr>
          <p:cNvSpPr txBox="1"/>
          <p:nvPr/>
        </p:nvSpPr>
        <p:spPr>
          <a:xfrm>
            <a:off x="3448409" y="6012049"/>
            <a:ext cx="2083434" cy="253916"/>
          </a:xfrm>
          <a:prstGeom prst="rect">
            <a:avLst/>
          </a:prstGeom>
          <a:solidFill>
            <a:schemeClr val="accent3">
              <a:lumMod val="60000"/>
              <a:lumOff val="40000"/>
            </a:schemeClr>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lprogram Fælles Løsning</a:t>
            </a:r>
          </a:p>
        </p:txBody>
      </p:sp>
      <p:sp>
        <p:nvSpPr>
          <p:cNvPr id="88" name="Rektangel: afrundede hjørner 8">
            <a:extLst>
              <a:ext uri="{FF2B5EF4-FFF2-40B4-BE49-F238E27FC236}">
                <a16:creationId xmlns:a16="http://schemas.microsoft.com/office/drawing/2014/main" id="{B1C96A3F-49BC-FBAB-F041-730683A6E7B7}"/>
              </a:ext>
            </a:extLst>
          </p:cNvPr>
          <p:cNvSpPr/>
          <p:nvPr/>
        </p:nvSpPr>
        <p:spPr>
          <a:xfrm>
            <a:off x="2798949" y="4125922"/>
            <a:ext cx="678144" cy="1525684"/>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Teknisk projektleder</a:t>
            </a:r>
          </a:p>
        </p:txBody>
      </p:sp>
      <p:cxnSp>
        <p:nvCxnSpPr>
          <p:cNvPr id="111" name="Lige forbindelse 42">
            <a:extLst>
              <a:ext uri="{FF2B5EF4-FFF2-40B4-BE49-F238E27FC236}">
                <a16:creationId xmlns:a16="http://schemas.microsoft.com/office/drawing/2014/main" id="{0AE10EF6-6939-6EAD-3ABF-A09D8295678F}"/>
              </a:ext>
            </a:extLst>
          </p:cNvPr>
          <p:cNvCxnSpPr>
            <a:cxnSpLocks/>
          </p:cNvCxnSpPr>
          <p:nvPr/>
        </p:nvCxnSpPr>
        <p:spPr>
          <a:xfrm flipH="1" flipV="1">
            <a:off x="4508651" y="2948914"/>
            <a:ext cx="525" cy="314554"/>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4" name="Lige forbindelse 42">
            <a:extLst>
              <a:ext uri="{FF2B5EF4-FFF2-40B4-BE49-F238E27FC236}">
                <a16:creationId xmlns:a16="http://schemas.microsoft.com/office/drawing/2014/main" id="{A89911DC-CC4D-B72A-2BC0-7592BDE37B76}"/>
              </a:ext>
            </a:extLst>
          </p:cNvPr>
          <p:cNvCxnSpPr>
            <a:cxnSpLocks/>
          </p:cNvCxnSpPr>
          <p:nvPr/>
        </p:nvCxnSpPr>
        <p:spPr>
          <a:xfrm flipV="1">
            <a:off x="2615249" y="3242150"/>
            <a:ext cx="0" cy="144000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Lige forbindelse 42">
            <a:extLst>
              <a:ext uri="{FF2B5EF4-FFF2-40B4-BE49-F238E27FC236}">
                <a16:creationId xmlns:a16="http://schemas.microsoft.com/office/drawing/2014/main" id="{C287A19C-41F3-CD8F-4E2A-1EC4D575EC8C}"/>
              </a:ext>
            </a:extLst>
          </p:cNvPr>
          <p:cNvCxnSpPr>
            <a:cxnSpLocks/>
          </p:cNvCxnSpPr>
          <p:nvPr/>
        </p:nvCxnSpPr>
        <p:spPr>
          <a:xfrm flipH="1">
            <a:off x="2610145" y="3252734"/>
            <a:ext cx="191041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1" name="Lige forbindelse 42">
            <a:extLst>
              <a:ext uri="{FF2B5EF4-FFF2-40B4-BE49-F238E27FC236}">
                <a16:creationId xmlns:a16="http://schemas.microsoft.com/office/drawing/2014/main" id="{C09C3B81-0D9C-5212-21F5-9EC171BD1692}"/>
              </a:ext>
            </a:extLst>
          </p:cNvPr>
          <p:cNvCxnSpPr>
            <a:cxnSpLocks/>
          </p:cNvCxnSpPr>
          <p:nvPr/>
        </p:nvCxnSpPr>
        <p:spPr>
          <a:xfrm flipH="1" flipV="1">
            <a:off x="2608447" y="3668636"/>
            <a:ext cx="180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9" name="Rektangel: afrundede hjørner 8">
            <a:extLst>
              <a:ext uri="{FF2B5EF4-FFF2-40B4-BE49-F238E27FC236}">
                <a16:creationId xmlns:a16="http://schemas.microsoft.com/office/drawing/2014/main" id="{F1437EFD-4A4E-F1D3-498E-4AF39F343D3D}"/>
              </a:ext>
            </a:extLst>
          </p:cNvPr>
          <p:cNvSpPr/>
          <p:nvPr/>
        </p:nvSpPr>
        <p:spPr>
          <a:xfrm>
            <a:off x="3856855" y="2711742"/>
            <a:ext cx="1353419" cy="226341"/>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Delprogramleder</a:t>
            </a:r>
          </a:p>
        </p:txBody>
      </p:sp>
      <p:sp>
        <p:nvSpPr>
          <p:cNvPr id="156" name="Rektangel: afrundede hjørner 155">
            <a:extLst>
              <a:ext uri="{FF2B5EF4-FFF2-40B4-BE49-F238E27FC236}">
                <a16:creationId xmlns:a16="http://schemas.microsoft.com/office/drawing/2014/main" id="{41298964-AA53-0567-6AEE-DAC5F2AFD637}"/>
              </a:ext>
            </a:extLst>
          </p:cNvPr>
          <p:cNvSpPr/>
          <p:nvPr/>
        </p:nvSpPr>
        <p:spPr>
          <a:xfrm>
            <a:off x="5601520" y="3003533"/>
            <a:ext cx="2167792" cy="218676"/>
          </a:xfrm>
          <a:prstGeom prst="roundRect">
            <a:avLst/>
          </a:prstGeom>
          <a:solidFill>
            <a:srgbClr val="6D9D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Programkoordineringsgruppe </a:t>
            </a:r>
          </a:p>
        </p:txBody>
      </p:sp>
      <p:sp>
        <p:nvSpPr>
          <p:cNvPr id="130" name="Titel 2">
            <a:extLst>
              <a:ext uri="{FF2B5EF4-FFF2-40B4-BE49-F238E27FC236}">
                <a16:creationId xmlns:a16="http://schemas.microsoft.com/office/drawing/2014/main" id="{15558212-0513-6EE4-2B11-50C4F3A08595}"/>
              </a:ext>
            </a:extLst>
          </p:cNvPr>
          <p:cNvSpPr>
            <a:spLocks noGrp="1"/>
          </p:cNvSpPr>
          <p:nvPr>
            <p:ph type="title"/>
          </p:nvPr>
        </p:nvSpPr>
        <p:spPr>
          <a:xfrm>
            <a:off x="231827" y="45925"/>
            <a:ext cx="10633284" cy="694480"/>
          </a:xfrm>
        </p:spPr>
        <p:txBody>
          <a:bodyPr>
            <a:normAutofit/>
          </a:bodyPr>
          <a:lstStyle/>
          <a:p>
            <a:r>
              <a:rPr lang="da-DK" sz="2000"/>
              <a:t>Fælles SIS programorganisering designfase</a:t>
            </a:r>
          </a:p>
        </p:txBody>
      </p:sp>
      <p:sp>
        <p:nvSpPr>
          <p:cNvPr id="2" name="Rektangel: afrundede hjørner 8">
            <a:extLst>
              <a:ext uri="{FF2B5EF4-FFF2-40B4-BE49-F238E27FC236}">
                <a16:creationId xmlns:a16="http://schemas.microsoft.com/office/drawing/2014/main" id="{6AC3A30D-BA38-AD30-7763-2CE4A033B370}"/>
              </a:ext>
            </a:extLst>
          </p:cNvPr>
          <p:cNvSpPr/>
          <p:nvPr/>
        </p:nvSpPr>
        <p:spPr>
          <a:xfrm>
            <a:off x="2801503" y="3401789"/>
            <a:ext cx="678144" cy="658530"/>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Funktionel projektleder</a:t>
            </a:r>
          </a:p>
        </p:txBody>
      </p:sp>
      <p:cxnSp>
        <p:nvCxnSpPr>
          <p:cNvPr id="77" name="Forbindelse: vinklet 76">
            <a:extLst>
              <a:ext uri="{FF2B5EF4-FFF2-40B4-BE49-F238E27FC236}">
                <a16:creationId xmlns:a16="http://schemas.microsoft.com/office/drawing/2014/main" id="{C84A343E-B600-9DC9-92AB-654D2920BA08}"/>
              </a:ext>
            </a:extLst>
          </p:cNvPr>
          <p:cNvCxnSpPr>
            <a:cxnSpLocks/>
            <a:stCxn id="13" idx="3"/>
            <a:endCxn id="118" idx="2"/>
          </p:cNvCxnSpPr>
          <p:nvPr/>
        </p:nvCxnSpPr>
        <p:spPr>
          <a:xfrm rot="5400000" flipH="1">
            <a:off x="2077454" y="2144587"/>
            <a:ext cx="16798" cy="824619"/>
          </a:xfrm>
          <a:prstGeom prst="bentConnector3">
            <a:avLst>
              <a:gd name="adj1" fmla="val -1759799"/>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98" name="Forbindelse: vinklet 97">
            <a:extLst>
              <a:ext uri="{FF2B5EF4-FFF2-40B4-BE49-F238E27FC236}">
                <a16:creationId xmlns:a16="http://schemas.microsoft.com/office/drawing/2014/main" id="{8408C7C7-E859-6C25-1E79-063309344168}"/>
              </a:ext>
            </a:extLst>
          </p:cNvPr>
          <p:cNvCxnSpPr>
            <a:cxnSpLocks/>
            <a:stCxn id="121" idx="1"/>
            <a:endCxn id="123" idx="3"/>
          </p:cNvCxnSpPr>
          <p:nvPr/>
        </p:nvCxnSpPr>
        <p:spPr>
          <a:xfrm rot="10800000" flipV="1">
            <a:off x="2629949" y="983555"/>
            <a:ext cx="3016067" cy="3294"/>
          </a:xfrm>
          <a:prstGeom prst="bentConnector3">
            <a:avLst>
              <a:gd name="adj1" fmla="val 50000"/>
            </a:avLst>
          </a:prstGeom>
          <a:ln w="190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16" name="Forbindelse: vinklet 115">
            <a:extLst>
              <a:ext uri="{FF2B5EF4-FFF2-40B4-BE49-F238E27FC236}">
                <a16:creationId xmlns:a16="http://schemas.microsoft.com/office/drawing/2014/main" id="{771E7F8C-AB4F-DB11-B3E6-86F6A96BA202}"/>
              </a:ext>
            </a:extLst>
          </p:cNvPr>
          <p:cNvCxnSpPr>
            <a:cxnSpLocks/>
            <a:stCxn id="144" idx="1"/>
            <a:endCxn id="39" idx="0"/>
          </p:cNvCxnSpPr>
          <p:nvPr/>
        </p:nvCxnSpPr>
        <p:spPr>
          <a:xfrm rot="10800000" flipV="1">
            <a:off x="8345022" y="1363397"/>
            <a:ext cx="1437305" cy="493330"/>
          </a:xfrm>
          <a:prstGeom prst="bentConnector2">
            <a:avLst/>
          </a:prstGeom>
          <a:ln w="19050">
            <a:solidFill>
              <a:schemeClr val="bg1">
                <a:lumMod val="7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44" name="Rektangel: afrundede hjørner 143">
            <a:extLst>
              <a:ext uri="{FF2B5EF4-FFF2-40B4-BE49-F238E27FC236}">
                <a16:creationId xmlns:a16="http://schemas.microsoft.com/office/drawing/2014/main" id="{4CCFA766-BBCF-64FE-7CD7-BFF999F885E2}"/>
              </a:ext>
            </a:extLst>
          </p:cNvPr>
          <p:cNvSpPr/>
          <p:nvPr/>
        </p:nvSpPr>
        <p:spPr>
          <a:xfrm>
            <a:off x="9782326" y="705089"/>
            <a:ext cx="2329614" cy="1316616"/>
          </a:xfrm>
          <a:prstGeom prst="roundRect">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sng" strike="noStrike" kern="1200" cap="none" spc="0" normalizeH="0" baseline="0" noProof="0">
                <a:ln>
                  <a:noFill/>
                </a:ln>
                <a:solidFill>
                  <a:prstClr val="white"/>
                </a:solidFill>
                <a:effectLst/>
                <a:uLnTx/>
                <a:uFillTx/>
                <a:latin typeface="Arial" panose="020B0604020202020204"/>
                <a:ea typeface="+mn-ea"/>
                <a:cs typeface="+mn-cs"/>
              </a:rPr>
              <a:t>Myndighedsbetjen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FIU</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F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UF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UF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Statens IT-rå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Rigsrevisionen</a:t>
            </a:r>
          </a:p>
        </p:txBody>
      </p:sp>
      <p:cxnSp>
        <p:nvCxnSpPr>
          <p:cNvPr id="145" name="Lige forbindelse 144">
            <a:extLst>
              <a:ext uri="{FF2B5EF4-FFF2-40B4-BE49-F238E27FC236}">
                <a16:creationId xmlns:a16="http://schemas.microsoft.com/office/drawing/2014/main" id="{3CE64AE6-D23E-3A67-4CD3-C34CC0621262}"/>
              </a:ext>
            </a:extLst>
          </p:cNvPr>
          <p:cNvCxnSpPr>
            <a:cxnSpLocks/>
          </p:cNvCxnSpPr>
          <p:nvPr/>
        </p:nvCxnSpPr>
        <p:spPr>
          <a:xfrm flipH="1">
            <a:off x="6642006" y="1984089"/>
            <a:ext cx="1043645"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31" name="Ellipse 30">
            <a:extLst>
              <a:ext uri="{FF2B5EF4-FFF2-40B4-BE49-F238E27FC236}">
                <a16:creationId xmlns:a16="http://schemas.microsoft.com/office/drawing/2014/main" id="{DBA91E40-B83D-CC9C-D7EC-1C91BCAD5460}"/>
              </a:ext>
            </a:extLst>
          </p:cNvPr>
          <p:cNvSpPr/>
          <p:nvPr/>
        </p:nvSpPr>
        <p:spPr>
          <a:xfrm>
            <a:off x="1893414" y="3454790"/>
            <a:ext cx="930646" cy="49489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Hans Matzen (Interim)</a:t>
            </a:r>
          </a:p>
        </p:txBody>
      </p:sp>
      <p:sp>
        <p:nvSpPr>
          <p:cNvPr id="36" name="Ellipse 35">
            <a:extLst>
              <a:ext uri="{FF2B5EF4-FFF2-40B4-BE49-F238E27FC236}">
                <a16:creationId xmlns:a16="http://schemas.microsoft.com/office/drawing/2014/main" id="{30F340BB-1FD6-B9F2-3B45-BA4CD7A349CE}"/>
              </a:ext>
            </a:extLst>
          </p:cNvPr>
          <p:cNvSpPr/>
          <p:nvPr/>
        </p:nvSpPr>
        <p:spPr>
          <a:xfrm>
            <a:off x="1897425" y="4455484"/>
            <a:ext cx="951760" cy="50741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Peter Sidelmann</a:t>
            </a:r>
          </a:p>
        </p:txBody>
      </p:sp>
      <p:sp>
        <p:nvSpPr>
          <p:cNvPr id="38" name="Ellipse 37">
            <a:extLst>
              <a:ext uri="{FF2B5EF4-FFF2-40B4-BE49-F238E27FC236}">
                <a16:creationId xmlns:a16="http://schemas.microsoft.com/office/drawing/2014/main" id="{E727E934-EBFD-0A62-0A5E-499FAA5FB3CC}"/>
              </a:ext>
            </a:extLst>
          </p:cNvPr>
          <p:cNvSpPr/>
          <p:nvPr/>
        </p:nvSpPr>
        <p:spPr>
          <a:xfrm>
            <a:off x="5123466" y="1034884"/>
            <a:ext cx="956108" cy="40670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Mads Henrik Bang</a:t>
            </a:r>
          </a:p>
        </p:txBody>
      </p:sp>
      <p:sp>
        <p:nvSpPr>
          <p:cNvPr id="70" name="Ellipse 69">
            <a:extLst>
              <a:ext uri="{FF2B5EF4-FFF2-40B4-BE49-F238E27FC236}">
                <a16:creationId xmlns:a16="http://schemas.microsoft.com/office/drawing/2014/main" id="{B5EDB880-F3C0-2FE8-9333-5D7AE8BE929C}"/>
              </a:ext>
            </a:extLst>
          </p:cNvPr>
          <p:cNvSpPr/>
          <p:nvPr/>
        </p:nvSpPr>
        <p:spPr>
          <a:xfrm>
            <a:off x="7142588" y="1331554"/>
            <a:ext cx="873784" cy="42483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Thomas Graeser</a:t>
            </a:r>
          </a:p>
        </p:txBody>
      </p:sp>
      <p:cxnSp>
        <p:nvCxnSpPr>
          <p:cNvPr id="84" name="Lige forbindelse 42">
            <a:extLst>
              <a:ext uri="{FF2B5EF4-FFF2-40B4-BE49-F238E27FC236}">
                <a16:creationId xmlns:a16="http://schemas.microsoft.com/office/drawing/2014/main" id="{D192730B-4445-A469-375B-C714C58FD88A}"/>
              </a:ext>
            </a:extLst>
          </p:cNvPr>
          <p:cNvCxnSpPr>
            <a:cxnSpLocks/>
          </p:cNvCxnSpPr>
          <p:nvPr/>
        </p:nvCxnSpPr>
        <p:spPr>
          <a:xfrm flipH="1">
            <a:off x="6660548" y="2255063"/>
            <a:ext cx="3997184" cy="1534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grpSp>
        <p:nvGrpSpPr>
          <p:cNvPr id="82" name="Group 88">
            <a:extLst>
              <a:ext uri="{FF2B5EF4-FFF2-40B4-BE49-F238E27FC236}">
                <a16:creationId xmlns:a16="http://schemas.microsoft.com/office/drawing/2014/main" id="{BA6BDD7C-4DCB-78BE-AE53-55DB0EC4FD9A}"/>
              </a:ext>
            </a:extLst>
          </p:cNvPr>
          <p:cNvGrpSpPr/>
          <p:nvPr/>
        </p:nvGrpSpPr>
        <p:grpSpPr>
          <a:xfrm>
            <a:off x="3533100" y="3405179"/>
            <a:ext cx="8080603" cy="210414"/>
            <a:chOff x="3601128" y="5250182"/>
            <a:chExt cx="6610481" cy="194447"/>
          </a:xfrm>
        </p:grpSpPr>
        <p:sp>
          <p:nvSpPr>
            <p:cNvPr id="85" name="Rektangel: afrundede hjørner 84">
              <a:extLst>
                <a:ext uri="{FF2B5EF4-FFF2-40B4-BE49-F238E27FC236}">
                  <a16:creationId xmlns:a16="http://schemas.microsoft.com/office/drawing/2014/main" id="{B1FE9DC5-2D45-8883-5804-BEDA79928C18}"/>
                </a:ext>
              </a:extLst>
            </p:cNvPr>
            <p:cNvSpPr/>
            <p:nvPr/>
          </p:nvSpPr>
          <p:spPr>
            <a:xfrm>
              <a:off x="3624923" y="5253897"/>
              <a:ext cx="6586686" cy="190732"/>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7" name="Tekstfelt 86">
              <a:extLst>
                <a:ext uri="{FF2B5EF4-FFF2-40B4-BE49-F238E27FC236}">
                  <a16:creationId xmlns:a16="http://schemas.microsoft.com/office/drawing/2014/main" id="{82891942-A82C-B99E-C15F-4653BF598ECD}"/>
                </a:ext>
              </a:extLst>
            </p:cNvPr>
            <p:cNvSpPr txBox="1"/>
            <p:nvPr/>
          </p:nvSpPr>
          <p:spPr>
            <a:xfrm>
              <a:off x="3601128" y="5250182"/>
              <a:ext cx="588271" cy="170652"/>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prstClr val="white"/>
                  </a:solidFill>
                  <a:effectLst/>
                  <a:uLnTx/>
                  <a:uFillTx/>
                  <a:latin typeface="Arial" panose="020B0604020202020204"/>
                  <a:ea typeface="+mn-ea"/>
                  <a:cs typeface="+mn-cs"/>
                </a:rPr>
                <a:t>UX</a:t>
              </a:r>
            </a:p>
          </p:txBody>
        </p:sp>
      </p:grpSp>
      <p:sp>
        <p:nvSpPr>
          <p:cNvPr id="146" name="TextBox 79">
            <a:extLst>
              <a:ext uri="{FF2B5EF4-FFF2-40B4-BE49-F238E27FC236}">
                <a16:creationId xmlns:a16="http://schemas.microsoft.com/office/drawing/2014/main" id="{6E51C968-B23E-F2E0-4D56-FDA8FF3DBFDA}"/>
              </a:ext>
            </a:extLst>
          </p:cNvPr>
          <p:cNvSpPr txBox="1"/>
          <p:nvPr/>
        </p:nvSpPr>
        <p:spPr>
          <a:xfrm>
            <a:off x="8151446" y="5942921"/>
            <a:ext cx="2399023" cy="3770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lprogram Fælles Implemente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lprogramleder allokeres senest primo 2025)</a:t>
            </a:r>
          </a:p>
        </p:txBody>
      </p:sp>
      <p:sp>
        <p:nvSpPr>
          <p:cNvPr id="90" name="Tekstfelt 89">
            <a:extLst>
              <a:ext uri="{FF2B5EF4-FFF2-40B4-BE49-F238E27FC236}">
                <a16:creationId xmlns:a16="http://schemas.microsoft.com/office/drawing/2014/main" id="{6D656024-D885-97B2-3CBC-31A355F9B52C}"/>
              </a:ext>
            </a:extLst>
          </p:cNvPr>
          <p:cNvSpPr txBox="1"/>
          <p:nvPr/>
        </p:nvSpPr>
        <p:spPr>
          <a:xfrm>
            <a:off x="4553301" y="3418023"/>
            <a:ext cx="1339204" cy="184666"/>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64F44">
                    <a:lumMod val="50000"/>
                    <a:lumOff val="50000"/>
                  </a:srgbClr>
                </a:solidFill>
                <a:effectLst/>
                <a:uLnTx/>
                <a:uFillTx/>
                <a:latin typeface="Arial" panose="020B0604020202020204"/>
                <a:ea typeface="+mn-ea"/>
                <a:cs typeface="+mn-cs"/>
              </a:rPr>
              <a:t>Mette Bjødstrup Andersen</a:t>
            </a:r>
          </a:p>
        </p:txBody>
      </p:sp>
      <p:sp>
        <p:nvSpPr>
          <p:cNvPr id="91" name="Tekstfelt 90">
            <a:extLst>
              <a:ext uri="{FF2B5EF4-FFF2-40B4-BE49-F238E27FC236}">
                <a16:creationId xmlns:a16="http://schemas.microsoft.com/office/drawing/2014/main" id="{E3B63790-BECE-CBFB-9681-8FA91682BEA1}"/>
              </a:ext>
            </a:extLst>
          </p:cNvPr>
          <p:cNvSpPr txBox="1"/>
          <p:nvPr/>
        </p:nvSpPr>
        <p:spPr>
          <a:xfrm>
            <a:off x="4965904" y="5405466"/>
            <a:ext cx="714656" cy="184666"/>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64F44">
                    <a:lumMod val="50000"/>
                    <a:lumOff val="50000"/>
                  </a:srgbClr>
                </a:solidFill>
                <a:effectLst/>
                <a:uLnTx/>
                <a:uFillTx/>
                <a:latin typeface="Arial" panose="020B0604020202020204"/>
                <a:ea typeface="+mn-ea"/>
                <a:cs typeface="+mn-cs"/>
              </a:rPr>
              <a:t>Birgitte Kofod</a:t>
            </a:r>
          </a:p>
        </p:txBody>
      </p:sp>
      <p:sp>
        <p:nvSpPr>
          <p:cNvPr id="92" name="Tekstfelt 91">
            <a:extLst>
              <a:ext uri="{FF2B5EF4-FFF2-40B4-BE49-F238E27FC236}">
                <a16:creationId xmlns:a16="http://schemas.microsoft.com/office/drawing/2014/main" id="{45CACA13-126A-A8BD-2977-69D14E1C507A}"/>
              </a:ext>
            </a:extLst>
          </p:cNvPr>
          <p:cNvSpPr txBox="1"/>
          <p:nvPr/>
        </p:nvSpPr>
        <p:spPr>
          <a:xfrm>
            <a:off x="4693988" y="5157674"/>
            <a:ext cx="1060096" cy="215444"/>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0000"/>
                </a:solidFill>
                <a:effectLst/>
                <a:uLnTx/>
                <a:uFillTx/>
                <a:latin typeface="Arial" panose="020B0604020202020204"/>
                <a:ea typeface="+mn-ea"/>
                <a:cs typeface="+mn-cs"/>
              </a:rPr>
              <a:t>Poul Basse</a:t>
            </a:r>
          </a:p>
        </p:txBody>
      </p:sp>
      <p:sp>
        <p:nvSpPr>
          <p:cNvPr id="93" name="Tekstfelt 92">
            <a:extLst>
              <a:ext uri="{FF2B5EF4-FFF2-40B4-BE49-F238E27FC236}">
                <a16:creationId xmlns:a16="http://schemas.microsoft.com/office/drawing/2014/main" id="{7F9DB4D7-46AD-B4C1-4C8D-70EA8882CBC9}"/>
              </a:ext>
            </a:extLst>
          </p:cNvPr>
          <p:cNvSpPr txBox="1"/>
          <p:nvPr/>
        </p:nvSpPr>
        <p:spPr>
          <a:xfrm>
            <a:off x="4780024" y="4886910"/>
            <a:ext cx="930388" cy="184666"/>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64F44">
                    <a:lumMod val="50000"/>
                    <a:lumOff val="50000"/>
                  </a:srgbClr>
                </a:solidFill>
                <a:effectLst/>
                <a:uLnTx/>
                <a:uFillTx/>
                <a:latin typeface="Arial" panose="020B0604020202020204"/>
                <a:ea typeface="+mn-ea"/>
                <a:cs typeface="+mn-cs"/>
              </a:rPr>
              <a:t>Kirsten Lei Hansen</a:t>
            </a:r>
          </a:p>
        </p:txBody>
      </p:sp>
      <p:sp>
        <p:nvSpPr>
          <p:cNvPr id="94" name="Tekstfelt 93">
            <a:extLst>
              <a:ext uri="{FF2B5EF4-FFF2-40B4-BE49-F238E27FC236}">
                <a16:creationId xmlns:a16="http://schemas.microsoft.com/office/drawing/2014/main" id="{2ED17EBA-D0FB-AD22-31A0-942504C76493}"/>
              </a:ext>
            </a:extLst>
          </p:cNvPr>
          <p:cNvSpPr txBox="1"/>
          <p:nvPr/>
        </p:nvSpPr>
        <p:spPr>
          <a:xfrm>
            <a:off x="4669633" y="3906460"/>
            <a:ext cx="1060096" cy="215444"/>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0000"/>
                </a:solidFill>
                <a:effectLst/>
                <a:uLnTx/>
                <a:uFillTx/>
                <a:latin typeface="Arial" panose="020B0604020202020204"/>
                <a:ea typeface="+mn-ea"/>
                <a:cs typeface="+mn-cs"/>
              </a:rPr>
              <a:t>Pia Jensen</a:t>
            </a:r>
          </a:p>
        </p:txBody>
      </p:sp>
      <p:sp>
        <p:nvSpPr>
          <p:cNvPr id="95" name="Tekstfelt 94">
            <a:extLst>
              <a:ext uri="{FF2B5EF4-FFF2-40B4-BE49-F238E27FC236}">
                <a16:creationId xmlns:a16="http://schemas.microsoft.com/office/drawing/2014/main" id="{FDFF840F-58AF-8C0F-4B36-664D10021DC1}"/>
              </a:ext>
            </a:extLst>
          </p:cNvPr>
          <p:cNvSpPr txBox="1"/>
          <p:nvPr/>
        </p:nvSpPr>
        <p:spPr>
          <a:xfrm>
            <a:off x="4910600" y="4376089"/>
            <a:ext cx="714656" cy="184666"/>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64F44">
                    <a:lumMod val="50000"/>
                    <a:lumOff val="50000"/>
                  </a:srgbClr>
                </a:solidFill>
                <a:effectLst/>
                <a:uLnTx/>
                <a:uFillTx/>
                <a:latin typeface="Arial" panose="020B0604020202020204"/>
                <a:ea typeface="+mn-ea"/>
                <a:cs typeface="+mn-cs"/>
              </a:rPr>
              <a:t>Martin Zangger</a:t>
            </a:r>
          </a:p>
        </p:txBody>
      </p:sp>
      <p:sp>
        <p:nvSpPr>
          <p:cNvPr id="96" name="Tekstfelt 95">
            <a:extLst>
              <a:ext uri="{FF2B5EF4-FFF2-40B4-BE49-F238E27FC236}">
                <a16:creationId xmlns:a16="http://schemas.microsoft.com/office/drawing/2014/main" id="{43D40A36-CD61-A0A3-D853-B5FB7F6E1B20}"/>
              </a:ext>
            </a:extLst>
          </p:cNvPr>
          <p:cNvSpPr txBox="1"/>
          <p:nvPr/>
        </p:nvSpPr>
        <p:spPr>
          <a:xfrm>
            <a:off x="4855522" y="4637412"/>
            <a:ext cx="870897" cy="184666"/>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64F44">
                    <a:lumMod val="50000"/>
                    <a:lumOff val="50000"/>
                  </a:srgbClr>
                </a:solidFill>
                <a:effectLst/>
                <a:uLnTx/>
                <a:uFillTx/>
                <a:latin typeface="Arial" panose="020B0604020202020204"/>
                <a:ea typeface="+mn-ea"/>
                <a:cs typeface="+mn-cs"/>
              </a:rPr>
              <a:t>Peter Sidelmann</a:t>
            </a:r>
          </a:p>
        </p:txBody>
      </p:sp>
      <p:sp>
        <p:nvSpPr>
          <p:cNvPr id="97" name="Tekstfelt 96">
            <a:extLst>
              <a:ext uri="{FF2B5EF4-FFF2-40B4-BE49-F238E27FC236}">
                <a16:creationId xmlns:a16="http://schemas.microsoft.com/office/drawing/2014/main" id="{996F3D73-A458-5EFE-9257-B98685EFF3ED}"/>
              </a:ext>
            </a:extLst>
          </p:cNvPr>
          <p:cNvSpPr txBox="1"/>
          <p:nvPr/>
        </p:nvSpPr>
        <p:spPr>
          <a:xfrm>
            <a:off x="4521039" y="3622842"/>
            <a:ext cx="1217329" cy="276999"/>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srgbClr val="064F44">
                    <a:lumMod val="50000"/>
                    <a:lumOff val="50000"/>
                  </a:srgbClr>
                </a:solidFill>
                <a:effectLst/>
                <a:uLnTx/>
                <a:uFillTx/>
                <a:latin typeface="Arial" panose="020B0604020202020204"/>
                <a:ea typeface="+mn-ea"/>
                <a:cs typeface="+mn-cs"/>
              </a:rPr>
              <a:t>Malene Bull-Hansen &amp; </a:t>
            </a:r>
            <a:br>
              <a:rPr kumimoji="0" lang="da-DK" sz="600" b="0" i="0" u="none" strike="noStrike" kern="1200" cap="none" spc="0" normalizeH="0" baseline="0" noProof="0">
                <a:ln>
                  <a:noFill/>
                </a:ln>
                <a:solidFill>
                  <a:srgbClr val="064F44">
                    <a:lumMod val="50000"/>
                    <a:lumOff val="50000"/>
                  </a:srgbClr>
                </a:solidFill>
                <a:effectLst/>
                <a:uLnTx/>
                <a:uFillTx/>
                <a:latin typeface="Arial" panose="020B0604020202020204"/>
                <a:ea typeface="+mn-ea"/>
                <a:cs typeface="+mn-cs"/>
              </a:rPr>
            </a:br>
            <a:r>
              <a:rPr kumimoji="0" lang="da-DK" sz="600" b="0" i="0" u="none" strike="noStrike" kern="1200" cap="none" spc="0" normalizeH="0" baseline="0" noProof="0">
                <a:ln>
                  <a:noFill/>
                </a:ln>
                <a:solidFill>
                  <a:srgbClr val="064F44">
                    <a:lumMod val="50000"/>
                    <a:lumOff val="50000"/>
                  </a:srgbClr>
                </a:solidFill>
                <a:effectLst/>
                <a:uLnTx/>
                <a:uFillTx/>
                <a:latin typeface="Arial" panose="020B0604020202020204"/>
                <a:ea typeface="+mn-ea"/>
                <a:cs typeface="+mn-cs"/>
              </a:rPr>
              <a:t>Nejra Ric</a:t>
            </a:r>
            <a:r>
              <a:rPr kumimoji="0" lang="da-DK" sz="600" b="0" i="0" u="none" strike="noStrike" kern="1200" cap="none" spc="0" normalizeH="0" baseline="0" noProof="0" err="1">
                <a:ln>
                  <a:noFill/>
                </a:ln>
                <a:solidFill>
                  <a:srgbClr val="064F44">
                    <a:lumMod val="50000"/>
                    <a:lumOff val="50000"/>
                  </a:srgbClr>
                </a:solidFill>
                <a:effectLst/>
                <a:uLnTx/>
                <a:uFillTx/>
                <a:latin typeface="Arial" panose="020B0604020202020204"/>
                <a:ea typeface="+mn-ea"/>
                <a:cs typeface="+mn-cs"/>
              </a:rPr>
              <a:t>hter</a:t>
            </a:r>
            <a:endParaRPr kumimoji="0" lang="da-DK" sz="600" b="0" i="0" u="none" strike="noStrike" kern="1200" cap="none" spc="0" normalizeH="0" baseline="0" noProof="0">
              <a:ln>
                <a:noFill/>
              </a:ln>
              <a:solidFill>
                <a:srgbClr val="064F44">
                  <a:lumMod val="50000"/>
                  <a:lumOff val="50000"/>
                </a:srgbClr>
              </a:solidFill>
              <a:effectLst/>
              <a:uLnTx/>
              <a:uFillTx/>
              <a:latin typeface="Arial" panose="020B0604020202020204"/>
              <a:ea typeface="+mn-ea"/>
              <a:cs typeface="+mn-cs"/>
            </a:endParaRPr>
          </a:p>
        </p:txBody>
      </p:sp>
      <p:cxnSp>
        <p:nvCxnSpPr>
          <p:cNvPr id="68" name="Lige forbindelse 42">
            <a:extLst>
              <a:ext uri="{FF2B5EF4-FFF2-40B4-BE49-F238E27FC236}">
                <a16:creationId xmlns:a16="http://schemas.microsoft.com/office/drawing/2014/main" id="{F4AB6D89-1166-71FB-F821-514532533D41}"/>
              </a:ext>
            </a:extLst>
          </p:cNvPr>
          <p:cNvCxnSpPr>
            <a:cxnSpLocks/>
          </p:cNvCxnSpPr>
          <p:nvPr/>
        </p:nvCxnSpPr>
        <p:spPr>
          <a:xfrm>
            <a:off x="2619366" y="2716318"/>
            <a:ext cx="0" cy="54538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2" name="Lige forbindelse 42">
            <a:extLst>
              <a:ext uri="{FF2B5EF4-FFF2-40B4-BE49-F238E27FC236}">
                <a16:creationId xmlns:a16="http://schemas.microsoft.com/office/drawing/2014/main" id="{CB6FCDC3-F57D-B0AE-49D5-2A8D0BD68BFF}"/>
              </a:ext>
            </a:extLst>
          </p:cNvPr>
          <p:cNvCxnSpPr>
            <a:cxnSpLocks/>
          </p:cNvCxnSpPr>
          <p:nvPr/>
        </p:nvCxnSpPr>
        <p:spPr>
          <a:xfrm>
            <a:off x="3632274" y="2698958"/>
            <a:ext cx="0" cy="56537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7" name="Ellipse 6">
            <a:extLst>
              <a:ext uri="{FF2B5EF4-FFF2-40B4-BE49-F238E27FC236}">
                <a16:creationId xmlns:a16="http://schemas.microsoft.com/office/drawing/2014/main" id="{CE4D1E9D-AE26-E69E-2F70-5B32E6DF6AED}"/>
              </a:ext>
            </a:extLst>
          </p:cNvPr>
          <p:cNvSpPr/>
          <p:nvPr/>
        </p:nvSpPr>
        <p:spPr>
          <a:xfrm>
            <a:off x="4165351" y="2175561"/>
            <a:ext cx="792687" cy="435374"/>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Peter Flodin</a:t>
            </a:r>
          </a:p>
        </p:txBody>
      </p:sp>
      <p:grpSp>
        <p:nvGrpSpPr>
          <p:cNvPr id="178" name="Group 177">
            <a:extLst>
              <a:ext uri="{FF2B5EF4-FFF2-40B4-BE49-F238E27FC236}">
                <a16:creationId xmlns:a16="http://schemas.microsoft.com/office/drawing/2014/main" id="{FB9375F2-3016-C9E9-ACF3-6A6218BD874E}"/>
              </a:ext>
            </a:extLst>
          </p:cNvPr>
          <p:cNvGrpSpPr/>
          <p:nvPr/>
        </p:nvGrpSpPr>
        <p:grpSpPr>
          <a:xfrm>
            <a:off x="3536554" y="4125921"/>
            <a:ext cx="8053514" cy="192735"/>
            <a:chOff x="3611451" y="3699597"/>
            <a:chExt cx="6610172" cy="208308"/>
          </a:xfrm>
        </p:grpSpPr>
        <p:sp>
          <p:nvSpPr>
            <p:cNvPr id="179" name="Rektangel: afrundede hjørner 9">
              <a:extLst>
                <a:ext uri="{FF2B5EF4-FFF2-40B4-BE49-F238E27FC236}">
                  <a16:creationId xmlns:a16="http://schemas.microsoft.com/office/drawing/2014/main" id="{0C7A7E68-5CB9-200B-CD3E-6F64EFCE902A}"/>
                </a:ext>
              </a:extLst>
            </p:cNvPr>
            <p:cNvSpPr/>
            <p:nvPr/>
          </p:nvSpPr>
          <p:spPr>
            <a:xfrm>
              <a:off x="3634937" y="3705648"/>
              <a:ext cx="6586686" cy="202257"/>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7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81" name="Tekstfelt 19">
              <a:extLst>
                <a:ext uri="{FF2B5EF4-FFF2-40B4-BE49-F238E27FC236}">
                  <a16:creationId xmlns:a16="http://schemas.microsoft.com/office/drawing/2014/main" id="{E694903A-CB93-2237-D8BB-BFB81274A077}"/>
                </a:ext>
              </a:extLst>
            </p:cNvPr>
            <p:cNvSpPr txBox="1"/>
            <p:nvPr/>
          </p:nvSpPr>
          <p:spPr>
            <a:xfrm>
              <a:off x="3611451" y="3699597"/>
              <a:ext cx="581459" cy="19958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600" b="0" i="0" u="none" strike="noStrike" kern="1200" cap="none" spc="0" normalizeH="0" baseline="0" noProof="0">
                  <a:ln>
                    <a:noFill/>
                  </a:ln>
                  <a:solidFill>
                    <a:prstClr val="white"/>
                  </a:solidFill>
                  <a:effectLst/>
                  <a:uLnTx/>
                  <a:uFillTx/>
                  <a:latin typeface="Arial" panose="020B0604020202020204"/>
                  <a:ea typeface="+mn-ea"/>
                  <a:cs typeface="+mn-cs"/>
                </a:rPr>
                <a:t>Datamodel</a:t>
              </a:r>
            </a:p>
          </p:txBody>
        </p:sp>
      </p:grpSp>
      <p:grpSp>
        <p:nvGrpSpPr>
          <p:cNvPr id="22" name="Group 21">
            <a:extLst>
              <a:ext uri="{FF2B5EF4-FFF2-40B4-BE49-F238E27FC236}">
                <a16:creationId xmlns:a16="http://schemas.microsoft.com/office/drawing/2014/main" id="{C0BA29C3-CB64-0B2E-D12B-EC206B3F68C5}"/>
              </a:ext>
            </a:extLst>
          </p:cNvPr>
          <p:cNvGrpSpPr/>
          <p:nvPr/>
        </p:nvGrpSpPr>
        <p:grpSpPr>
          <a:xfrm>
            <a:off x="5574156" y="3366253"/>
            <a:ext cx="2312860" cy="2332379"/>
            <a:chOff x="11923624" y="3164265"/>
            <a:chExt cx="2531192" cy="2477101"/>
          </a:xfrm>
        </p:grpSpPr>
        <p:sp>
          <p:nvSpPr>
            <p:cNvPr id="32" name="Rektangel: afrundede hjørner 31">
              <a:extLst>
                <a:ext uri="{FF2B5EF4-FFF2-40B4-BE49-F238E27FC236}">
                  <a16:creationId xmlns:a16="http://schemas.microsoft.com/office/drawing/2014/main" id="{506F3B33-F8D3-BC5B-1542-0E5B51893766}"/>
                </a:ext>
              </a:extLst>
            </p:cNvPr>
            <p:cNvSpPr/>
            <p:nvPr/>
          </p:nvSpPr>
          <p:spPr>
            <a:xfrm>
              <a:off x="11923624" y="3164265"/>
              <a:ext cx="2531192" cy="2477101"/>
            </a:xfrm>
            <a:prstGeom prst="roundRect">
              <a:avLst>
                <a:gd name="adj" fmla="val 3228"/>
              </a:avLst>
            </a:prstGeom>
            <a:solidFill>
              <a:srgbClr val="6D9DA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 </a:t>
              </a:r>
            </a:p>
          </p:txBody>
        </p:sp>
        <p:grpSp>
          <p:nvGrpSpPr>
            <p:cNvPr id="17" name="Group 16">
              <a:extLst>
                <a:ext uri="{FF2B5EF4-FFF2-40B4-BE49-F238E27FC236}">
                  <a16:creationId xmlns:a16="http://schemas.microsoft.com/office/drawing/2014/main" id="{986EA720-A4C9-DD30-E806-BC0EEAE36E42}"/>
                </a:ext>
              </a:extLst>
            </p:cNvPr>
            <p:cNvGrpSpPr/>
            <p:nvPr/>
          </p:nvGrpSpPr>
          <p:grpSpPr>
            <a:xfrm>
              <a:off x="12101761" y="3398289"/>
              <a:ext cx="2225607" cy="2156558"/>
              <a:chOff x="12101761" y="3398289"/>
              <a:chExt cx="2225607" cy="2156558"/>
            </a:xfrm>
          </p:grpSpPr>
          <p:sp>
            <p:nvSpPr>
              <p:cNvPr id="34" name="Rektangel 33">
                <a:extLst>
                  <a:ext uri="{FF2B5EF4-FFF2-40B4-BE49-F238E27FC236}">
                    <a16:creationId xmlns:a16="http://schemas.microsoft.com/office/drawing/2014/main" id="{EED0F530-10E7-5C6E-12B8-DB189105DB4F}"/>
                  </a:ext>
                </a:extLst>
              </p:cNvPr>
              <p:cNvSpPr/>
              <p:nvPr/>
            </p:nvSpPr>
            <p:spPr>
              <a:xfrm>
                <a:off x="12113847" y="3398289"/>
                <a:ext cx="206112" cy="2145952"/>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5" name="Rektangel 34">
                <a:extLst>
                  <a:ext uri="{FF2B5EF4-FFF2-40B4-BE49-F238E27FC236}">
                    <a16:creationId xmlns:a16="http://schemas.microsoft.com/office/drawing/2014/main" id="{874D9582-3E32-5A25-97B9-860C2A624B29}"/>
                  </a:ext>
                </a:extLst>
              </p:cNvPr>
              <p:cNvSpPr/>
              <p:nvPr/>
            </p:nvSpPr>
            <p:spPr>
              <a:xfrm>
                <a:off x="12685757" y="3398289"/>
                <a:ext cx="206112" cy="2145952"/>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1" name="Rektangel 40">
                <a:extLst>
                  <a:ext uri="{FF2B5EF4-FFF2-40B4-BE49-F238E27FC236}">
                    <a16:creationId xmlns:a16="http://schemas.microsoft.com/office/drawing/2014/main" id="{5019DF24-F6A6-7C92-9E53-B24F80C9632E}"/>
                  </a:ext>
                </a:extLst>
              </p:cNvPr>
              <p:cNvSpPr/>
              <p:nvPr/>
            </p:nvSpPr>
            <p:spPr>
              <a:xfrm>
                <a:off x="12399802" y="3398289"/>
                <a:ext cx="206112" cy="2145952"/>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5" name="Rektangel 44">
                <a:extLst>
                  <a:ext uri="{FF2B5EF4-FFF2-40B4-BE49-F238E27FC236}">
                    <a16:creationId xmlns:a16="http://schemas.microsoft.com/office/drawing/2014/main" id="{74E10CE6-9454-49A7-1EDC-F804A161A1E0}"/>
                  </a:ext>
                </a:extLst>
              </p:cNvPr>
              <p:cNvSpPr/>
              <p:nvPr/>
            </p:nvSpPr>
            <p:spPr>
              <a:xfrm>
                <a:off x="12971712" y="3398289"/>
                <a:ext cx="206112" cy="2145952"/>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6" name="Rektangel 45">
                <a:extLst>
                  <a:ext uri="{FF2B5EF4-FFF2-40B4-BE49-F238E27FC236}">
                    <a16:creationId xmlns:a16="http://schemas.microsoft.com/office/drawing/2014/main" id="{1F387B4D-6E2F-B3A5-40E2-12BD3A8B3404}"/>
                  </a:ext>
                </a:extLst>
              </p:cNvPr>
              <p:cNvSpPr/>
              <p:nvPr/>
            </p:nvSpPr>
            <p:spPr>
              <a:xfrm>
                <a:off x="13257667" y="3398289"/>
                <a:ext cx="206112" cy="2145952"/>
              </a:xfrm>
              <a:prstGeom prst="rect">
                <a:avLst/>
              </a:prstGeom>
              <a:solidFill>
                <a:schemeClr val="bg1">
                  <a:lumMod val="75000"/>
                </a:schemeClr>
              </a:solid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7" name="Rektangel 46">
                <a:extLst>
                  <a:ext uri="{FF2B5EF4-FFF2-40B4-BE49-F238E27FC236}">
                    <a16:creationId xmlns:a16="http://schemas.microsoft.com/office/drawing/2014/main" id="{C1471EBF-320D-5B49-4827-3FE00990248D}"/>
                  </a:ext>
                </a:extLst>
              </p:cNvPr>
              <p:cNvSpPr/>
              <p:nvPr/>
            </p:nvSpPr>
            <p:spPr>
              <a:xfrm>
                <a:off x="13543622" y="3398289"/>
                <a:ext cx="206112" cy="2145952"/>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8" name="Rektangel 47">
                <a:extLst>
                  <a:ext uri="{FF2B5EF4-FFF2-40B4-BE49-F238E27FC236}">
                    <a16:creationId xmlns:a16="http://schemas.microsoft.com/office/drawing/2014/main" id="{42A201BC-50A4-BEA5-0D4E-09FC6276A5ED}"/>
                  </a:ext>
                </a:extLst>
              </p:cNvPr>
              <p:cNvSpPr/>
              <p:nvPr/>
            </p:nvSpPr>
            <p:spPr>
              <a:xfrm>
                <a:off x="13829577" y="3398289"/>
                <a:ext cx="206112" cy="2145952"/>
              </a:xfrm>
              <a:prstGeom prst="rect">
                <a:avLst/>
              </a:prstGeom>
              <a:solidFill>
                <a:schemeClr val="bg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49" name="Rektangel 48">
                <a:extLst>
                  <a:ext uri="{FF2B5EF4-FFF2-40B4-BE49-F238E27FC236}">
                    <a16:creationId xmlns:a16="http://schemas.microsoft.com/office/drawing/2014/main" id="{3CE78F0B-5E6F-FDFC-363D-1A36F3D20BC9}"/>
                  </a:ext>
                </a:extLst>
              </p:cNvPr>
              <p:cNvSpPr/>
              <p:nvPr/>
            </p:nvSpPr>
            <p:spPr>
              <a:xfrm>
                <a:off x="14115533" y="3408895"/>
                <a:ext cx="206112" cy="214595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0" name="Tekstfelt 49">
                <a:extLst>
                  <a:ext uri="{FF2B5EF4-FFF2-40B4-BE49-F238E27FC236}">
                    <a16:creationId xmlns:a16="http://schemas.microsoft.com/office/drawing/2014/main" id="{E1EA694D-2CDD-E2B2-AFEE-2A908885AA86}"/>
                  </a:ext>
                </a:extLst>
              </p:cNvPr>
              <p:cNvSpPr txBox="1"/>
              <p:nvPr/>
            </p:nvSpPr>
            <p:spPr>
              <a:xfrm rot="16200000">
                <a:off x="11853202" y="4244377"/>
                <a:ext cx="712564" cy="2154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KU</a:t>
                </a:r>
              </a:p>
            </p:txBody>
          </p:sp>
          <p:sp>
            <p:nvSpPr>
              <p:cNvPr id="52" name="Tekstfelt 51">
                <a:extLst>
                  <a:ext uri="{FF2B5EF4-FFF2-40B4-BE49-F238E27FC236}">
                    <a16:creationId xmlns:a16="http://schemas.microsoft.com/office/drawing/2014/main" id="{94387BD5-C970-D60A-8236-790A5ADACC0E}"/>
                  </a:ext>
                </a:extLst>
              </p:cNvPr>
              <p:cNvSpPr txBox="1"/>
              <p:nvPr/>
            </p:nvSpPr>
            <p:spPr>
              <a:xfrm rot="16200000">
                <a:off x="12048569" y="4186640"/>
                <a:ext cx="879518" cy="2154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CBS</a:t>
                </a:r>
              </a:p>
            </p:txBody>
          </p:sp>
          <p:sp>
            <p:nvSpPr>
              <p:cNvPr id="53" name="Tekstfelt 52">
                <a:extLst>
                  <a:ext uri="{FF2B5EF4-FFF2-40B4-BE49-F238E27FC236}">
                    <a16:creationId xmlns:a16="http://schemas.microsoft.com/office/drawing/2014/main" id="{78DEA3D7-4D42-47ED-2162-DC8D9E6DBF55}"/>
                  </a:ext>
                </a:extLst>
              </p:cNvPr>
              <p:cNvSpPr txBox="1"/>
              <p:nvPr/>
            </p:nvSpPr>
            <p:spPr>
              <a:xfrm rot="16200000">
                <a:off x="12340400" y="4166693"/>
                <a:ext cx="882670" cy="2154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DTU</a:t>
                </a:r>
              </a:p>
            </p:txBody>
          </p:sp>
          <p:sp>
            <p:nvSpPr>
              <p:cNvPr id="55" name="Tekstfelt 54">
                <a:extLst>
                  <a:ext uri="{FF2B5EF4-FFF2-40B4-BE49-F238E27FC236}">
                    <a16:creationId xmlns:a16="http://schemas.microsoft.com/office/drawing/2014/main" id="{6B93D12D-9CC4-A5DB-D2E5-8F5C733B7EA5}"/>
                  </a:ext>
                </a:extLst>
              </p:cNvPr>
              <p:cNvSpPr txBox="1"/>
              <p:nvPr/>
            </p:nvSpPr>
            <p:spPr>
              <a:xfrm rot="16200000">
                <a:off x="12628103" y="4152818"/>
                <a:ext cx="879518" cy="2154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AAU</a:t>
                </a:r>
              </a:p>
            </p:txBody>
          </p:sp>
          <p:sp>
            <p:nvSpPr>
              <p:cNvPr id="56" name="Tekstfelt 55">
                <a:extLst>
                  <a:ext uri="{FF2B5EF4-FFF2-40B4-BE49-F238E27FC236}">
                    <a16:creationId xmlns:a16="http://schemas.microsoft.com/office/drawing/2014/main" id="{983C19A9-5FD8-44A9-C969-BFE6711837C9}"/>
                  </a:ext>
                </a:extLst>
              </p:cNvPr>
              <p:cNvSpPr txBox="1"/>
              <p:nvPr/>
            </p:nvSpPr>
            <p:spPr>
              <a:xfrm rot="16200000">
                <a:off x="12906352" y="4168916"/>
                <a:ext cx="895269" cy="2154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SDU</a:t>
                </a:r>
              </a:p>
            </p:txBody>
          </p:sp>
          <p:sp>
            <p:nvSpPr>
              <p:cNvPr id="57" name="Tekstfelt 56">
                <a:extLst>
                  <a:ext uri="{FF2B5EF4-FFF2-40B4-BE49-F238E27FC236}">
                    <a16:creationId xmlns:a16="http://schemas.microsoft.com/office/drawing/2014/main" id="{0D899ACA-B5CE-EE37-9CF0-3B3EEDD79BF7}"/>
                  </a:ext>
                </a:extLst>
              </p:cNvPr>
              <p:cNvSpPr txBox="1"/>
              <p:nvPr/>
            </p:nvSpPr>
            <p:spPr>
              <a:xfrm rot="16200000">
                <a:off x="13184604" y="4156067"/>
                <a:ext cx="911019" cy="2154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RUC</a:t>
                </a:r>
              </a:p>
            </p:txBody>
          </p:sp>
          <p:sp>
            <p:nvSpPr>
              <p:cNvPr id="58" name="Tekstfelt 57">
                <a:extLst>
                  <a:ext uri="{FF2B5EF4-FFF2-40B4-BE49-F238E27FC236}">
                    <a16:creationId xmlns:a16="http://schemas.microsoft.com/office/drawing/2014/main" id="{7928BCCD-674A-9850-E8C7-797480B310AA}"/>
                  </a:ext>
                </a:extLst>
              </p:cNvPr>
              <p:cNvSpPr txBox="1"/>
              <p:nvPr/>
            </p:nvSpPr>
            <p:spPr>
              <a:xfrm rot="16200000">
                <a:off x="13534323" y="4214201"/>
                <a:ext cx="769270" cy="21544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ITU</a:t>
                </a:r>
              </a:p>
            </p:txBody>
          </p:sp>
          <p:sp>
            <p:nvSpPr>
              <p:cNvPr id="59" name="Tekstfelt 58">
                <a:extLst>
                  <a:ext uri="{FF2B5EF4-FFF2-40B4-BE49-F238E27FC236}">
                    <a16:creationId xmlns:a16="http://schemas.microsoft.com/office/drawing/2014/main" id="{CFD7D105-7F21-FB06-FBC1-740596E67B43}"/>
                  </a:ext>
                </a:extLst>
              </p:cNvPr>
              <p:cNvSpPr txBox="1"/>
              <p:nvPr/>
            </p:nvSpPr>
            <p:spPr>
              <a:xfrm rot="16200000">
                <a:off x="13773587" y="4175136"/>
                <a:ext cx="892118" cy="21544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black">
                        <a:lumMod val="65000"/>
                        <a:lumOff val="35000"/>
                      </a:prstClr>
                    </a:solidFill>
                    <a:effectLst/>
                    <a:uLnTx/>
                    <a:uFillTx/>
                    <a:latin typeface="Arial" panose="020B0604020202020204"/>
                    <a:ea typeface="+mn-ea"/>
                    <a:cs typeface="+mn-cs"/>
                  </a:rPr>
                  <a:t>ØSS</a:t>
                </a:r>
              </a:p>
            </p:txBody>
          </p:sp>
        </p:grpSp>
        <p:sp>
          <p:nvSpPr>
            <p:cNvPr id="60" name="Tekstfelt 59">
              <a:extLst>
                <a:ext uri="{FF2B5EF4-FFF2-40B4-BE49-F238E27FC236}">
                  <a16:creationId xmlns:a16="http://schemas.microsoft.com/office/drawing/2014/main" id="{D1559E6A-D71B-4CA1-0A17-48FF9F328FB0}"/>
                </a:ext>
              </a:extLst>
            </p:cNvPr>
            <p:cNvSpPr txBox="1"/>
            <p:nvPr/>
          </p:nvSpPr>
          <p:spPr>
            <a:xfrm>
              <a:off x="12381889" y="3164960"/>
              <a:ext cx="1852553" cy="215444"/>
            </a:xfrm>
            <a:prstGeom prst="rect">
              <a:avLst/>
            </a:prstGeom>
            <a:noFill/>
            <a:ln>
              <a:noFill/>
              <a:prstDash val="solid"/>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Implementeringsprojekter </a:t>
              </a:r>
            </a:p>
          </p:txBody>
        </p:sp>
      </p:grpSp>
      <p:sp>
        <p:nvSpPr>
          <p:cNvPr id="152" name="Rektangel: afrundede hjørner 151">
            <a:extLst>
              <a:ext uri="{FF2B5EF4-FFF2-40B4-BE49-F238E27FC236}">
                <a16:creationId xmlns:a16="http://schemas.microsoft.com/office/drawing/2014/main" id="{DAFA6E82-B5E6-B551-8EEB-C559E52644B2}"/>
              </a:ext>
            </a:extLst>
          </p:cNvPr>
          <p:cNvSpPr/>
          <p:nvPr/>
        </p:nvSpPr>
        <p:spPr>
          <a:xfrm rot="5400000">
            <a:off x="7218450" y="3892192"/>
            <a:ext cx="2630783" cy="869335"/>
          </a:xfrm>
          <a:prstGeom prst="roundRect">
            <a:avLst/>
          </a:prstGeom>
          <a:solidFill>
            <a:srgbClr val="6D9DA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Transition og Drift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51" name="Rektangel: afrundede hjørner 150">
            <a:extLst>
              <a:ext uri="{FF2B5EF4-FFF2-40B4-BE49-F238E27FC236}">
                <a16:creationId xmlns:a16="http://schemas.microsoft.com/office/drawing/2014/main" id="{B03E8F2C-8740-82DC-2AF3-225A47DED3E0}"/>
              </a:ext>
            </a:extLst>
          </p:cNvPr>
          <p:cNvSpPr/>
          <p:nvPr/>
        </p:nvSpPr>
        <p:spPr>
          <a:xfrm rot="5400000">
            <a:off x="8322751" y="3927895"/>
            <a:ext cx="2633299" cy="800444"/>
          </a:xfrm>
          <a:prstGeom prst="roundRect">
            <a:avLst/>
          </a:prstGeom>
          <a:solidFill>
            <a:srgbClr val="6D9DA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Organisatoris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Implementer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5" name="Rektangel: afrundede hjørner 64">
            <a:extLst>
              <a:ext uri="{FF2B5EF4-FFF2-40B4-BE49-F238E27FC236}">
                <a16:creationId xmlns:a16="http://schemas.microsoft.com/office/drawing/2014/main" id="{0DBAE4A0-FAEE-B99C-2665-258B34D6A025}"/>
              </a:ext>
            </a:extLst>
          </p:cNvPr>
          <p:cNvSpPr/>
          <p:nvPr/>
        </p:nvSpPr>
        <p:spPr>
          <a:xfrm rot="5400000">
            <a:off x="9360192" y="3926764"/>
            <a:ext cx="2631039" cy="800444"/>
          </a:xfrm>
          <a:prstGeom prst="roundRect">
            <a:avLst/>
          </a:prstGeom>
          <a:solidFill>
            <a:srgbClr val="6D9DA0"/>
          </a:solidFill>
        </p:spPr>
        <p:style>
          <a:lnRef idx="2">
            <a:schemeClr val="accent1">
              <a:shade val="50000"/>
            </a:schemeClr>
          </a:lnRef>
          <a:fillRef idx="1">
            <a:schemeClr val="accent1"/>
          </a:fillRef>
          <a:effectRef idx="0">
            <a:schemeClr val="accent1"/>
          </a:effectRef>
          <a:fontRef idx="minor">
            <a:schemeClr val="lt1"/>
          </a:fontRef>
        </p:style>
        <p:txBody>
          <a:bodyPr vert="vert27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Pilot</a:t>
            </a: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 </a:t>
            </a:r>
          </a:p>
        </p:txBody>
      </p:sp>
      <p:sp>
        <p:nvSpPr>
          <p:cNvPr id="182" name="Tekstfelt 95">
            <a:extLst>
              <a:ext uri="{FF2B5EF4-FFF2-40B4-BE49-F238E27FC236}">
                <a16:creationId xmlns:a16="http://schemas.microsoft.com/office/drawing/2014/main" id="{07AE0EA4-EB79-8421-C589-841CE0D1B08C}"/>
              </a:ext>
            </a:extLst>
          </p:cNvPr>
          <p:cNvSpPr txBox="1"/>
          <p:nvPr/>
        </p:nvSpPr>
        <p:spPr>
          <a:xfrm>
            <a:off x="4371277" y="4139138"/>
            <a:ext cx="1295994" cy="215444"/>
          </a:xfrm>
          <a:prstGeom prst="rect">
            <a:avLst/>
          </a:prstGeom>
          <a:noFill/>
        </p:spPr>
        <p:txBody>
          <a:bodyPr wrap="square">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0000"/>
                </a:solidFill>
                <a:effectLst/>
                <a:uLnTx/>
                <a:uFillTx/>
                <a:latin typeface="Arial" panose="020B0604020202020204"/>
                <a:ea typeface="+mn-ea"/>
                <a:cs typeface="+mn-cs"/>
              </a:rPr>
              <a:t>Allan Vestergaard</a:t>
            </a:r>
          </a:p>
        </p:txBody>
      </p:sp>
      <p:cxnSp>
        <p:nvCxnSpPr>
          <p:cNvPr id="194" name="Lige forbindelse 42">
            <a:extLst>
              <a:ext uri="{FF2B5EF4-FFF2-40B4-BE49-F238E27FC236}">
                <a16:creationId xmlns:a16="http://schemas.microsoft.com/office/drawing/2014/main" id="{F00D797B-A04B-7DBB-D2A1-4DFBCCA7F63F}"/>
              </a:ext>
            </a:extLst>
          </p:cNvPr>
          <p:cNvCxnSpPr>
            <a:cxnSpLocks/>
          </p:cNvCxnSpPr>
          <p:nvPr/>
        </p:nvCxnSpPr>
        <p:spPr>
          <a:xfrm>
            <a:off x="3632274" y="2595500"/>
            <a:ext cx="0" cy="111279"/>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86" name="Rektangel: afrundede hjørner 8">
            <a:extLst>
              <a:ext uri="{FF2B5EF4-FFF2-40B4-BE49-F238E27FC236}">
                <a16:creationId xmlns:a16="http://schemas.microsoft.com/office/drawing/2014/main" id="{880B5D14-2BF6-DA2A-6F73-AEB22A010ABE}"/>
              </a:ext>
            </a:extLst>
          </p:cNvPr>
          <p:cNvSpPr/>
          <p:nvPr/>
        </p:nvSpPr>
        <p:spPr>
          <a:xfrm>
            <a:off x="2731694" y="2531485"/>
            <a:ext cx="801860" cy="773966"/>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Product </a:t>
            </a:r>
            <a:r>
              <a:rPr kumimoji="0" lang="da-DK" sz="800" b="0" i="0" u="none" strike="noStrike" kern="1200" cap="none" spc="0" normalizeH="0" baseline="0" noProof="0" err="1">
                <a:ln>
                  <a:noFill/>
                </a:ln>
                <a:solidFill>
                  <a:prstClr val="white"/>
                </a:solidFill>
                <a:effectLst/>
                <a:uLnTx/>
                <a:uFillTx/>
                <a:latin typeface="Arial" panose="020B0604020202020204"/>
                <a:ea typeface="+mn-ea"/>
                <a:cs typeface="+mn-cs"/>
              </a:rPr>
              <a:t>Owner</a:t>
            </a:r>
            <a:endParaRPr kumimoji="0" lang="da-DK" sz="800" b="0" i="0" u="none" strike="noStrike" kern="1200" cap="none" spc="0" normalizeH="0" baseline="0" noProof="0">
              <a:ln>
                <a:noFill/>
              </a:ln>
              <a:solidFill>
                <a:prstClr val="white"/>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Funktionel og Teknisk)</a:t>
            </a:r>
          </a:p>
        </p:txBody>
      </p:sp>
      <p:sp>
        <p:nvSpPr>
          <p:cNvPr id="23" name="Ellipse 22">
            <a:extLst>
              <a:ext uri="{FF2B5EF4-FFF2-40B4-BE49-F238E27FC236}">
                <a16:creationId xmlns:a16="http://schemas.microsoft.com/office/drawing/2014/main" id="{CE2B7341-4611-20B0-01DF-A0B5AB6BC2B9}"/>
              </a:ext>
            </a:extLst>
          </p:cNvPr>
          <p:cNvSpPr/>
          <p:nvPr/>
        </p:nvSpPr>
        <p:spPr>
          <a:xfrm>
            <a:off x="3222352" y="2182295"/>
            <a:ext cx="913638" cy="44420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Michael Blohm Laursen </a:t>
            </a:r>
          </a:p>
        </p:txBody>
      </p:sp>
      <p:cxnSp>
        <p:nvCxnSpPr>
          <p:cNvPr id="197" name="Lige forbindelse 42">
            <a:extLst>
              <a:ext uri="{FF2B5EF4-FFF2-40B4-BE49-F238E27FC236}">
                <a16:creationId xmlns:a16="http://schemas.microsoft.com/office/drawing/2014/main" id="{9CBBD5FB-EDFC-BA57-2ED1-521D96DD456B}"/>
              </a:ext>
            </a:extLst>
          </p:cNvPr>
          <p:cNvCxnSpPr>
            <a:cxnSpLocks/>
          </p:cNvCxnSpPr>
          <p:nvPr/>
        </p:nvCxnSpPr>
        <p:spPr>
          <a:xfrm>
            <a:off x="2613294" y="2571180"/>
            <a:ext cx="0" cy="238412"/>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 name="Ellipse 12">
            <a:extLst>
              <a:ext uri="{FF2B5EF4-FFF2-40B4-BE49-F238E27FC236}">
                <a16:creationId xmlns:a16="http://schemas.microsoft.com/office/drawing/2014/main" id="{1623EDEE-CAED-5E30-EB71-5C366D0992AC}"/>
              </a:ext>
            </a:extLst>
          </p:cNvPr>
          <p:cNvSpPr/>
          <p:nvPr/>
        </p:nvSpPr>
        <p:spPr>
          <a:xfrm>
            <a:off x="2360334" y="2174724"/>
            <a:ext cx="941148" cy="457582"/>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Hans Bredenfeld Matzen</a:t>
            </a:r>
          </a:p>
        </p:txBody>
      </p:sp>
      <p:cxnSp>
        <p:nvCxnSpPr>
          <p:cNvPr id="74" name="Lige forbindelse 144">
            <a:extLst>
              <a:ext uri="{FF2B5EF4-FFF2-40B4-BE49-F238E27FC236}">
                <a16:creationId xmlns:a16="http://schemas.microsoft.com/office/drawing/2014/main" id="{EA363F86-AE2D-AD11-7FC7-349D8122A2B2}"/>
              </a:ext>
            </a:extLst>
          </p:cNvPr>
          <p:cNvCxnSpPr>
            <a:cxnSpLocks/>
          </p:cNvCxnSpPr>
          <p:nvPr/>
        </p:nvCxnSpPr>
        <p:spPr>
          <a:xfrm flipH="1">
            <a:off x="5574156" y="1984089"/>
            <a:ext cx="1058701"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15" name="Rektangel: afrundede hjørner 8">
            <a:extLst>
              <a:ext uri="{FF2B5EF4-FFF2-40B4-BE49-F238E27FC236}">
                <a16:creationId xmlns:a16="http://schemas.microsoft.com/office/drawing/2014/main" id="{FDE2673F-CBB6-327F-F1A2-94056C604AE8}"/>
              </a:ext>
            </a:extLst>
          </p:cNvPr>
          <p:cNvSpPr/>
          <p:nvPr/>
        </p:nvSpPr>
        <p:spPr>
          <a:xfrm>
            <a:off x="4228784" y="1836061"/>
            <a:ext cx="1363632" cy="243692"/>
          </a:xfrm>
          <a:prstGeom prst="roundRect">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PMO</a:t>
            </a:r>
          </a:p>
        </p:txBody>
      </p:sp>
      <p:sp>
        <p:nvSpPr>
          <p:cNvPr id="39" name="Rektangel: afrundede hjørner 38">
            <a:extLst>
              <a:ext uri="{FF2B5EF4-FFF2-40B4-BE49-F238E27FC236}">
                <a16:creationId xmlns:a16="http://schemas.microsoft.com/office/drawing/2014/main" id="{337EAFD6-DB2F-BB57-4EC5-678DE34E82C2}"/>
              </a:ext>
            </a:extLst>
          </p:cNvPr>
          <p:cNvSpPr/>
          <p:nvPr/>
        </p:nvSpPr>
        <p:spPr>
          <a:xfrm>
            <a:off x="7685651" y="1856727"/>
            <a:ext cx="1318739" cy="261291"/>
          </a:xfrm>
          <a:prstGeom prst="roundRect">
            <a:avLst/>
          </a:prstGeom>
          <a:solidFill>
            <a:srgbClr val="3764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prstClr val="white"/>
                </a:solidFill>
                <a:effectLst/>
                <a:uLnTx/>
                <a:uFillTx/>
                <a:latin typeface="Arial" panose="020B0604020202020204"/>
                <a:ea typeface="+mn-ea"/>
                <a:cs typeface="+mn-cs"/>
              </a:rPr>
              <a:t>Programsekretariat</a:t>
            </a:r>
          </a:p>
        </p:txBody>
      </p:sp>
      <p:cxnSp>
        <p:nvCxnSpPr>
          <p:cNvPr id="64" name="Lige forbindelse 42">
            <a:extLst>
              <a:ext uri="{FF2B5EF4-FFF2-40B4-BE49-F238E27FC236}">
                <a16:creationId xmlns:a16="http://schemas.microsoft.com/office/drawing/2014/main" id="{EF2C1026-F422-C9A6-09CC-D2E7AF9C981C}"/>
              </a:ext>
            </a:extLst>
          </p:cNvPr>
          <p:cNvCxnSpPr>
            <a:cxnSpLocks/>
            <a:endCxn id="42" idx="0"/>
          </p:cNvCxnSpPr>
          <p:nvPr/>
        </p:nvCxnSpPr>
        <p:spPr>
          <a:xfrm flipH="1" flipV="1">
            <a:off x="8289657" y="2198252"/>
            <a:ext cx="229125" cy="80234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67" name="Lige forbindelse 42">
            <a:extLst>
              <a:ext uri="{FF2B5EF4-FFF2-40B4-BE49-F238E27FC236}">
                <a16:creationId xmlns:a16="http://schemas.microsoft.com/office/drawing/2014/main" id="{C699571F-3E2A-BA48-5083-485E463FC5EF}"/>
              </a:ext>
            </a:extLst>
          </p:cNvPr>
          <p:cNvCxnSpPr>
            <a:cxnSpLocks/>
          </p:cNvCxnSpPr>
          <p:nvPr/>
        </p:nvCxnSpPr>
        <p:spPr>
          <a:xfrm flipH="1" flipV="1">
            <a:off x="9620989" y="2215872"/>
            <a:ext cx="525" cy="80234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1" name="Lige forbindelse 42">
            <a:extLst>
              <a:ext uri="{FF2B5EF4-FFF2-40B4-BE49-F238E27FC236}">
                <a16:creationId xmlns:a16="http://schemas.microsoft.com/office/drawing/2014/main" id="{BB210799-4514-FA57-D708-078A9BBE7C33}"/>
              </a:ext>
            </a:extLst>
          </p:cNvPr>
          <p:cNvCxnSpPr>
            <a:cxnSpLocks/>
          </p:cNvCxnSpPr>
          <p:nvPr/>
        </p:nvCxnSpPr>
        <p:spPr>
          <a:xfrm flipH="1" flipV="1">
            <a:off x="10673441" y="2209764"/>
            <a:ext cx="525" cy="802341"/>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42" name="Ellipse 41">
            <a:extLst>
              <a:ext uri="{FF2B5EF4-FFF2-40B4-BE49-F238E27FC236}">
                <a16:creationId xmlns:a16="http://schemas.microsoft.com/office/drawing/2014/main" id="{A018DAB7-87C5-F9E1-AF48-184308F7D668}"/>
              </a:ext>
            </a:extLst>
          </p:cNvPr>
          <p:cNvSpPr/>
          <p:nvPr/>
        </p:nvSpPr>
        <p:spPr>
          <a:xfrm>
            <a:off x="7588702" y="2198252"/>
            <a:ext cx="1401910" cy="50536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900" b="0" i="0" u="none" strike="noStrike" kern="1200" cap="none" spc="0" normalizeH="0" baseline="0" noProof="0">
                <a:ln>
                  <a:noFill/>
                </a:ln>
                <a:solidFill>
                  <a:srgbClr val="FF0000"/>
                </a:solidFill>
                <a:effectLst/>
                <a:uLnTx/>
                <a:uFillTx/>
                <a:latin typeface="Arial" panose="020B0604020202020204"/>
                <a:ea typeface="+mn-ea"/>
                <a:cs typeface="+mn-cs"/>
              </a:rPr>
              <a:t>Mette Thomassen</a:t>
            </a:r>
          </a:p>
        </p:txBody>
      </p:sp>
      <p:sp>
        <p:nvSpPr>
          <p:cNvPr id="54" name="Rektangel: afrundede hjørner 8">
            <a:extLst>
              <a:ext uri="{FF2B5EF4-FFF2-40B4-BE49-F238E27FC236}">
                <a16:creationId xmlns:a16="http://schemas.microsoft.com/office/drawing/2014/main" id="{4AA4FC9E-0867-26AC-7130-F572423B32F0}"/>
              </a:ext>
            </a:extLst>
          </p:cNvPr>
          <p:cNvSpPr/>
          <p:nvPr/>
        </p:nvSpPr>
        <p:spPr>
          <a:xfrm>
            <a:off x="8099174" y="2737142"/>
            <a:ext cx="869335" cy="226341"/>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Projektleder</a:t>
            </a:r>
          </a:p>
        </p:txBody>
      </p:sp>
      <p:sp>
        <p:nvSpPr>
          <p:cNvPr id="40" name="Ellipse 39">
            <a:extLst>
              <a:ext uri="{FF2B5EF4-FFF2-40B4-BE49-F238E27FC236}">
                <a16:creationId xmlns:a16="http://schemas.microsoft.com/office/drawing/2014/main" id="{552C49EA-F976-BE5D-B67B-9878B76B3019}"/>
              </a:ext>
            </a:extLst>
          </p:cNvPr>
          <p:cNvSpPr/>
          <p:nvPr/>
        </p:nvSpPr>
        <p:spPr>
          <a:xfrm>
            <a:off x="9149159" y="2193012"/>
            <a:ext cx="939204" cy="50500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50" b="0" i="0" u="none" strike="noStrike" kern="1200" cap="none" spc="0" normalizeH="0" baseline="0" noProof="0">
                <a:ln>
                  <a:noFill/>
                </a:ln>
                <a:solidFill>
                  <a:srgbClr val="FF0000"/>
                </a:solidFill>
                <a:effectLst/>
                <a:uLnTx/>
                <a:uFillTx/>
                <a:latin typeface="Arial" panose="020B0604020202020204"/>
                <a:ea typeface="+mn-ea"/>
                <a:cs typeface="+mn-cs"/>
              </a:rPr>
              <a:t>Karen</a:t>
            </a:r>
            <a:r>
              <a:rPr kumimoji="0" lang="da-DK" sz="700" b="0" i="0" u="none" strike="noStrike" kern="1200" cap="none" spc="0" normalizeH="0" baseline="0" noProof="0">
                <a:ln>
                  <a:noFill/>
                </a:ln>
                <a:solidFill>
                  <a:srgbClr val="FF0000"/>
                </a:solidFill>
                <a:effectLst/>
                <a:uLnTx/>
                <a:uFillTx/>
                <a:latin typeface="Arial" panose="020B0604020202020204"/>
                <a:ea typeface="+mn-ea"/>
                <a:cs typeface="+mn-cs"/>
              </a:rPr>
              <a:t> </a:t>
            </a:r>
            <a:r>
              <a:rPr kumimoji="0" lang="da-DK" sz="900" b="0" i="0" u="none" strike="noStrike" kern="1200" cap="none" spc="0" normalizeH="0" baseline="0" noProof="0">
                <a:ln>
                  <a:noFill/>
                </a:ln>
                <a:solidFill>
                  <a:srgbClr val="FF0000"/>
                </a:solidFill>
                <a:effectLst/>
                <a:uLnTx/>
                <a:uFillTx/>
                <a:latin typeface="Arial" panose="020B0604020202020204"/>
                <a:ea typeface="+mn-ea"/>
                <a:cs typeface="+mn-cs"/>
              </a:rPr>
              <a:t>Kondrup</a:t>
            </a:r>
            <a:endParaRPr kumimoji="0" lang="da-DK" sz="900" b="0" i="0" u="none" strike="noStrike" kern="1200" cap="none" spc="0" normalizeH="0" baseline="0" noProof="0">
              <a:ln>
                <a:noFill/>
              </a:ln>
              <a:solidFill>
                <a:srgbClr val="FF0000"/>
              </a:solidFill>
              <a:effectLst/>
              <a:uLnTx/>
              <a:uFillTx/>
              <a:latin typeface="Arial" panose="020B0604020202020204"/>
              <a:ea typeface="+mn-ea"/>
              <a:cs typeface="Arial"/>
            </a:endParaRPr>
          </a:p>
        </p:txBody>
      </p:sp>
      <p:sp>
        <p:nvSpPr>
          <p:cNvPr id="61" name="Rektangel: afrundede hjørner 8">
            <a:extLst>
              <a:ext uri="{FF2B5EF4-FFF2-40B4-BE49-F238E27FC236}">
                <a16:creationId xmlns:a16="http://schemas.microsoft.com/office/drawing/2014/main" id="{82AAB83D-AFF9-D1A6-6984-21B0D0D51C03}"/>
              </a:ext>
            </a:extLst>
          </p:cNvPr>
          <p:cNvSpPr/>
          <p:nvPr/>
        </p:nvSpPr>
        <p:spPr>
          <a:xfrm>
            <a:off x="9178674" y="2737142"/>
            <a:ext cx="869335" cy="226341"/>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Projektleder</a:t>
            </a:r>
          </a:p>
        </p:txBody>
      </p:sp>
      <p:sp>
        <p:nvSpPr>
          <p:cNvPr id="62" name="Rektangel: afrundede hjørner 8">
            <a:extLst>
              <a:ext uri="{FF2B5EF4-FFF2-40B4-BE49-F238E27FC236}">
                <a16:creationId xmlns:a16="http://schemas.microsoft.com/office/drawing/2014/main" id="{E52CCA4E-E000-87AB-08D2-05E347A6F9CD}"/>
              </a:ext>
            </a:extLst>
          </p:cNvPr>
          <p:cNvSpPr/>
          <p:nvPr/>
        </p:nvSpPr>
        <p:spPr>
          <a:xfrm>
            <a:off x="10226424" y="2737142"/>
            <a:ext cx="869335" cy="226341"/>
          </a:xfrm>
          <a:prstGeom prst="roundRect">
            <a:avLst/>
          </a:prstGeom>
          <a:solidFill>
            <a:srgbClr val="698B8C"/>
          </a:solidFill>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prstClr val="white"/>
                </a:solidFill>
                <a:effectLst/>
                <a:uLnTx/>
                <a:uFillTx/>
                <a:latin typeface="Arial" panose="020B0604020202020204"/>
                <a:ea typeface="+mn-ea"/>
                <a:cs typeface="+mn-cs"/>
              </a:rPr>
              <a:t>Projektleder</a:t>
            </a:r>
          </a:p>
        </p:txBody>
      </p:sp>
      <p:sp>
        <p:nvSpPr>
          <p:cNvPr id="69" name="Ellipse 68">
            <a:extLst>
              <a:ext uri="{FF2B5EF4-FFF2-40B4-BE49-F238E27FC236}">
                <a16:creationId xmlns:a16="http://schemas.microsoft.com/office/drawing/2014/main" id="{C4AA51F9-BB8A-B9DE-85B8-D69854C44090}"/>
              </a:ext>
            </a:extLst>
          </p:cNvPr>
          <p:cNvSpPr/>
          <p:nvPr/>
        </p:nvSpPr>
        <p:spPr>
          <a:xfrm>
            <a:off x="10192774" y="2193012"/>
            <a:ext cx="939204" cy="505946"/>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700" b="0" i="0" u="none" strike="noStrike" kern="1200" cap="none" spc="0" normalizeH="0" baseline="0" noProof="0">
                <a:ln>
                  <a:noFill/>
                </a:ln>
                <a:solidFill>
                  <a:prstClr val="white"/>
                </a:solidFill>
                <a:effectLst/>
                <a:uLnTx/>
                <a:uFillTx/>
                <a:latin typeface="Arial" panose="020B0604020202020204"/>
                <a:ea typeface="+mn-ea"/>
                <a:cs typeface="+mn-cs"/>
              </a:rPr>
              <a:t>Maiken Ventrup  Forsmark</a:t>
            </a:r>
          </a:p>
        </p:txBody>
      </p:sp>
      <p:cxnSp>
        <p:nvCxnSpPr>
          <p:cNvPr id="75" name="Lige forbindelse 42">
            <a:extLst>
              <a:ext uri="{FF2B5EF4-FFF2-40B4-BE49-F238E27FC236}">
                <a16:creationId xmlns:a16="http://schemas.microsoft.com/office/drawing/2014/main" id="{D37465F1-2884-B9B6-00DB-BEB7219BD47D}"/>
              </a:ext>
            </a:extLst>
          </p:cNvPr>
          <p:cNvCxnSpPr>
            <a:cxnSpLocks/>
          </p:cNvCxnSpPr>
          <p:nvPr/>
        </p:nvCxnSpPr>
        <p:spPr>
          <a:xfrm flipH="1" flipV="1">
            <a:off x="3481145" y="3497186"/>
            <a:ext cx="73753" cy="32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78" name="Lige forbindelse 42">
            <a:extLst>
              <a:ext uri="{FF2B5EF4-FFF2-40B4-BE49-F238E27FC236}">
                <a16:creationId xmlns:a16="http://schemas.microsoft.com/office/drawing/2014/main" id="{9B4C2F03-49FC-E65B-2CF1-DC32A1411589}"/>
              </a:ext>
            </a:extLst>
          </p:cNvPr>
          <p:cNvCxnSpPr>
            <a:cxnSpLocks/>
          </p:cNvCxnSpPr>
          <p:nvPr/>
        </p:nvCxnSpPr>
        <p:spPr>
          <a:xfrm flipH="1" flipV="1">
            <a:off x="3478874" y="3754215"/>
            <a:ext cx="73753" cy="32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99" name="Lige forbindelse 42">
            <a:extLst>
              <a:ext uri="{FF2B5EF4-FFF2-40B4-BE49-F238E27FC236}">
                <a16:creationId xmlns:a16="http://schemas.microsoft.com/office/drawing/2014/main" id="{56A6864E-913F-F46E-4FE2-F96E1DCE04D5}"/>
              </a:ext>
            </a:extLst>
          </p:cNvPr>
          <p:cNvCxnSpPr>
            <a:cxnSpLocks/>
          </p:cNvCxnSpPr>
          <p:nvPr/>
        </p:nvCxnSpPr>
        <p:spPr>
          <a:xfrm flipH="1" flipV="1">
            <a:off x="3485694" y="3961203"/>
            <a:ext cx="73753" cy="32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0" name="Lige forbindelse 42">
            <a:extLst>
              <a:ext uri="{FF2B5EF4-FFF2-40B4-BE49-F238E27FC236}">
                <a16:creationId xmlns:a16="http://schemas.microsoft.com/office/drawing/2014/main" id="{8F14AA2E-2CAE-8E1D-05ED-172A5C655B9A}"/>
              </a:ext>
            </a:extLst>
          </p:cNvPr>
          <p:cNvCxnSpPr>
            <a:cxnSpLocks/>
          </p:cNvCxnSpPr>
          <p:nvPr/>
        </p:nvCxnSpPr>
        <p:spPr>
          <a:xfrm flipH="1" flipV="1">
            <a:off x="3478869" y="4218237"/>
            <a:ext cx="73753" cy="32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1" name="Lige forbindelse 42">
            <a:extLst>
              <a:ext uri="{FF2B5EF4-FFF2-40B4-BE49-F238E27FC236}">
                <a16:creationId xmlns:a16="http://schemas.microsoft.com/office/drawing/2014/main" id="{EC887200-68BD-2B2B-0845-3FF8EDBA5EB1}"/>
              </a:ext>
            </a:extLst>
          </p:cNvPr>
          <p:cNvCxnSpPr>
            <a:cxnSpLocks/>
          </p:cNvCxnSpPr>
          <p:nvPr/>
        </p:nvCxnSpPr>
        <p:spPr>
          <a:xfrm flipH="1" flipV="1">
            <a:off x="3475535" y="4466169"/>
            <a:ext cx="73753" cy="32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2" name="Lige forbindelse 42">
            <a:extLst>
              <a:ext uri="{FF2B5EF4-FFF2-40B4-BE49-F238E27FC236}">
                <a16:creationId xmlns:a16="http://schemas.microsoft.com/office/drawing/2014/main" id="{BD518EFD-4BF9-8C9C-8734-032F99D392B6}"/>
              </a:ext>
            </a:extLst>
          </p:cNvPr>
          <p:cNvCxnSpPr>
            <a:cxnSpLocks/>
          </p:cNvCxnSpPr>
          <p:nvPr/>
        </p:nvCxnSpPr>
        <p:spPr>
          <a:xfrm flipH="1" flipV="1">
            <a:off x="3473262" y="4718653"/>
            <a:ext cx="73753" cy="32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3" name="Lige forbindelse 42">
            <a:extLst>
              <a:ext uri="{FF2B5EF4-FFF2-40B4-BE49-F238E27FC236}">
                <a16:creationId xmlns:a16="http://schemas.microsoft.com/office/drawing/2014/main" id="{BB519232-E855-3CAF-CC40-77C759B045F9}"/>
              </a:ext>
            </a:extLst>
          </p:cNvPr>
          <p:cNvCxnSpPr>
            <a:cxnSpLocks/>
          </p:cNvCxnSpPr>
          <p:nvPr/>
        </p:nvCxnSpPr>
        <p:spPr>
          <a:xfrm flipH="1" flipV="1">
            <a:off x="3476599" y="4975687"/>
            <a:ext cx="73753" cy="32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4" name="Lige forbindelse 42">
            <a:extLst>
              <a:ext uri="{FF2B5EF4-FFF2-40B4-BE49-F238E27FC236}">
                <a16:creationId xmlns:a16="http://schemas.microsoft.com/office/drawing/2014/main" id="{BBB3A2AB-C4C2-C46C-7D50-59697A1FF914}"/>
              </a:ext>
            </a:extLst>
          </p:cNvPr>
          <p:cNvCxnSpPr>
            <a:cxnSpLocks/>
          </p:cNvCxnSpPr>
          <p:nvPr/>
        </p:nvCxnSpPr>
        <p:spPr>
          <a:xfrm flipH="1" flipV="1">
            <a:off x="3474325" y="5246370"/>
            <a:ext cx="73753" cy="32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05" name="Lige forbindelse 42">
            <a:extLst>
              <a:ext uri="{FF2B5EF4-FFF2-40B4-BE49-F238E27FC236}">
                <a16:creationId xmlns:a16="http://schemas.microsoft.com/office/drawing/2014/main" id="{0E4219D8-4048-AF64-D14A-ACBE3C08BC9F}"/>
              </a:ext>
            </a:extLst>
          </p:cNvPr>
          <p:cNvCxnSpPr>
            <a:cxnSpLocks/>
          </p:cNvCxnSpPr>
          <p:nvPr/>
        </p:nvCxnSpPr>
        <p:spPr>
          <a:xfrm flipH="1" flipV="1">
            <a:off x="3475538" y="5494303"/>
            <a:ext cx="73753" cy="326"/>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5" name="Tekstfelt 95">
            <a:extLst>
              <a:ext uri="{FF2B5EF4-FFF2-40B4-BE49-F238E27FC236}">
                <a16:creationId xmlns:a16="http://schemas.microsoft.com/office/drawing/2014/main" id="{F40BE5FC-26AD-FC2B-FE40-19A6702CEA1B}"/>
              </a:ext>
            </a:extLst>
          </p:cNvPr>
          <p:cNvSpPr txBox="1"/>
          <p:nvPr/>
        </p:nvSpPr>
        <p:spPr>
          <a:xfrm>
            <a:off x="5753037" y="2798017"/>
            <a:ext cx="1295994" cy="215444"/>
          </a:xfrm>
          <a:prstGeom prst="rect">
            <a:avLst/>
          </a:prstGeom>
          <a:noFill/>
        </p:spPr>
        <p:txBody>
          <a:bodyPr wrap="square" lIns="91440" tIns="45720" rIns="91440" bIns="45720" anchor="t">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0000"/>
                </a:solidFill>
                <a:effectLst/>
                <a:uLnTx/>
                <a:uFillTx/>
                <a:latin typeface="Arial" panose="020B0604020202020204"/>
                <a:ea typeface="+mn-ea"/>
                <a:cs typeface="+mn-cs"/>
              </a:rPr>
              <a:t>Mette Thomassen</a:t>
            </a:r>
            <a:endParaRPr kumimoji="0" lang="en-US" sz="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6" name="Tekstfelt 95">
            <a:extLst>
              <a:ext uri="{FF2B5EF4-FFF2-40B4-BE49-F238E27FC236}">
                <a16:creationId xmlns:a16="http://schemas.microsoft.com/office/drawing/2014/main" id="{F35049CA-3497-483D-2B05-F0EC6A837809}"/>
              </a:ext>
            </a:extLst>
          </p:cNvPr>
          <p:cNvSpPr txBox="1"/>
          <p:nvPr/>
        </p:nvSpPr>
        <p:spPr>
          <a:xfrm>
            <a:off x="7581837" y="583136"/>
            <a:ext cx="1295994" cy="215444"/>
          </a:xfrm>
          <a:prstGeom prst="rect">
            <a:avLst/>
          </a:prstGeom>
          <a:noFill/>
        </p:spPr>
        <p:txBody>
          <a:bodyPr wrap="square" lIns="91440" tIns="45720" rIns="91440" bIns="45720" anchor="t">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0000"/>
                </a:solidFill>
                <a:effectLst/>
                <a:uLnTx/>
                <a:uFillTx/>
                <a:latin typeface="Arial" panose="020B0604020202020204"/>
                <a:ea typeface="+mn-ea"/>
                <a:cs typeface="Arial"/>
              </a:rPr>
              <a:t>Thomas </a:t>
            </a:r>
            <a:r>
              <a:rPr kumimoji="0" lang="da-DK" sz="800" b="0" i="0" u="none" strike="noStrike" kern="1200" cap="none" spc="0" normalizeH="0" baseline="0" noProof="0" err="1">
                <a:ln>
                  <a:noFill/>
                </a:ln>
                <a:solidFill>
                  <a:srgbClr val="FF0000"/>
                </a:solidFill>
                <a:effectLst/>
                <a:uLnTx/>
                <a:uFillTx/>
                <a:latin typeface="Arial" panose="020B0604020202020204"/>
                <a:ea typeface="+mn-ea"/>
                <a:cs typeface="Arial"/>
              </a:rPr>
              <a:t>Buchvald</a:t>
            </a:r>
            <a:r>
              <a:rPr kumimoji="0" lang="da-DK" sz="800" b="0" i="0" u="none" strike="noStrike" kern="1200" cap="none" spc="0" normalizeH="0" baseline="0" noProof="0">
                <a:ln>
                  <a:noFill/>
                </a:ln>
                <a:solidFill>
                  <a:srgbClr val="FF0000"/>
                </a:solidFill>
                <a:effectLst/>
                <a:uLnTx/>
                <a:uFillTx/>
                <a:latin typeface="Arial" panose="020B0604020202020204"/>
                <a:ea typeface="+mn-ea"/>
                <a:cs typeface="Arial"/>
              </a:rPr>
              <a:t> Vind</a:t>
            </a:r>
          </a:p>
        </p:txBody>
      </p:sp>
      <p:sp>
        <p:nvSpPr>
          <p:cNvPr id="37" name="Tekstfelt 95">
            <a:extLst>
              <a:ext uri="{FF2B5EF4-FFF2-40B4-BE49-F238E27FC236}">
                <a16:creationId xmlns:a16="http://schemas.microsoft.com/office/drawing/2014/main" id="{B46181FC-8A4A-8BA4-9EA2-03B5FB1411B7}"/>
              </a:ext>
            </a:extLst>
          </p:cNvPr>
          <p:cNvSpPr txBox="1"/>
          <p:nvPr/>
        </p:nvSpPr>
        <p:spPr>
          <a:xfrm>
            <a:off x="1160717" y="2107137"/>
            <a:ext cx="1295994" cy="215444"/>
          </a:xfrm>
          <a:prstGeom prst="rect">
            <a:avLst/>
          </a:prstGeom>
          <a:noFill/>
        </p:spPr>
        <p:txBody>
          <a:bodyPr wrap="square" lIns="91440" tIns="45720" rIns="91440" bIns="45720" anchor="t">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0000"/>
                </a:solidFill>
                <a:effectLst/>
                <a:uLnTx/>
                <a:uFillTx/>
                <a:latin typeface="Arial" panose="020B0604020202020204"/>
                <a:ea typeface="+mn-ea"/>
                <a:cs typeface="Arial"/>
              </a:rPr>
              <a:t>Stinne Hørup Hansen</a:t>
            </a:r>
          </a:p>
        </p:txBody>
      </p:sp>
      <p:sp>
        <p:nvSpPr>
          <p:cNvPr id="44" name="Tekstfelt 95">
            <a:extLst>
              <a:ext uri="{FF2B5EF4-FFF2-40B4-BE49-F238E27FC236}">
                <a16:creationId xmlns:a16="http://schemas.microsoft.com/office/drawing/2014/main" id="{411661EF-B670-9109-3BBE-252C2C675655}"/>
              </a:ext>
            </a:extLst>
          </p:cNvPr>
          <p:cNvSpPr txBox="1"/>
          <p:nvPr/>
        </p:nvSpPr>
        <p:spPr>
          <a:xfrm>
            <a:off x="-308763" y="2043887"/>
            <a:ext cx="2015065" cy="302955"/>
          </a:xfrm>
          <a:prstGeom prst="ellipse">
            <a:avLst/>
          </a:prstGeom>
          <a:noFill/>
        </p:spPr>
        <p:txBody>
          <a:bodyPr wrap="square" lIns="91440" tIns="45720" rIns="91440" bIns="45720" anchor="t">
            <a:spAutoFit/>
          </a:bodyPr>
          <a:lstStyle>
            <a:defPPr>
              <a:defRPr lang="da-DK"/>
            </a:defPPr>
            <a:lvl1pPr algn="ctr">
              <a:defRPr sz="800">
                <a:solidFill>
                  <a:schemeClr val="bg1"/>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0000"/>
                </a:solidFill>
                <a:effectLst/>
                <a:uLnTx/>
                <a:uFillTx/>
                <a:latin typeface="Arial" panose="020B0604020202020204"/>
                <a:ea typeface="+mn-ea"/>
                <a:cs typeface="Arial"/>
              </a:rPr>
              <a:t>Bue Raun Andersen</a:t>
            </a:r>
          </a:p>
        </p:txBody>
      </p:sp>
      <p:sp>
        <p:nvSpPr>
          <p:cNvPr id="5" name="Oval 4">
            <a:extLst>
              <a:ext uri="{FF2B5EF4-FFF2-40B4-BE49-F238E27FC236}">
                <a16:creationId xmlns:a16="http://schemas.microsoft.com/office/drawing/2014/main" id="{C954DC5B-DE39-34CF-C05F-E50E075FFC70}"/>
              </a:ext>
            </a:extLst>
          </p:cNvPr>
          <p:cNvSpPr/>
          <p:nvPr/>
        </p:nvSpPr>
        <p:spPr>
          <a:xfrm>
            <a:off x="9746864" y="2351593"/>
            <a:ext cx="300507" cy="21464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4" name="Oval 13">
            <a:extLst>
              <a:ext uri="{FF2B5EF4-FFF2-40B4-BE49-F238E27FC236}">
                <a16:creationId xmlns:a16="http://schemas.microsoft.com/office/drawing/2014/main" id="{18C2A25C-48EE-8C0F-0744-8B65AD0D107A}"/>
              </a:ext>
            </a:extLst>
          </p:cNvPr>
          <p:cNvSpPr/>
          <p:nvPr/>
        </p:nvSpPr>
        <p:spPr>
          <a:xfrm>
            <a:off x="8577033" y="2319396"/>
            <a:ext cx="300507" cy="21464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51" name="Oval 50">
            <a:extLst>
              <a:ext uri="{FF2B5EF4-FFF2-40B4-BE49-F238E27FC236}">
                <a16:creationId xmlns:a16="http://schemas.microsoft.com/office/drawing/2014/main" id="{53A8C0E0-42C6-B4EB-E58F-4C7D7C0E854B}"/>
              </a:ext>
            </a:extLst>
          </p:cNvPr>
          <p:cNvSpPr/>
          <p:nvPr/>
        </p:nvSpPr>
        <p:spPr>
          <a:xfrm>
            <a:off x="5174864" y="5088354"/>
            <a:ext cx="300507" cy="21464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66" name="Oval 65">
            <a:extLst>
              <a:ext uri="{FF2B5EF4-FFF2-40B4-BE49-F238E27FC236}">
                <a16:creationId xmlns:a16="http://schemas.microsoft.com/office/drawing/2014/main" id="{06156F06-D3B4-248E-C724-8CC2DC2987D6}"/>
              </a:ext>
            </a:extLst>
          </p:cNvPr>
          <p:cNvSpPr/>
          <p:nvPr/>
        </p:nvSpPr>
        <p:spPr>
          <a:xfrm>
            <a:off x="5239258" y="4068776"/>
            <a:ext cx="300507" cy="21464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3" name="Oval 72">
            <a:extLst>
              <a:ext uri="{FF2B5EF4-FFF2-40B4-BE49-F238E27FC236}">
                <a16:creationId xmlns:a16="http://schemas.microsoft.com/office/drawing/2014/main" id="{B13F5E31-04F2-075F-7C2E-1096FB697B5F}"/>
              </a:ext>
            </a:extLst>
          </p:cNvPr>
          <p:cNvSpPr/>
          <p:nvPr/>
        </p:nvSpPr>
        <p:spPr>
          <a:xfrm>
            <a:off x="5228525" y="3854128"/>
            <a:ext cx="300507" cy="21464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76" name="Oval 75">
            <a:extLst>
              <a:ext uri="{FF2B5EF4-FFF2-40B4-BE49-F238E27FC236}">
                <a16:creationId xmlns:a16="http://schemas.microsoft.com/office/drawing/2014/main" id="{AE62AB8F-BBC3-75D2-71ED-B81FB9D4FB35}"/>
              </a:ext>
            </a:extLst>
          </p:cNvPr>
          <p:cNvSpPr/>
          <p:nvPr/>
        </p:nvSpPr>
        <p:spPr>
          <a:xfrm>
            <a:off x="7407201" y="2963339"/>
            <a:ext cx="300507" cy="21464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0" name="Oval 109">
            <a:extLst>
              <a:ext uri="{FF2B5EF4-FFF2-40B4-BE49-F238E27FC236}">
                <a16:creationId xmlns:a16="http://schemas.microsoft.com/office/drawing/2014/main" id="{E83684B8-4ED5-D7C8-5FB1-39A2E5B190D6}"/>
              </a:ext>
            </a:extLst>
          </p:cNvPr>
          <p:cNvSpPr/>
          <p:nvPr/>
        </p:nvSpPr>
        <p:spPr>
          <a:xfrm>
            <a:off x="7278412" y="720269"/>
            <a:ext cx="300507" cy="21464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2" name="Oval 111">
            <a:extLst>
              <a:ext uri="{FF2B5EF4-FFF2-40B4-BE49-F238E27FC236}">
                <a16:creationId xmlns:a16="http://schemas.microsoft.com/office/drawing/2014/main" id="{402948FC-F090-15BC-B995-40DA7C8DB057}"/>
              </a:ext>
            </a:extLst>
          </p:cNvPr>
          <p:cNvSpPr/>
          <p:nvPr/>
        </p:nvSpPr>
        <p:spPr>
          <a:xfrm>
            <a:off x="796046" y="2287198"/>
            <a:ext cx="300507" cy="21464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3" name="Oval 112">
            <a:extLst>
              <a:ext uri="{FF2B5EF4-FFF2-40B4-BE49-F238E27FC236}">
                <a16:creationId xmlns:a16="http://schemas.microsoft.com/office/drawing/2014/main" id="{4796272C-9C9F-0E46-5175-1261ECC6F1CE}"/>
              </a:ext>
            </a:extLst>
          </p:cNvPr>
          <p:cNvSpPr/>
          <p:nvPr/>
        </p:nvSpPr>
        <p:spPr>
          <a:xfrm>
            <a:off x="1965877" y="2340861"/>
            <a:ext cx="300507" cy="214647"/>
          </a:xfrm>
          <a:prstGeom prst="ellips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119" name="Billede 118">
            <a:extLst>
              <a:ext uri="{FF2B5EF4-FFF2-40B4-BE49-F238E27FC236}">
                <a16:creationId xmlns:a16="http://schemas.microsoft.com/office/drawing/2014/main" id="{70D3C4C4-6360-5BB8-6B89-8AD5D64A9EEB}"/>
              </a:ext>
            </a:extLst>
          </p:cNvPr>
          <p:cNvPicPr>
            <a:picLocks noChangeAspect="1"/>
          </p:cNvPicPr>
          <p:nvPr/>
        </p:nvPicPr>
        <p:blipFill>
          <a:blip r:embed="rId3"/>
          <a:stretch>
            <a:fillRect/>
          </a:stretch>
        </p:blipFill>
        <p:spPr>
          <a:xfrm>
            <a:off x="10697052" y="6426882"/>
            <a:ext cx="1190625" cy="371475"/>
          </a:xfrm>
          <a:prstGeom prst="rect">
            <a:avLst/>
          </a:prstGeom>
        </p:spPr>
      </p:pic>
      <p:pic>
        <p:nvPicPr>
          <p:cNvPr id="125" name="Billede 124">
            <a:extLst>
              <a:ext uri="{FF2B5EF4-FFF2-40B4-BE49-F238E27FC236}">
                <a16:creationId xmlns:a16="http://schemas.microsoft.com/office/drawing/2014/main" id="{AB7143DF-6EF7-4F2D-5E7C-3CC9A6087021}"/>
              </a:ext>
            </a:extLst>
          </p:cNvPr>
          <p:cNvPicPr>
            <a:picLocks noChangeAspect="1"/>
          </p:cNvPicPr>
          <p:nvPr/>
        </p:nvPicPr>
        <p:blipFill>
          <a:blip r:embed="rId4"/>
          <a:stretch>
            <a:fillRect/>
          </a:stretch>
        </p:blipFill>
        <p:spPr>
          <a:xfrm>
            <a:off x="11370993" y="6304298"/>
            <a:ext cx="219075" cy="238125"/>
          </a:xfrm>
          <a:prstGeom prst="rect">
            <a:avLst/>
          </a:prstGeom>
        </p:spPr>
      </p:pic>
    </p:spTree>
    <p:extLst>
      <p:ext uri="{BB962C8B-B14F-4D97-AF65-F5344CB8AC3E}">
        <p14:creationId xmlns:p14="http://schemas.microsoft.com/office/powerpoint/2010/main" val="338379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33CFB-94BB-CC40-D3B2-FA18451EA513}"/>
            </a:ext>
          </a:extLst>
        </p:cNvPr>
        <p:cNvGrpSpPr/>
        <p:nvPr/>
      </p:nvGrpSpPr>
      <p:grpSpPr>
        <a:xfrm>
          <a:off x="0" y="0"/>
          <a:ext cx="0" cy="0"/>
          <a:chOff x="0" y="0"/>
          <a:chExt cx="0" cy="0"/>
        </a:xfrm>
      </p:grpSpPr>
      <p:cxnSp>
        <p:nvCxnSpPr>
          <p:cNvPr id="45" name="Straight Connector 44">
            <a:extLst>
              <a:ext uri="{FF2B5EF4-FFF2-40B4-BE49-F238E27FC236}">
                <a16:creationId xmlns:a16="http://schemas.microsoft.com/office/drawing/2014/main" id="{021F68FA-3DE4-54D3-1B03-09CA026ED1E7}"/>
              </a:ext>
            </a:extLst>
          </p:cNvPr>
          <p:cNvCxnSpPr>
            <a:cxnSpLocks/>
          </p:cNvCxnSpPr>
          <p:nvPr/>
        </p:nvCxnSpPr>
        <p:spPr>
          <a:xfrm>
            <a:off x="5358107" y="4510031"/>
            <a:ext cx="0" cy="137326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B8CFA8BA-E1D3-4579-DAA2-F38B11F2C624}"/>
              </a:ext>
            </a:extLst>
          </p:cNvPr>
          <p:cNvCxnSpPr>
            <a:cxnSpLocks/>
          </p:cNvCxnSpPr>
          <p:nvPr/>
        </p:nvCxnSpPr>
        <p:spPr>
          <a:xfrm>
            <a:off x="3525656" y="3583417"/>
            <a:ext cx="1142736" cy="52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A424B5A-898F-8F93-DD30-3649BCCDD348}"/>
              </a:ext>
            </a:extLst>
          </p:cNvPr>
          <p:cNvCxnSpPr>
            <a:cxnSpLocks/>
          </p:cNvCxnSpPr>
          <p:nvPr/>
        </p:nvCxnSpPr>
        <p:spPr>
          <a:xfrm>
            <a:off x="6070736" y="3586465"/>
            <a:ext cx="1142736" cy="5211"/>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82FC0E9B-0384-3F21-264D-D9B38087C8C6}"/>
              </a:ext>
            </a:extLst>
          </p:cNvPr>
          <p:cNvSpPr txBox="1"/>
          <p:nvPr/>
        </p:nvSpPr>
        <p:spPr>
          <a:xfrm>
            <a:off x="3939282" y="748709"/>
            <a:ext cx="2841082" cy="1480995"/>
          </a:xfrm>
          <a:prstGeom prst="rect">
            <a:avLst/>
          </a:prstGeom>
          <a:solidFill>
            <a:schemeClr val="accent2">
              <a:lumMod val="60000"/>
              <a:lumOff val="40000"/>
            </a:schemeClr>
          </a:solidFill>
        </p:spPr>
        <p:style>
          <a:lnRef idx="0">
            <a:scrgbClr r="0" g="0" b="0"/>
          </a:lnRef>
          <a:fillRef idx="0">
            <a:scrgbClr r="0" g="0" b="0"/>
          </a:fillRef>
          <a:effectRef idx="0">
            <a:scrgbClr r="0" g="0" b="0"/>
          </a:effectRef>
          <a:fontRef idx="minor">
            <a:schemeClr val="lt1"/>
          </a:fontRef>
        </p:style>
        <p:txBody>
          <a:bodyPr spcFirstLastPara="0" vert="horz" wrap="square" lIns="6985" tIns="6985" rIns="6985" bIns="6985" numCol="1" spcCol="1270" anchor="ctr" anchorCtr="0">
            <a:noAutofit/>
          </a:bodyPr>
          <a:lstStyle/>
          <a:p>
            <a:pPr marL="108000" marR="0" lvl="0" indent="0" algn="ctr" defTabSz="488950" rtl="0" eaLnBrk="1" fontAlgn="auto" latinLnBrk="0" hangingPunct="1">
              <a:lnSpc>
                <a:spcPct val="90000"/>
              </a:lnSpc>
              <a:spcBef>
                <a:spcPct val="0"/>
              </a:spcBef>
              <a:spcAft>
                <a:spcPct val="3500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Styregruppe</a:t>
            </a:r>
            <a:endParaRPr kumimoji="0" lang="da-DK" sz="1000" b="0" i="0" u="none" strike="noStrike" kern="1200" cap="none" spc="0" normalizeH="0" baseline="0" noProof="0">
              <a:ln>
                <a:noFill/>
              </a:ln>
              <a:solidFill>
                <a:srgbClr val="000000"/>
              </a:solidFill>
              <a:effectLst/>
              <a:uLnTx/>
              <a:uFillTx/>
              <a:latin typeface="Arial"/>
              <a:ea typeface="+mn-ea"/>
              <a:cs typeface="+mn-cs"/>
            </a:endParaRPr>
          </a:p>
          <a:p>
            <a:pPr marL="108000" marR="0" lvl="0" indent="0" algn="ctr" defTabSz="488950" rtl="0" eaLnBrk="1" fontAlgn="auto" latinLnBrk="0" hangingPunct="1">
              <a:lnSpc>
                <a:spcPct val="90000"/>
              </a:lnSpc>
              <a:spcBef>
                <a:spcPct val="0"/>
              </a:spcBef>
              <a:spcAft>
                <a:spcPct val="35000"/>
              </a:spcAft>
              <a:buClrTx/>
              <a:buSzTx/>
              <a:buFontTx/>
              <a:buNone/>
              <a:tabLst/>
              <a:defRPr/>
            </a:pPr>
            <a:r>
              <a:rPr kumimoji="0" lang="da-DK" sz="1000" b="0" i="0" u="none" strike="noStrike" kern="1200" cap="none" spc="0" normalizeH="0" baseline="0" noProof="0">
                <a:ln>
                  <a:noFill/>
                </a:ln>
                <a:solidFill>
                  <a:srgbClr val="000000"/>
                </a:solidFill>
                <a:effectLst/>
                <a:uLnTx/>
                <a:uFillTx/>
                <a:latin typeface="Arial"/>
                <a:ea typeface="+mn-ea"/>
                <a:cs typeface="+mn-cs"/>
              </a:rPr>
              <a:t>Direktør, Thomas Buchvald Vind</a:t>
            </a:r>
            <a:br>
              <a:rPr kumimoji="0" lang="da-DK" sz="1000" b="0" i="0" u="none" strike="noStrike" kern="1200" cap="none" spc="0" normalizeH="0" baseline="0" noProof="0">
                <a:ln>
                  <a:noFill/>
                </a:ln>
                <a:solidFill>
                  <a:srgbClr val="000000"/>
                </a:solidFill>
                <a:effectLst/>
                <a:uLnTx/>
                <a:uFillTx/>
                <a:latin typeface="Arial"/>
                <a:ea typeface="+mn-ea"/>
                <a:cs typeface="+mn-cs"/>
              </a:rPr>
            </a:br>
            <a:endParaRPr kumimoji="0" lang="da-DK" sz="1000" b="0" i="0" u="none" strike="noStrike" kern="1200" cap="none" spc="0" normalizeH="0" baseline="0" noProof="0">
              <a:ln>
                <a:noFill/>
              </a:ln>
              <a:solidFill>
                <a:srgbClr val="000000"/>
              </a:solidFill>
              <a:effectLst/>
              <a:uLnTx/>
              <a:uFillTx/>
              <a:latin typeface="Arial"/>
              <a:ea typeface="+mn-ea"/>
              <a:cs typeface="+mn-cs"/>
            </a:endParaRPr>
          </a:p>
          <a:p>
            <a:pPr marL="108000" marR="0" lvl="0" indent="0" algn="ctr" defTabSz="488950" rtl="0" eaLnBrk="1" fontAlgn="auto" latinLnBrk="0" hangingPunct="1">
              <a:lnSpc>
                <a:spcPct val="90000"/>
              </a:lnSpc>
              <a:spcBef>
                <a:spcPct val="0"/>
              </a:spcBef>
              <a:spcAft>
                <a:spcPct val="35000"/>
              </a:spcAft>
              <a:buClrTx/>
              <a:buSzTx/>
              <a:buFontTx/>
              <a:buNone/>
              <a:tabLst/>
              <a:defRPr/>
            </a:pPr>
            <a:r>
              <a:rPr kumimoji="0" lang="da-DK" sz="1000" b="0" i="0" u="none" strike="noStrike" kern="1200" cap="none" spc="0" normalizeH="0" baseline="0" noProof="0">
                <a:ln>
                  <a:noFill/>
                </a:ln>
                <a:solidFill>
                  <a:srgbClr val="000000"/>
                </a:solidFill>
                <a:effectLst/>
                <a:uLnTx/>
                <a:uFillTx/>
                <a:latin typeface="Arial"/>
                <a:ea typeface="+mn-ea"/>
                <a:cs typeface="+mn-cs"/>
              </a:rPr>
              <a:t>Studieservice, Stinne Hørup Hansen</a:t>
            </a:r>
            <a:br>
              <a:rPr kumimoji="0" lang="da-DK" sz="1000" b="0" i="0" u="none" strike="noStrike" kern="1200" cap="none" spc="0" normalizeH="0" baseline="0" noProof="0">
                <a:ln>
                  <a:noFill/>
                </a:ln>
                <a:solidFill>
                  <a:srgbClr val="000000"/>
                </a:solidFill>
                <a:effectLst/>
                <a:uLnTx/>
                <a:uFillTx/>
                <a:latin typeface="Arial"/>
                <a:ea typeface="+mn-ea"/>
                <a:cs typeface="+mn-cs"/>
              </a:rPr>
            </a:br>
            <a:r>
              <a:rPr kumimoji="0" lang="da-DK" sz="1000" b="0" i="0" u="none" strike="noStrike" kern="1200" cap="none" spc="0" normalizeH="0" baseline="0" noProof="0">
                <a:ln>
                  <a:noFill/>
                </a:ln>
                <a:solidFill>
                  <a:srgbClr val="000000"/>
                </a:solidFill>
                <a:effectLst/>
                <a:uLnTx/>
                <a:uFillTx/>
                <a:latin typeface="Arial"/>
                <a:ea typeface="+mn-ea"/>
                <a:cs typeface="+mn-cs"/>
              </a:rPr>
              <a:t>SDU Digital &amp; IT, Bue Raun Andersen</a:t>
            </a:r>
            <a:br>
              <a:rPr kumimoji="0" lang="da-DK" sz="1000" b="0" i="0" u="none" strike="noStrike" kern="1200" cap="none" spc="0" normalizeH="0" baseline="0" noProof="0">
                <a:ln>
                  <a:noFill/>
                </a:ln>
                <a:solidFill>
                  <a:srgbClr val="000000"/>
                </a:solidFill>
                <a:effectLst/>
                <a:uLnTx/>
                <a:uFillTx/>
                <a:latin typeface="Arial"/>
                <a:ea typeface="+mn-ea"/>
                <a:cs typeface="+mn-cs"/>
              </a:rPr>
            </a:br>
            <a:endParaRPr kumimoji="0" lang="da-DK"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9" name="Group 8">
            <a:extLst>
              <a:ext uri="{FF2B5EF4-FFF2-40B4-BE49-F238E27FC236}">
                <a16:creationId xmlns:a16="http://schemas.microsoft.com/office/drawing/2014/main" id="{23A75CEB-8B1C-E3F1-DD7D-B022DD517E23}"/>
              </a:ext>
            </a:extLst>
          </p:cNvPr>
          <p:cNvGrpSpPr/>
          <p:nvPr/>
        </p:nvGrpSpPr>
        <p:grpSpPr>
          <a:xfrm>
            <a:off x="4494543" y="3038343"/>
            <a:ext cx="1725283" cy="931653"/>
            <a:chOff x="4585028" y="2178329"/>
            <a:chExt cx="1725283" cy="931653"/>
          </a:xfrm>
          <a:solidFill>
            <a:schemeClr val="accent2">
              <a:lumMod val="40000"/>
              <a:lumOff val="60000"/>
            </a:schemeClr>
          </a:solidFill>
        </p:grpSpPr>
        <p:sp>
          <p:nvSpPr>
            <p:cNvPr id="5" name="Rectangle 4">
              <a:extLst>
                <a:ext uri="{FF2B5EF4-FFF2-40B4-BE49-F238E27FC236}">
                  <a16:creationId xmlns:a16="http://schemas.microsoft.com/office/drawing/2014/main" id="{9C4CFD10-676C-61B0-83FD-89E5ECE89AB3}"/>
                </a:ext>
              </a:extLst>
            </p:cNvPr>
            <p:cNvSpPr/>
            <p:nvPr/>
          </p:nvSpPr>
          <p:spPr>
            <a:xfrm>
              <a:off x="4585028" y="2178329"/>
              <a:ext cx="1725283" cy="931653"/>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err="1">
                <a:ln>
                  <a:noFill/>
                </a:ln>
                <a:solidFill>
                  <a:prstClr val="white"/>
                </a:solidFill>
                <a:effectLst/>
                <a:uLnTx/>
                <a:uFillTx/>
                <a:latin typeface="Arial"/>
                <a:ea typeface="+mn-ea"/>
                <a:cs typeface="+mn-cs"/>
              </a:endParaRPr>
            </a:p>
          </p:txBody>
        </p:sp>
        <p:sp>
          <p:nvSpPr>
            <p:cNvPr id="6" name="TextBox 5">
              <a:extLst>
                <a:ext uri="{FF2B5EF4-FFF2-40B4-BE49-F238E27FC236}">
                  <a16:creationId xmlns:a16="http://schemas.microsoft.com/office/drawing/2014/main" id="{471CE963-F1BE-65D1-BD6C-828A3685AD95}"/>
                </a:ext>
              </a:extLst>
            </p:cNvPr>
            <p:cNvSpPr txBox="1"/>
            <p:nvPr/>
          </p:nvSpPr>
          <p:spPr>
            <a:xfrm>
              <a:off x="4806526" y="2406056"/>
              <a:ext cx="1282286" cy="307777"/>
            </a:xfrm>
            <a:prstGeom prst="rect">
              <a:avLst/>
            </a:prstGeom>
            <a:grp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Programled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a-DK" sz="1000" b="0" i="0" u="none" strike="noStrike" kern="1200" cap="none" spc="0" normalizeH="0" baseline="0" noProof="0">
                  <a:ln>
                    <a:noFill/>
                  </a:ln>
                  <a:solidFill>
                    <a:srgbClr val="000000"/>
                  </a:solidFill>
                  <a:effectLst/>
                  <a:uLnTx/>
                  <a:uFillTx/>
                  <a:latin typeface="Arial"/>
                  <a:ea typeface="+mn-ea"/>
                  <a:cs typeface="+mn-cs"/>
                </a:rPr>
                <a:t>Mette Thomassen</a:t>
              </a:r>
            </a:p>
          </p:txBody>
        </p:sp>
      </p:grpSp>
      <p:grpSp>
        <p:nvGrpSpPr>
          <p:cNvPr id="10" name="Group 9">
            <a:extLst>
              <a:ext uri="{FF2B5EF4-FFF2-40B4-BE49-F238E27FC236}">
                <a16:creationId xmlns:a16="http://schemas.microsoft.com/office/drawing/2014/main" id="{1575F9BB-5592-0D69-F9C9-15EC3DFD3ABD}"/>
              </a:ext>
            </a:extLst>
          </p:cNvPr>
          <p:cNvGrpSpPr/>
          <p:nvPr/>
        </p:nvGrpSpPr>
        <p:grpSpPr>
          <a:xfrm>
            <a:off x="2530360" y="5151180"/>
            <a:ext cx="2003037" cy="1501554"/>
            <a:chOff x="4592215" y="2497347"/>
            <a:chExt cx="1725283" cy="944586"/>
          </a:xfrm>
          <a:solidFill>
            <a:schemeClr val="accent2">
              <a:lumMod val="20000"/>
              <a:lumOff val="80000"/>
            </a:schemeClr>
          </a:solidFill>
        </p:grpSpPr>
        <p:sp>
          <p:nvSpPr>
            <p:cNvPr id="11" name="Rectangle 10">
              <a:extLst>
                <a:ext uri="{FF2B5EF4-FFF2-40B4-BE49-F238E27FC236}">
                  <a16:creationId xmlns:a16="http://schemas.microsoft.com/office/drawing/2014/main" id="{C6A40B1B-9002-4728-C6CF-3708EB90F784}"/>
                </a:ext>
              </a:extLst>
            </p:cNvPr>
            <p:cNvSpPr/>
            <p:nvPr/>
          </p:nvSpPr>
          <p:spPr>
            <a:xfrm>
              <a:off x="4592215" y="2497347"/>
              <a:ext cx="1725283" cy="931653"/>
            </a:xfrm>
            <a:prstGeom prst="rect">
              <a:avLst/>
            </a:prstGeom>
            <a:grp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err="1">
                <a:ln>
                  <a:noFill/>
                </a:ln>
                <a:solidFill>
                  <a:prstClr val="white"/>
                </a:solidFill>
                <a:effectLst/>
                <a:uLnTx/>
                <a:uFillTx/>
                <a:latin typeface="Arial"/>
                <a:ea typeface="+mn-ea"/>
                <a:cs typeface="+mn-cs"/>
              </a:endParaRPr>
            </a:p>
          </p:txBody>
        </p:sp>
        <p:sp>
          <p:nvSpPr>
            <p:cNvPr id="12" name="TextBox 11">
              <a:extLst>
                <a:ext uri="{FF2B5EF4-FFF2-40B4-BE49-F238E27FC236}">
                  <a16:creationId xmlns:a16="http://schemas.microsoft.com/office/drawing/2014/main" id="{985BCEE7-266A-54B5-4D1D-18A464C306C8}"/>
                </a:ext>
              </a:extLst>
            </p:cNvPr>
            <p:cNvSpPr txBox="1"/>
            <p:nvPr/>
          </p:nvSpPr>
          <p:spPr>
            <a:xfrm>
              <a:off x="4813714" y="2570671"/>
              <a:ext cx="1282286" cy="871262"/>
            </a:xfrm>
            <a:prstGeom prst="rect">
              <a:avLst/>
            </a:prstGeom>
            <a:grp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00000"/>
                  </a:solidFill>
                  <a:effectLst/>
                  <a:uLnTx/>
                  <a:uFillTx/>
                  <a:latin typeface="Arial"/>
                  <a:ea typeface="+mn-ea"/>
                  <a:cs typeface="+mn-cs"/>
                </a:rPr>
                <a:t>Forretningsteam- Mett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Carin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Emilie &amp; Tanja</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Louis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Karen B</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Maria - koordineri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Selina (barsel)</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da-DK" sz="1000" b="1"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kumimoji="0" lang="da-DK" sz="10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6" name="Group 15">
            <a:extLst>
              <a:ext uri="{FF2B5EF4-FFF2-40B4-BE49-F238E27FC236}">
                <a16:creationId xmlns:a16="http://schemas.microsoft.com/office/drawing/2014/main" id="{11092285-7F10-6854-2E14-618B0473142E}"/>
              </a:ext>
            </a:extLst>
          </p:cNvPr>
          <p:cNvGrpSpPr/>
          <p:nvPr/>
        </p:nvGrpSpPr>
        <p:grpSpPr>
          <a:xfrm>
            <a:off x="6045601" y="5151180"/>
            <a:ext cx="1963860" cy="1480995"/>
            <a:chOff x="4592215" y="2497347"/>
            <a:chExt cx="1725283" cy="1480995"/>
          </a:xfrm>
          <a:solidFill>
            <a:schemeClr val="accent2">
              <a:lumMod val="20000"/>
              <a:lumOff val="80000"/>
            </a:schemeClr>
          </a:solidFill>
        </p:grpSpPr>
        <p:sp>
          <p:nvSpPr>
            <p:cNvPr id="17" name="Rectangle 16">
              <a:extLst>
                <a:ext uri="{FF2B5EF4-FFF2-40B4-BE49-F238E27FC236}">
                  <a16:creationId xmlns:a16="http://schemas.microsoft.com/office/drawing/2014/main" id="{6BE4AEE6-6238-03EB-5270-FAFE43890608}"/>
                </a:ext>
              </a:extLst>
            </p:cNvPr>
            <p:cNvSpPr/>
            <p:nvPr/>
          </p:nvSpPr>
          <p:spPr>
            <a:xfrm>
              <a:off x="4592215" y="2497347"/>
              <a:ext cx="1725283" cy="1480995"/>
            </a:xfrm>
            <a:prstGeom prst="rect">
              <a:avLst/>
            </a:prstGeom>
            <a:grp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err="1">
                <a:ln>
                  <a:noFill/>
                </a:ln>
                <a:solidFill>
                  <a:prstClr val="white"/>
                </a:solidFill>
                <a:effectLst/>
                <a:uLnTx/>
                <a:uFillTx/>
                <a:latin typeface="Arial"/>
                <a:ea typeface="+mn-ea"/>
                <a:cs typeface="+mn-cs"/>
              </a:endParaRPr>
            </a:p>
          </p:txBody>
        </p:sp>
        <p:sp>
          <p:nvSpPr>
            <p:cNvPr id="18" name="TextBox 17">
              <a:extLst>
                <a:ext uri="{FF2B5EF4-FFF2-40B4-BE49-F238E27FC236}">
                  <a16:creationId xmlns:a16="http://schemas.microsoft.com/office/drawing/2014/main" id="{1C28FA25-1DCD-1B85-E351-7047E80198EF}"/>
                </a:ext>
              </a:extLst>
            </p:cNvPr>
            <p:cNvSpPr txBox="1"/>
            <p:nvPr/>
          </p:nvSpPr>
          <p:spPr>
            <a:xfrm>
              <a:off x="4813714" y="2570671"/>
              <a:ext cx="1282286" cy="923330"/>
            </a:xfrm>
            <a:prstGeom prst="rect">
              <a:avLst/>
            </a:prstGeom>
            <a:grpFill/>
            <a:ln>
              <a:solidFill>
                <a:schemeClr val="accent2">
                  <a:lumMod val="20000"/>
                  <a:lumOff val="80000"/>
                </a:schemeClr>
              </a:solid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00000"/>
                  </a:solidFill>
                  <a:effectLst/>
                  <a:uLnTx/>
                  <a:uFillTx/>
                  <a:latin typeface="Arial"/>
                  <a:ea typeface="+mn-ea"/>
                  <a:cs typeface="+mn-cs"/>
                </a:rPr>
                <a:t>Teknisk team - Poul</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Allan</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Gustav</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Jacob H</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Dorth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Phillip</a:t>
              </a:r>
            </a:p>
          </p:txBody>
        </p:sp>
      </p:grpSp>
      <p:sp>
        <p:nvSpPr>
          <p:cNvPr id="19" name="TextBox 18">
            <a:extLst>
              <a:ext uri="{FF2B5EF4-FFF2-40B4-BE49-F238E27FC236}">
                <a16:creationId xmlns:a16="http://schemas.microsoft.com/office/drawing/2014/main" id="{CFB4BC5C-37B0-EC28-B36F-57790FA970A2}"/>
              </a:ext>
            </a:extLst>
          </p:cNvPr>
          <p:cNvSpPr txBox="1"/>
          <p:nvPr/>
        </p:nvSpPr>
        <p:spPr>
          <a:xfrm>
            <a:off x="644893" y="215761"/>
            <a:ext cx="10788031"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2800" b="1" i="0" u="none" strike="noStrike" kern="1200" cap="none" spc="0" normalizeH="0" baseline="0" noProof="0" dirty="0">
                <a:ln>
                  <a:noFill/>
                </a:ln>
                <a:solidFill>
                  <a:srgbClr val="000000"/>
                </a:solidFill>
                <a:effectLst/>
                <a:uLnTx/>
                <a:uFillTx/>
                <a:latin typeface="Arial"/>
                <a:ea typeface="+mn-ea"/>
                <a:cs typeface="+mn-cs"/>
              </a:rPr>
              <a:t>Programorganisering for SDU</a:t>
            </a:r>
            <a:r>
              <a:rPr lang="da-DK" sz="2800" b="1" dirty="0">
                <a:solidFill>
                  <a:srgbClr val="000000"/>
                </a:solidFill>
                <a:latin typeface="Arial"/>
              </a:rPr>
              <a:t> (skal ændres igen i 2026)</a:t>
            </a:r>
            <a:endParaRPr kumimoji="0" lang="da-DK" sz="2400" b="1" i="0" u="none" strike="noStrike" kern="1200" cap="none" spc="0" normalizeH="0" baseline="0" noProof="0" dirty="0">
              <a:ln>
                <a:noFill/>
              </a:ln>
              <a:solidFill>
                <a:srgbClr val="D05A57">
                  <a:lumMod val="75000"/>
                </a:srgbClr>
              </a:solidFill>
              <a:effectLst/>
              <a:uLnTx/>
              <a:uFillTx/>
              <a:latin typeface="Arial"/>
              <a:ea typeface="+mn-ea"/>
              <a:cs typeface="+mn-cs"/>
            </a:endParaRPr>
          </a:p>
        </p:txBody>
      </p:sp>
      <p:cxnSp>
        <p:nvCxnSpPr>
          <p:cNvPr id="21" name="Straight Connector 20">
            <a:extLst>
              <a:ext uri="{FF2B5EF4-FFF2-40B4-BE49-F238E27FC236}">
                <a16:creationId xmlns:a16="http://schemas.microsoft.com/office/drawing/2014/main" id="{C0FD15C8-D3EC-C40C-F544-39D3281B9069}"/>
              </a:ext>
            </a:extLst>
          </p:cNvPr>
          <p:cNvCxnSpPr>
            <a:cxnSpLocks/>
            <a:stCxn id="4" idx="2"/>
            <a:endCxn id="5" idx="0"/>
          </p:cNvCxnSpPr>
          <p:nvPr/>
        </p:nvCxnSpPr>
        <p:spPr>
          <a:xfrm flipH="1">
            <a:off x="5357185" y="2229704"/>
            <a:ext cx="2638" cy="80863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Connector: Elbow 27">
            <a:extLst>
              <a:ext uri="{FF2B5EF4-FFF2-40B4-BE49-F238E27FC236}">
                <a16:creationId xmlns:a16="http://schemas.microsoft.com/office/drawing/2014/main" id="{1921BC6D-E06E-21DC-74E3-88CAE2607F65}"/>
              </a:ext>
            </a:extLst>
          </p:cNvPr>
          <p:cNvCxnSpPr>
            <a:stCxn id="5" idx="2"/>
            <a:endCxn id="11" idx="0"/>
          </p:cNvCxnSpPr>
          <p:nvPr/>
        </p:nvCxnSpPr>
        <p:spPr>
          <a:xfrm rot="5400000">
            <a:off x="3853940" y="3647935"/>
            <a:ext cx="1181184" cy="1825306"/>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30" name="Connector: Elbow 29">
            <a:extLst>
              <a:ext uri="{FF2B5EF4-FFF2-40B4-BE49-F238E27FC236}">
                <a16:creationId xmlns:a16="http://schemas.microsoft.com/office/drawing/2014/main" id="{F252D234-A6FB-13D9-EE8A-CCA6DA1E73B2}"/>
              </a:ext>
            </a:extLst>
          </p:cNvPr>
          <p:cNvCxnSpPr>
            <a:cxnSpLocks/>
            <a:stCxn id="5" idx="2"/>
            <a:endCxn id="17" idx="0"/>
          </p:cNvCxnSpPr>
          <p:nvPr/>
        </p:nvCxnSpPr>
        <p:spPr>
          <a:xfrm rot="16200000" flipH="1">
            <a:off x="5601766" y="3725415"/>
            <a:ext cx="1181184" cy="1670346"/>
          </a:xfrm>
          <a:prstGeom prst="bentConnector3">
            <a:avLst>
              <a:gd name="adj1" fmla="val 50000"/>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A49D1EDA-EF01-2D6F-F734-ECE2EAA6BB3D}"/>
              </a:ext>
            </a:extLst>
          </p:cNvPr>
          <p:cNvCxnSpPr/>
          <p:nvPr/>
        </p:nvCxnSpPr>
        <p:spPr>
          <a:xfrm flipH="1">
            <a:off x="1400365" y="5681955"/>
            <a:ext cx="112999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52" name="Rectangle 151">
            <a:extLst>
              <a:ext uri="{FF2B5EF4-FFF2-40B4-BE49-F238E27FC236}">
                <a16:creationId xmlns:a16="http://schemas.microsoft.com/office/drawing/2014/main" id="{0F6D9FE4-CB45-3AF5-10AE-20BBFEF2590F}"/>
              </a:ext>
            </a:extLst>
          </p:cNvPr>
          <p:cNvSpPr/>
          <p:nvPr/>
        </p:nvSpPr>
        <p:spPr>
          <a:xfrm>
            <a:off x="10765586" y="5279559"/>
            <a:ext cx="489330" cy="271414"/>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153" name="TextBox 152">
            <a:extLst>
              <a:ext uri="{FF2B5EF4-FFF2-40B4-BE49-F238E27FC236}">
                <a16:creationId xmlns:a16="http://schemas.microsoft.com/office/drawing/2014/main" id="{17841619-A284-075A-E6A6-DD2F2AD32E9F}"/>
              </a:ext>
            </a:extLst>
          </p:cNvPr>
          <p:cNvSpPr txBox="1"/>
          <p:nvPr/>
        </p:nvSpPr>
        <p:spPr>
          <a:xfrm>
            <a:off x="10765586" y="5633089"/>
            <a:ext cx="1163780"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000000"/>
                </a:solidFill>
                <a:effectLst/>
                <a:uLnTx/>
                <a:uFillTx/>
                <a:latin typeface="Arial"/>
                <a:ea typeface="+mn-ea"/>
                <a:cs typeface="+mn-cs"/>
              </a:rPr>
              <a:t>= Fæll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400" b="0" i="0" u="none" strike="noStrike" kern="1200" cap="none" spc="0" normalizeH="0" baseline="0" noProof="0">
                <a:ln>
                  <a:noFill/>
                </a:ln>
                <a:solidFill>
                  <a:srgbClr val="000000"/>
                </a:solidFill>
                <a:effectLst/>
                <a:uLnTx/>
                <a:uFillTx/>
                <a:latin typeface="Arial"/>
                <a:ea typeface="+mn-ea"/>
                <a:cs typeface="+mn-cs"/>
              </a:rPr>
              <a:t>programspor</a:t>
            </a:r>
          </a:p>
        </p:txBody>
      </p:sp>
      <p:grpSp>
        <p:nvGrpSpPr>
          <p:cNvPr id="154" name="Group 153">
            <a:extLst>
              <a:ext uri="{FF2B5EF4-FFF2-40B4-BE49-F238E27FC236}">
                <a16:creationId xmlns:a16="http://schemas.microsoft.com/office/drawing/2014/main" id="{97279462-8288-E123-05B7-658A59B24EA9}"/>
              </a:ext>
            </a:extLst>
          </p:cNvPr>
          <p:cNvGrpSpPr/>
          <p:nvPr/>
        </p:nvGrpSpPr>
        <p:grpSpPr>
          <a:xfrm>
            <a:off x="7151360" y="1902425"/>
            <a:ext cx="3056726" cy="421658"/>
            <a:chOff x="73965" y="6005273"/>
            <a:chExt cx="1586382" cy="712272"/>
          </a:xfrm>
          <a:solidFill>
            <a:schemeClr val="accent2">
              <a:lumMod val="20000"/>
              <a:lumOff val="80000"/>
            </a:schemeClr>
          </a:solidFill>
        </p:grpSpPr>
        <p:sp>
          <p:nvSpPr>
            <p:cNvPr id="155" name="Rectangle 154">
              <a:extLst>
                <a:ext uri="{FF2B5EF4-FFF2-40B4-BE49-F238E27FC236}">
                  <a16:creationId xmlns:a16="http://schemas.microsoft.com/office/drawing/2014/main" id="{9C314AE8-F356-1FE8-34C7-08CCF6A58DF4}"/>
                </a:ext>
              </a:extLst>
            </p:cNvPr>
            <p:cNvSpPr/>
            <p:nvPr/>
          </p:nvSpPr>
          <p:spPr>
            <a:xfrm>
              <a:off x="73965" y="6005273"/>
              <a:ext cx="1586382" cy="712272"/>
            </a:xfrm>
            <a:prstGeom prst="rect">
              <a:avLst/>
            </a:prstGeom>
            <a:grp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err="1">
                <a:ln>
                  <a:noFill/>
                </a:ln>
                <a:solidFill>
                  <a:prstClr val="white"/>
                </a:solidFill>
                <a:effectLst/>
                <a:uLnTx/>
                <a:uFillTx/>
                <a:latin typeface="Arial"/>
                <a:ea typeface="+mn-ea"/>
                <a:cs typeface="+mn-cs"/>
              </a:endParaRPr>
            </a:p>
          </p:txBody>
        </p:sp>
        <p:sp>
          <p:nvSpPr>
            <p:cNvPr id="156" name="TextBox 155">
              <a:extLst>
                <a:ext uri="{FF2B5EF4-FFF2-40B4-BE49-F238E27FC236}">
                  <a16:creationId xmlns:a16="http://schemas.microsoft.com/office/drawing/2014/main" id="{5816B303-3FD0-C5FB-BBF9-77481641DEB5}"/>
                </a:ext>
              </a:extLst>
            </p:cNvPr>
            <p:cNvSpPr txBox="1"/>
            <p:nvPr/>
          </p:nvSpPr>
          <p:spPr>
            <a:xfrm>
              <a:off x="250466" y="6085514"/>
              <a:ext cx="1354980" cy="519902"/>
            </a:xfrm>
            <a:prstGeom prst="rect">
              <a:avLst/>
            </a:prstGeom>
            <a:grp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Strategisk forum for studie-digitalise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Referencegruppen)</a:t>
              </a:r>
            </a:p>
          </p:txBody>
        </p:sp>
      </p:grpSp>
      <p:grpSp>
        <p:nvGrpSpPr>
          <p:cNvPr id="162" name="Group 161">
            <a:extLst>
              <a:ext uri="{FF2B5EF4-FFF2-40B4-BE49-F238E27FC236}">
                <a16:creationId xmlns:a16="http://schemas.microsoft.com/office/drawing/2014/main" id="{0FE338F7-7864-6EA7-0A9D-A52D3ECCF707}"/>
              </a:ext>
            </a:extLst>
          </p:cNvPr>
          <p:cNvGrpSpPr/>
          <p:nvPr/>
        </p:nvGrpSpPr>
        <p:grpSpPr>
          <a:xfrm>
            <a:off x="649721" y="3345218"/>
            <a:ext cx="3056726" cy="421658"/>
            <a:chOff x="73965" y="6005273"/>
            <a:chExt cx="1586382" cy="712272"/>
          </a:xfrm>
          <a:solidFill>
            <a:schemeClr val="accent2">
              <a:lumMod val="20000"/>
              <a:lumOff val="80000"/>
            </a:schemeClr>
          </a:solidFill>
        </p:grpSpPr>
        <p:sp>
          <p:nvSpPr>
            <p:cNvPr id="163" name="Rectangle 162">
              <a:extLst>
                <a:ext uri="{FF2B5EF4-FFF2-40B4-BE49-F238E27FC236}">
                  <a16:creationId xmlns:a16="http://schemas.microsoft.com/office/drawing/2014/main" id="{CB6A8B21-1FF7-156B-8B78-92CC360001D3}"/>
                </a:ext>
              </a:extLst>
            </p:cNvPr>
            <p:cNvSpPr/>
            <p:nvPr/>
          </p:nvSpPr>
          <p:spPr>
            <a:xfrm>
              <a:off x="73965" y="6005273"/>
              <a:ext cx="1586382" cy="712272"/>
            </a:xfrm>
            <a:prstGeom prst="rect">
              <a:avLst/>
            </a:prstGeom>
            <a:grp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err="1">
                <a:ln>
                  <a:noFill/>
                </a:ln>
                <a:solidFill>
                  <a:prstClr val="white"/>
                </a:solidFill>
                <a:effectLst/>
                <a:uLnTx/>
                <a:uFillTx/>
                <a:latin typeface="Arial"/>
                <a:ea typeface="+mn-ea"/>
                <a:cs typeface="+mn-cs"/>
              </a:endParaRPr>
            </a:p>
          </p:txBody>
        </p:sp>
        <p:sp>
          <p:nvSpPr>
            <p:cNvPr id="164" name="TextBox 163">
              <a:extLst>
                <a:ext uri="{FF2B5EF4-FFF2-40B4-BE49-F238E27FC236}">
                  <a16:creationId xmlns:a16="http://schemas.microsoft.com/office/drawing/2014/main" id="{8AF1F500-E4B2-13A9-F072-8F378FBE45A7}"/>
                </a:ext>
              </a:extLst>
            </p:cNvPr>
            <p:cNvSpPr txBox="1"/>
            <p:nvPr/>
          </p:nvSpPr>
          <p:spPr>
            <a:xfrm>
              <a:off x="250466" y="6085514"/>
              <a:ext cx="1354980" cy="519902"/>
            </a:xfrm>
            <a:prstGeom prst="rect">
              <a:avLst/>
            </a:prstGeom>
            <a:grp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Procesejerforum – forretning, Stin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Operationel styregruppe</a:t>
              </a:r>
            </a:p>
          </p:txBody>
        </p:sp>
      </p:grpSp>
      <p:grpSp>
        <p:nvGrpSpPr>
          <p:cNvPr id="165" name="Group 164">
            <a:extLst>
              <a:ext uri="{FF2B5EF4-FFF2-40B4-BE49-F238E27FC236}">
                <a16:creationId xmlns:a16="http://schemas.microsoft.com/office/drawing/2014/main" id="{5326AB7C-035D-1699-4F7D-8261A2C09718}"/>
              </a:ext>
            </a:extLst>
          </p:cNvPr>
          <p:cNvGrpSpPr/>
          <p:nvPr/>
        </p:nvGrpSpPr>
        <p:grpSpPr>
          <a:xfrm>
            <a:off x="7213472" y="3346719"/>
            <a:ext cx="3056726" cy="421658"/>
            <a:chOff x="-3494977" y="6874113"/>
            <a:chExt cx="1586382" cy="712272"/>
          </a:xfrm>
          <a:solidFill>
            <a:schemeClr val="accent2">
              <a:lumMod val="20000"/>
              <a:lumOff val="80000"/>
            </a:schemeClr>
          </a:solidFill>
        </p:grpSpPr>
        <p:sp>
          <p:nvSpPr>
            <p:cNvPr id="166" name="Rectangle 165">
              <a:extLst>
                <a:ext uri="{FF2B5EF4-FFF2-40B4-BE49-F238E27FC236}">
                  <a16:creationId xmlns:a16="http://schemas.microsoft.com/office/drawing/2014/main" id="{6967DF9C-256E-C8AE-9E55-C2E87E5F8C6D}"/>
                </a:ext>
              </a:extLst>
            </p:cNvPr>
            <p:cNvSpPr/>
            <p:nvPr/>
          </p:nvSpPr>
          <p:spPr>
            <a:xfrm>
              <a:off x="-3494977" y="6874113"/>
              <a:ext cx="1586382" cy="712272"/>
            </a:xfrm>
            <a:prstGeom prst="rect">
              <a:avLst/>
            </a:prstGeom>
            <a:grp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err="1">
                <a:ln>
                  <a:noFill/>
                </a:ln>
                <a:solidFill>
                  <a:prstClr val="white"/>
                </a:solidFill>
                <a:effectLst/>
                <a:uLnTx/>
                <a:uFillTx/>
                <a:latin typeface="Arial"/>
                <a:ea typeface="+mn-ea"/>
                <a:cs typeface="+mn-cs"/>
              </a:endParaRPr>
            </a:p>
          </p:txBody>
        </p:sp>
        <p:sp>
          <p:nvSpPr>
            <p:cNvPr id="167" name="TextBox 166">
              <a:extLst>
                <a:ext uri="{FF2B5EF4-FFF2-40B4-BE49-F238E27FC236}">
                  <a16:creationId xmlns:a16="http://schemas.microsoft.com/office/drawing/2014/main" id="{EAADA03D-8B34-EC42-7F83-7CFE15D45067}"/>
                </a:ext>
              </a:extLst>
            </p:cNvPr>
            <p:cNvSpPr txBox="1"/>
            <p:nvPr/>
          </p:nvSpPr>
          <p:spPr>
            <a:xfrm>
              <a:off x="-3398912" y="6960929"/>
              <a:ext cx="1354980" cy="519902"/>
            </a:xfrm>
            <a:prstGeom prst="rect">
              <a:avLst/>
            </a:prstGeom>
            <a:grp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Procesejerforum teknik, Bu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Operationel styregruppe</a:t>
              </a:r>
            </a:p>
          </p:txBody>
        </p:sp>
      </p:grpSp>
      <p:cxnSp>
        <p:nvCxnSpPr>
          <p:cNvPr id="169" name="Straight Connector 168">
            <a:extLst>
              <a:ext uri="{FF2B5EF4-FFF2-40B4-BE49-F238E27FC236}">
                <a16:creationId xmlns:a16="http://schemas.microsoft.com/office/drawing/2014/main" id="{5B52AB42-2DC3-8E17-181A-FB6549C81ED5}"/>
              </a:ext>
            </a:extLst>
          </p:cNvPr>
          <p:cNvCxnSpPr>
            <a:cxnSpLocks/>
          </p:cNvCxnSpPr>
          <p:nvPr/>
        </p:nvCxnSpPr>
        <p:spPr>
          <a:xfrm>
            <a:off x="8009461" y="5681955"/>
            <a:ext cx="1511525"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14A54EF7-6BD0-FD63-16DF-4B3BA49F20B3}"/>
              </a:ext>
            </a:extLst>
          </p:cNvPr>
          <p:cNvGrpSpPr/>
          <p:nvPr/>
        </p:nvGrpSpPr>
        <p:grpSpPr>
          <a:xfrm>
            <a:off x="7149212" y="1390701"/>
            <a:ext cx="3056726" cy="421658"/>
            <a:chOff x="73965" y="6005273"/>
            <a:chExt cx="1586382" cy="712272"/>
          </a:xfrm>
          <a:solidFill>
            <a:schemeClr val="accent2">
              <a:lumMod val="20000"/>
              <a:lumOff val="80000"/>
            </a:schemeClr>
          </a:solidFill>
        </p:grpSpPr>
        <p:sp>
          <p:nvSpPr>
            <p:cNvPr id="15" name="Rectangle 14">
              <a:extLst>
                <a:ext uri="{FF2B5EF4-FFF2-40B4-BE49-F238E27FC236}">
                  <a16:creationId xmlns:a16="http://schemas.microsoft.com/office/drawing/2014/main" id="{B4A16DC1-FC48-8ABE-103C-8C222C80235B}"/>
                </a:ext>
              </a:extLst>
            </p:cNvPr>
            <p:cNvSpPr/>
            <p:nvPr/>
          </p:nvSpPr>
          <p:spPr>
            <a:xfrm>
              <a:off x="73965" y="6005273"/>
              <a:ext cx="1586382" cy="712272"/>
            </a:xfrm>
            <a:prstGeom prst="rect">
              <a:avLst/>
            </a:prstGeom>
            <a:grp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000" b="0" i="0" u="none" strike="noStrike" kern="1200" cap="none" spc="0" normalizeH="0" baseline="0" noProof="0" err="1">
                <a:ln>
                  <a:noFill/>
                </a:ln>
                <a:solidFill>
                  <a:prstClr val="white"/>
                </a:solidFill>
                <a:effectLst/>
                <a:uLnTx/>
                <a:uFillTx/>
                <a:latin typeface="Arial"/>
                <a:ea typeface="+mn-ea"/>
                <a:cs typeface="+mn-cs"/>
              </a:endParaRPr>
            </a:p>
          </p:txBody>
        </p:sp>
        <p:sp>
          <p:nvSpPr>
            <p:cNvPr id="22" name="TextBox 21">
              <a:extLst>
                <a:ext uri="{FF2B5EF4-FFF2-40B4-BE49-F238E27FC236}">
                  <a16:creationId xmlns:a16="http://schemas.microsoft.com/office/drawing/2014/main" id="{47AF4580-2541-5F5E-5346-4D9167D9F1E5}"/>
                </a:ext>
              </a:extLst>
            </p:cNvPr>
            <p:cNvSpPr txBox="1"/>
            <p:nvPr/>
          </p:nvSpPr>
          <p:spPr>
            <a:xfrm>
              <a:off x="250466" y="6085514"/>
              <a:ext cx="1354980" cy="259950"/>
            </a:xfrm>
            <a:prstGeom prst="rect">
              <a:avLst/>
            </a:prstGeom>
            <a:grp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Prorektors Studenterforum</a:t>
              </a:r>
            </a:p>
          </p:txBody>
        </p:sp>
      </p:grpSp>
      <p:sp>
        <p:nvSpPr>
          <p:cNvPr id="109" name="Rectangle 108">
            <a:extLst>
              <a:ext uri="{FF2B5EF4-FFF2-40B4-BE49-F238E27FC236}">
                <a16:creationId xmlns:a16="http://schemas.microsoft.com/office/drawing/2014/main" id="{FCFA3BF9-8BA9-13C2-5CA0-A6AD54F08D54}"/>
              </a:ext>
            </a:extLst>
          </p:cNvPr>
          <p:cNvSpPr/>
          <p:nvPr/>
        </p:nvSpPr>
        <p:spPr>
          <a:xfrm>
            <a:off x="8762034" y="3969995"/>
            <a:ext cx="1347006" cy="2750294"/>
          </a:xfrm>
          <a:prstGeom prst="rect">
            <a:avLst/>
          </a:prstGeom>
          <a:solidFill>
            <a:schemeClr val="bg1">
              <a:lumMod val="8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grpSp>
        <p:nvGrpSpPr>
          <p:cNvPr id="111" name="Group 110">
            <a:extLst>
              <a:ext uri="{FF2B5EF4-FFF2-40B4-BE49-F238E27FC236}">
                <a16:creationId xmlns:a16="http://schemas.microsoft.com/office/drawing/2014/main" id="{5D4029BC-AE1E-811D-6739-27ED575FADF7}"/>
              </a:ext>
            </a:extLst>
          </p:cNvPr>
          <p:cNvGrpSpPr/>
          <p:nvPr/>
        </p:nvGrpSpPr>
        <p:grpSpPr>
          <a:xfrm>
            <a:off x="8911177" y="5618189"/>
            <a:ext cx="998212" cy="456404"/>
            <a:chOff x="9293679" y="4362188"/>
            <a:chExt cx="998212" cy="712273"/>
          </a:xfrm>
        </p:grpSpPr>
        <p:sp>
          <p:nvSpPr>
            <p:cNvPr id="127" name="Rectangle 126">
              <a:extLst>
                <a:ext uri="{FF2B5EF4-FFF2-40B4-BE49-F238E27FC236}">
                  <a16:creationId xmlns:a16="http://schemas.microsoft.com/office/drawing/2014/main" id="{C0A1799C-AF5F-19D9-06E8-3419C84AC1E6}"/>
                </a:ext>
              </a:extLst>
            </p:cNvPr>
            <p:cNvSpPr/>
            <p:nvPr/>
          </p:nvSpPr>
          <p:spPr>
            <a:xfrm>
              <a:off x="9293679" y="4362188"/>
              <a:ext cx="998212" cy="712273"/>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128" name="TextBox 127">
              <a:extLst>
                <a:ext uri="{FF2B5EF4-FFF2-40B4-BE49-F238E27FC236}">
                  <a16:creationId xmlns:a16="http://schemas.microsoft.com/office/drawing/2014/main" id="{AD2C40C4-FF7F-7EE8-5FFC-18D9E534E0C6}"/>
                </a:ext>
              </a:extLst>
            </p:cNvPr>
            <p:cNvSpPr txBox="1"/>
            <p:nvPr/>
          </p:nvSpPr>
          <p:spPr>
            <a:xfrm>
              <a:off x="9398227" y="4628796"/>
              <a:ext cx="806099" cy="215840"/>
            </a:xfrm>
            <a:prstGeom prst="rect">
              <a:avLst/>
            </a:prstGeom>
            <a:solidFill>
              <a:schemeClr val="bg1">
                <a:lumMod val="65000"/>
              </a:schemeClr>
            </a:solid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Test</a:t>
              </a:r>
              <a:endParaRPr kumimoji="0" lang="da-DK" sz="10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4" name="Group 113">
            <a:extLst>
              <a:ext uri="{FF2B5EF4-FFF2-40B4-BE49-F238E27FC236}">
                <a16:creationId xmlns:a16="http://schemas.microsoft.com/office/drawing/2014/main" id="{838B92DE-D178-AB71-2EA0-D40F0457BC61}"/>
              </a:ext>
            </a:extLst>
          </p:cNvPr>
          <p:cNvGrpSpPr/>
          <p:nvPr/>
        </p:nvGrpSpPr>
        <p:grpSpPr>
          <a:xfrm>
            <a:off x="8905571" y="5108048"/>
            <a:ext cx="998212" cy="456404"/>
            <a:chOff x="9293679" y="5223371"/>
            <a:chExt cx="998212" cy="712273"/>
          </a:xfrm>
        </p:grpSpPr>
        <p:sp>
          <p:nvSpPr>
            <p:cNvPr id="121" name="Rectangle 120">
              <a:extLst>
                <a:ext uri="{FF2B5EF4-FFF2-40B4-BE49-F238E27FC236}">
                  <a16:creationId xmlns:a16="http://schemas.microsoft.com/office/drawing/2014/main" id="{48436951-08D3-7F1A-CE7D-0ED5509FBD85}"/>
                </a:ext>
              </a:extLst>
            </p:cNvPr>
            <p:cNvSpPr/>
            <p:nvPr/>
          </p:nvSpPr>
          <p:spPr>
            <a:xfrm>
              <a:off x="9293679" y="5223371"/>
              <a:ext cx="998212" cy="712273"/>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122" name="TextBox 121">
              <a:extLst>
                <a:ext uri="{FF2B5EF4-FFF2-40B4-BE49-F238E27FC236}">
                  <a16:creationId xmlns:a16="http://schemas.microsoft.com/office/drawing/2014/main" id="{C6E28857-D8A5-CDDE-C7EF-976C4CCD96C9}"/>
                </a:ext>
              </a:extLst>
            </p:cNvPr>
            <p:cNvSpPr txBox="1"/>
            <p:nvPr/>
          </p:nvSpPr>
          <p:spPr>
            <a:xfrm>
              <a:off x="9398227" y="5311012"/>
              <a:ext cx="806099" cy="215840"/>
            </a:xfrm>
            <a:prstGeom prst="rect">
              <a:avLst/>
            </a:prstGeom>
            <a:solidFill>
              <a:schemeClr val="bg1">
                <a:lumMod val="65000"/>
              </a:schemeClr>
            </a:solid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Sikkerhed</a:t>
              </a:r>
              <a:endParaRPr kumimoji="0" lang="da-DK" sz="10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15" name="Group 114">
            <a:extLst>
              <a:ext uri="{FF2B5EF4-FFF2-40B4-BE49-F238E27FC236}">
                <a16:creationId xmlns:a16="http://schemas.microsoft.com/office/drawing/2014/main" id="{6D294BA5-24B5-43A5-C22B-3DC08EF20565}"/>
              </a:ext>
            </a:extLst>
          </p:cNvPr>
          <p:cNvGrpSpPr/>
          <p:nvPr/>
        </p:nvGrpSpPr>
        <p:grpSpPr>
          <a:xfrm>
            <a:off x="8903289" y="4594090"/>
            <a:ext cx="998212" cy="456404"/>
            <a:chOff x="9293679" y="5223371"/>
            <a:chExt cx="998212" cy="712273"/>
          </a:xfrm>
        </p:grpSpPr>
        <p:sp>
          <p:nvSpPr>
            <p:cNvPr id="119" name="Rectangle 118">
              <a:extLst>
                <a:ext uri="{FF2B5EF4-FFF2-40B4-BE49-F238E27FC236}">
                  <a16:creationId xmlns:a16="http://schemas.microsoft.com/office/drawing/2014/main" id="{51463C78-FA69-A427-CB8B-8DED3B6206B5}"/>
                </a:ext>
              </a:extLst>
            </p:cNvPr>
            <p:cNvSpPr/>
            <p:nvPr/>
          </p:nvSpPr>
          <p:spPr>
            <a:xfrm>
              <a:off x="9293679" y="5223371"/>
              <a:ext cx="998212" cy="712273"/>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120" name="TextBox 119">
              <a:extLst>
                <a:ext uri="{FF2B5EF4-FFF2-40B4-BE49-F238E27FC236}">
                  <a16:creationId xmlns:a16="http://schemas.microsoft.com/office/drawing/2014/main" id="{7782451A-3DF7-608E-4F54-202BA1CA4F54}"/>
                </a:ext>
              </a:extLst>
            </p:cNvPr>
            <p:cNvSpPr txBox="1"/>
            <p:nvPr/>
          </p:nvSpPr>
          <p:spPr>
            <a:xfrm>
              <a:off x="9398227" y="5311012"/>
              <a:ext cx="806099" cy="431681"/>
            </a:xfrm>
            <a:prstGeom prst="rect">
              <a:avLst/>
            </a:prstGeom>
            <a:solidFill>
              <a:schemeClr val="bg1">
                <a:lumMod val="65000"/>
              </a:schemeClr>
            </a:solid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Integrationer &amp; teknik </a:t>
              </a:r>
              <a:endParaRPr kumimoji="0" lang="da-DK" sz="1000" b="0" i="0" u="none" strike="noStrike" kern="1200" cap="none" spc="0" normalizeH="0" baseline="0" noProof="0">
                <a:ln>
                  <a:noFill/>
                </a:ln>
                <a:solidFill>
                  <a:srgbClr val="000000"/>
                </a:solidFill>
                <a:effectLst/>
                <a:uLnTx/>
                <a:uFillTx/>
                <a:latin typeface="Arial"/>
                <a:ea typeface="+mn-ea"/>
                <a:cs typeface="+mn-cs"/>
              </a:endParaRPr>
            </a:p>
          </p:txBody>
        </p:sp>
      </p:grpSp>
      <p:sp>
        <p:nvSpPr>
          <p:cNvPr id="25" name="Rectangle 24">
            <a:extLst>
              <a:ext uri="{FF2B5EF4-FFF2-40B4-BE49-F238E27FC236}">
                <a16:creationId xmlns:a16="http://schemas.microsoft.com/office/drawing/2014/main" id="{A92D9312-F751-D4EC-4329-C71190FFB4BA}"/>
              </a:ext>
            </a:extLst>
          </p:cNvPr>
          <p:cNvSpPr/>
          <p:nvPr/>
        </p:nvSpPr>
        <p:spPr>
          <a:xfrm>
            <a:off x="8915939" y="6145296"/>
            <a:ext cx="998212" cy="456404"/>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26" name="TextBox 25">
            <a:extLst>
              <a:ext uri="{FF2B5EF4-FFF2-40B4-BE49-F238E27FC236}">
                <a16:creationId xmlns:a16="http://schemas.microsoft.com/office/drawing/2014/main" id="{09C8BB51-733A-24AA-76EA-B446F10270E6}"/>
              </a:ext>
            </a:extLst>
          </p:cNvPr>
          <p:cNvSpPr txBox="1"/>
          <p:nvPr/>
        </p:nvSpPr>
        <p:spPr>
          <a:xfrm>
            <a:off x="9020487" y="6201453"/>
            <a:ext cx="806099" cy="197215"/>
          </a:xfrm>
          <a:prstGeom prst="rect">
            <a:avLst/>
          </a:prstGeom>
          <a:solidFill>
            <a:schemeClr val="bg1">
              <a:lumMod val="65000"/>
            </a:schemeClr>
          </a:solid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Dat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migrering</a:t>
            </a:r>
            <a:endParaRPr kumimoji="0" lang="da-DK"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39" name="Group 38">
            <a:extLst>
              <a:ext uri="{FF2B5EF4-FFF2-40B4-BE49-F238E27FC236}">
                <a16:creationId xmlns:a16="http://schemas.microsoft.com/office/drawing/2014/main" id="{55035FA3-FC40-4631-5B99-147ACE4945E5}"/>
              </a:ext>
            </a:extLst>
          </p:cNvPr>
          <p:cNvGrpSpPr/>
          <p:nvPr/>
        </p:nvGrpSpPr>
        <p:grpSpPr>
          <a:xfrm>
            <a:off x="597605" y="4250224"/>
            <a:ext cx="1253368" cy="2470065"/>
            <a:chOff x="128357" y="4118271"/>
            <a:chExt cx="1253368" cy="2470065"/>
          </a:xfrm>
        </p:grpSpPr>
        <p:sp>
          <p:nvSpPr>
            <p:cNvPr id="134" name="Rectangle 133">
              <a:extLst>
                <a:ext uri="{FF2B5EF4-FFF2-40B4-BE49-F238E27FC236}">
                  <a16:creationId xmlns:a16="http://schemas.microsoft.com/office/drawing/2014/main" id="{7946E5B0-81F3-3E95-8073-7B4D98E346F3}"/>
                </a:ext>
              </a:extLst>
            </p:cNvPr>
            <p:cNvSpPr/>
            <p:nvPr/>
          </p:nvSpPr>
          <p:spPr>
            <a:xfrm>
              <a:off x="128357" y="4118271"/>
              <a:ext cx="1253368" cy="2470065"/>
            </a:xfrm>
            <a:prstGeom prst="rect">
              <a:avLst/>
            </a:prstGeom>
            <a:solidFill>
              <a:schemeClr val="bg1">
                <a:lumMod val="8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104" name="Rectangle 103">
              <a:extLst>
                <a:ext uri="{FF2B5EF4-FFF2-40B4-BE49-F238E27FC236}">
                  <a16:creationId xmlns:a16="http://schemas.microsoft.com/office/drawing/2014/main" id="{14A4A74C-F68B-BAE7-C50B-8B2B931A8313}"/>
                </a:ext>
              </a:extLst>
            </p:cNvPr>
            <p:cNvSpPr/>
            <p:nvPr/>
          </p:nvSpPr>
          <p:spPr>
            <a:xfrm>
              <a:off x="234661" y="5970218"/>
              <a:ext cx="998212" cy="507831"/>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105" name="TextBox 104">
              <a:extLst>
                <a:ext uri="{FF2B5EF4-FFF2-40B4-BE49-F238E27FC236}">
                  <a16:creationId xmlns:a16="http://schemas.microsoft.com/office/drawing/2014/main" id="{DC1D69FA-52B1-F120-ACE5-9B296CF7ABF1}"/>
                </a:ext>
              </a:extLst>
            </p:cNvPr>
            <p:cNvSpPr txBox="1"/>
            <p:nvPr/>
          </p:nvSpPr>
          <p:spPr>
            <a:xfrm>
              <a:off x="354590" y="6069404"/>
              <a:ext cx="806099" cy="307777"/>
            </a:xfrm>
            <a:prstGeom prst="rect">
              <a:avLst/>
            </a:prstGeom>
            <a:solidFill>
              <a:schemeClr val="bg1">
                <a:lumMod val="65000"/>
              </a:schemeClr>
            </a:solid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Proces &amp; </a:t>
              </a:r>
              <a:r>
                <a:rPr kumimoji="0" lang="da-DK" sz="1000" b="1" i="0" u="none" strike="noStrike" kern="1200" cap="none" spc="0" normalizeH="0" baseline="0" noProof="0" err="1">
                  <a:ln>
                    <a:noFill/>
                  </a:ln>
                  <a:solidFill>
                    <a:srgbClr val="000000"/>
                  </a:solidFill>
                  <a:effectLst/>
                  <a:uLnTx/>
                  <a:uFillTx/>
                  <a:latin typeface="Arial"/>
                  <a:ea typeface="+mn-ea"/>
                  <a:cs typeface="+mn-cs"/>
                </a:rPr>
                <a:t>konfig</a:t>
              </a:r>
              <a:endParaRPr kumimoji="0" lang="da-DK" sz="1000" b="0" i="0" u="none" strike="noStrike" kern="1200" cap="none" spc="0" normalizeH="0" baseline="0" noProof="0">
                <a:ln>
                  <a:noFill/>
                </a:ln>
                <a:solidFill>
                  <a:srgbClr val="000000"/>
                </a:solidFill>
                <a:effectLst/>
                <a:uLnTx/>
                <a:uFillTx/>
                <a:latin typeface="Arial"/>
                <a:ea typeface="+mn-ea"/>
                <a:cs typeface="+mn-cs"/>
              </a:endParaRPr>
            </a:p>
          </p:txBody>
        </p:sp>
        <p:grpSp>
          <p:nvGrpSpPr>
            <p:cNvPr id="135" name="Group 134">
              <a:extLst>
                <a:ext uri="{FF2B5EF4-FFF2-40B4-BE49-F238E27FC236}">
                  <a16:creationId xmlns:a16="http://schemas.microsoft.com/office/drawing/2014/main" id="{FE4E1EAB-9747-82C4-48CD-BBA2E989FD50}"/>
                </a:ext>
              </a:extLst>
            </p:cNvPr>
            <p:cNvGrpSpPr/>
            <p:nvPr/>
          </p:nvGrpSpPr>
          <p:grpSpPr>
            <a:xfrm>
              <a:off x="231266" y="4795515"/>
              <a:ext cx="998212" cy="507831"/>
              <a:chOff x="9293679" y="5059332"/>
              <a:chExt cx="998212" cy="712273"/>
            </a:xfrm>
          </p:grpSpPr>
          <p:sp>
            <p:nvSpPr>
              <p:cNvPr id="142" name="Rectangle 141">
                <a:extLst>
                  <a:ext uri="{FF2B5EF4-FFF2-40B4-BE49-F238E27FC236}">
                    <a16:creationId xmlns:a16="http://schemas.microsoft.com/office/drawing/2014/main" id="{03F691FB-EC0F-B2ED-CFD4-7179EF78536A}"/>
                  </a:ext>
                </a:extLst>
              </p:cNvPr>
              <p:cNvSpPr/>
              <p:nvPr/>
            </p:nvSpPr>
            <p:spPr>
              <a:xfrm>
                <a:off x="9293679" y="5059332"/>
                <a:ext cx="998212" cy="712273"/>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143" name="TextBox 142">
                <a:extLst>
                  <a:ext uri="{FF2B5EF4-FFF2-40B4-BE49-F238E27FC236}">
                    <a16:creationId xmlns:a16="http://schemas.microsoft.com/office/drawing/2014/main" id="{F7CB57AD-16D8-C01E-052B-421C23C709D1}"/>
                  </a:ext>
                </a:extLst>
              </p:cNvPr>
              <p:cNvSpPr txBox="1"/>
              <p:nvPr/>
            </p:nvSpPr>
            <p:spPr>
              <a:xfrm>
                <a:off x="9398227" y="5146972"/>
                <a:ext cx="806099" cy="431682"/>
              </a:xfrm>
              <a:prstGeom prst="rect">
                <a:avLst/>
              </a:prstGeom>
              <a:solidFill>
                <a:schemeClr val="bg1">
                  <a:lumMod val="65000"/>
                </a:schemeClr>
              </a:solid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err="1">
                    <a:ln>
                      <a:noFill/>
                    </a:ln>
                    <a:solidFill>
                      <a:srgbClr val="000000"/>
                    </a:solidFill>
                    <a:effectLst/>
                    <a:uLnTx/>
                    <a:uFillTx/>
                    <a:latin typeface="Arial"/>
                    <a:ea typeface="+mn-ea"/>
                    <a:cs typeface="+mn-cs"/>
                  </a:rPr>
                  <a:t>Org</a:t>
                </a:r>
                <a:r>
                  <a:rPr kumimoji="0" lang="da-DK" sz="1000" b="1" i="0" u="none" strike="noStrike" kern="1200" cap="none" spc="0" normalizeH="0" baseline="0" noProof="0">
                    <a:ln>
                      <a:noFill/>
                    </a:ln>
                    <a:solidFill>
                      <a:srgbClr val="000000"/>
                    </a:solidFill>
                    <a:effectLst/>
                    <a:uLnTx/>
                    <a:uFillTx/>
                    <a:latin typeface="Arial"/>
                    <a:ea typeface="+mn-ea"/>
                    <a:cs typeface="+mn-cs"/>
                  </a:rPr>
                  <a:t>. </a:t>
                </a:r>
                <a:r>
                  <a:rPr kumimoji="0" lang="da-DK" sz="1000" b="1" i="0" u="none" strike="noStrike" kern="1200" cap="none" spc="0" normalizeH="0" baseline="0" noProof="0" err="1">
                    <a:ln>
                      <a:noFill/>
                    </a:ln>
                    <a:solidFill>
                      <a:srgbClr val="000000"/>
                    </a:solidFill>
                    <a:effectLst/>
                    <a:uLnTx/>
                    <a:uFillTx/>
                    <a:latin typeface="Arial"/>
                    <a:ea typeface="+mn-ea"/>
                    <a:cs typeface="+mn-cs"/>
                  </a:rPr>
                  <a:t>implem</a:t>
                </a:r>
                <a:r>
                  <a:rPr kumimoji="0" lang="da-DK" sz="1000" b="1" i="0" u="none" strike="noStrike" kern="1200" cap="none" spc="0" normalizeH="0" baseline="0" noProof="0">
                    <a:ln>
                      <a:noFill/>
                    </a:ln>
                    <a:solidFill>
                      <a:srgbClr val="000000"/>
                    </a:solidFill>
                    <a:effectLst/>
                    <a:uLnTx/>
                    <a:uFillTx/>
                    <a:latin typeface="Arial"/>
                    <a:ea typeface="+mn-ea"/>
                    <a:cs typeface="+mn-cs"/>
                  </a:rPr>
                  <a:t>. / Træning</a:t>
                </a:r>
                <a:endParaRPr kumimoji="0" lang="da-DK" sz="1000" b="0" i="0" u="none" strike="noStrike" kern="1200" cap="none" spc="0" normalizeH="0" baseline="0" noProof="0">
                  <a:ln>
                    <a:noFill/>
                  </a:ln>
                  <a:solidFill>
                    <a:srgbClr val="000000"/>
                  </a:solidFill>
                  <a:effectLst/>
                  <a:uLnTx/>
                  <a:uFillTx/>
                  <a:latin typeface="Arial"/>
                  <a:ea typeface="+mn-ea"/>
                  <a:cs typeface="+mn-cs"/>
                </a:endParaRPr>
              </a:p>
            </p:txBody>
          </p:sp>
        </p:grpSp>
        <p:grpSp>
          <p:nvGrpSpPr>
            <p:cNvPr id="136" name="Group 135">
              <a:extLst>
                <a:ext uri="{FF2B5EF4-FFF2-40B4-BE49-F238E27FC236}">
                  <a16:creationId xmlns:a16="http://schemas.microsoft.com/office/drawing/2014/main" id="{1E5B4737-8F43-2E56-57CD-5D0EBACADC8E}"/>
                </a:ext>
              </a:extLst>
            </p:cNvPr>
            <p:cNvGrpSpPr/>
            <p:nvPr/>
          </p:nvGrpSpPr>
          <p:grpSpPr>
            <a:xfrm>
              <a:off x="255139" y="5386328"/>
              <a:ext cx="998212" cy="507831"/>
              <a:chOff x="9293679" y="5059332"/>
              <a:chExt cx="998212" cy="712273"/>
            </a:xfrm>
          </p:grpSpPr>
          <p:sp>
            <p:nvSpPr>
              <p:cNvPr id="140" name="Rectangle 139">
                <a:extLst>
                  <a:ext uri="{FF2B5EF4-FFF2-40B4-BE49-F238E27FC236}">
                    <a16:creationId xmlns:a16="http://schemas.microsoft.com/office/drawing/2014/main" id="{1FE9BFF0-D177-D59D-E114-19288206DD9A}"/>
                  </a:ext>
                </a:extLst>
              </p:cNvPr>
              <p:cNvSpPr/>
              <p:nvPr/>
            </p:nvSpPr>
            <p:spPr>
              <a:xfrm>
                <a:off x="9293679" y="5059332"/>
                <a:ext cx="998212" cy="712273"/>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141" name="TextBox 140">
                <a:extLst>
                  <a:ext uri="{FF2B5EF4-FFF2-40B4-BE49-F238E27FC236}">
                    <a16:creationId xmlns:a16="http://schemas.microsoft.com/office/drawing/2014/main" id="{D2A73740-2BAC-1FC1-5145-0DF71366664F}"/>
                  </a:ext>
                </a:extLst>
              </p:cNvPr>
              <p:cNvSpPr txBox="1"/>
              <p:nvPr/>
            </p:nvSpPr>
            <p:spPr>
              <a:xfrm>
                <a:off x="9398227" y="5146972"/>
                <a:ext cx="806099" cy="431681"/>
              </a:xfrm>
              <a:prstGeom prst="rect">
                <a:avLst/>
              </a:prstGeom>
              <a:solidFill>
                <a:schemeClr val="bg1">
                  <a:lumMod val="65000"/>
                </a:schemeClr>
              </a:solid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Transition til drift</a:t>
                </a:r>
                <a:endParaRPr kumimoji="0" lang="da-DK" sz="1000" b="0" i="0" u="none" strike="noStrike" kern="1200" cap="none" spc="0" normalizeH="0" baseline="0" noProof="0">
                  <a:ln>
                    <a:noFill/>
                  </a:ln>
                  <a:solidFill>
                    <a:srgbClr val="000000"/>
                  </a:solidFill>
                  <a:effectLst/>
                  <a:uLnTx/>
                  <a:uFillTx/>
                  <a:latin typeface="Arial"/>
                  <a:ea typeface="+mn-ea"/>
                  <a:cs typeface="+mn-cs"/>
                </a:endParaRPr>
              </a:p>
            </p:txBody>
          </p:sp>
        </p:grpSp>
        <p:sp>
          <p:nvSpPr>
            <p:cNvPr id="36" name="Rectangle 35">
              <a:extLst>
                <a:ext uri="{FF2B5EF4-FFF2-40B4-BE49-F238E27FC236}">
                  <a16:creationId xmlns:a16="http://schemas.microsoft.com/office/drawing/2014/main" id="{A4CE6FA1-5AE8-D8B1-6E82-B8C20154AE4A}"/>
                </a:ext>
              </a:extLst>
            </p:cNvPr>
            <p:cNvSpPr/>
            <p:nvPr/>
          </p:nvSpPr>
          <p:spPr>
            <a:xfrm>
              <a:off x="244427" y="4229671"/>
              <a:ext cx="998212" cy="507831"/>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37" name="TextBox 36">
              <a:extLst>
                <a:ext uri="{FF2B5EF4-FFF2-40B4-BE49-F238E27FC236}">
                  <a16:creationId xmlns:a16="http://schemas.microsoft.com/office/drawing/2014/main" id="{495FD760-8949-68D1-3C0D-C75FE2B67640}"/>
                </a:ext>
              </a:extLst>
            </p:cNvPr>
            <p:cNvSpPr txBox="1"/>
            <p:nvPr/>
          </p:nvSpPr>
          <p:spPr>
            <a:xfrm>
              <a:off x="348975" y="4292156"/>
              <a:ext cx="806099" cy="307777"/>
            </a:xfrm>
            <a:prstGeom prst="rect">
              <a:avLst/>
            </a:prstGeom>
            <a:solidFill>
              <a:schemeClr val="bg1">
                <a:lumMod val="65000"/>
              </a:schemeClr>
            </a:solid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err="1">
                  <a:ln>
                    <a:noFill/>
                  </a:ln>
                  <a:solidFill>
                    <a:srgbClr val="000000"/>
                  </a:solidFill>
                  <a:effectLst/>
                  <a:uLnTx/>
                  <a:uFillTx/>
                  <a:latin typeface="Arial"/>
                  <a:ea typeface="+mn-ea"/>
                  <a:cs typeface="+mn-cs"/>
                </a:rPr>
                <a:t>Kommuni-kation</a:t>
              </a:r>
              <a:endParaRPr kumimoji="0" lang="da-DK" sz="1000" b="1" i="0" u="none" strike="noStrike" kern="1200" cap="none" spc="0" normalizeH="0" baseline="0" noProof="0">
                <a:ln>
                  <a:noFill/>
                </a:ln>
                <a:solidFill>
                  <a:srgbClr val="000000"/>
                </a:solidFill>
                <a:effectLst/>
                <a:uLnTx/>
                <a:uFillTx/>
                <a:latin typeface="Arial"/>
                <a:ea typeface="+mn-ea"/>
                <a:cs typeface="+mn-cs"/>
              </a:endParaRPr>
            </a:p>
          </p:txBody>
        </p:sp>
      </p:grpSp>
      <p:sp>
        <p:nvSpPr>
          <p:cNvPr id="38" name="Rectangle 37">
            <a:extLst>
              <a:ext uri="{FF2B5EF4-FFF2-40B4-BE49-F238E27FC236}">
                <a16:creationId xmlns:a16="http://schemas.microsoft.com/office/drawing/2014/main" id="{80029859-3DAD-A9E3-FC06-25BD04AF64F0}"/>
              </a:ext>
            </a:extLst>
          </p:cNvPr>
          <p:cNvSpPr/>
          <p:nvPr/>
        </p:nvSpPr>
        <p:spPr>
          <a:xfrm>
            <a:off x="4257346" y="5518281"/>
            <a:ext cx="2003037" cy="905046"/>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dirty="0">
                <a:ln>
                  <a:noFill/>
                </a:ln>
                <a:solidFill>
                  <a:srgbClr val="000000"/>
                </a:solidFill>
                <a:effectLst/>
                <a:uLnTx/>
                <a:uFillTx/>
                <a:latin typeface="Arial"/>
                <a:ea typeface="+mn-ea"/>
                <a:cs typeface="+mn-cs"/>
              </a:rPr>
              <a:t>Tværgående</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Pia (test)</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dirty="0">
                <a:ln>
                  <a:noFill/>
                </a:ln>
                <a:solidFill>
                  <a:srgbClr val="000000"/>
                </a:solidFill>
                <a:effectLst/>
                <a:uLnTx/>
                <a:uFillTx/>
                <a:latin typeface="Arial"/>
                <a:ea typeface="+mn-ea"/>
                <a:cs typeface="+mn-cs"/>
              </a:rPr>
              <a:t>Janni / Simon (sikkerhed)</a:t>
            </a:r>
          </a:p>
          <a:p>
            <a:pPr marL="628650" marR="0" lvl="1" indent="-171450" algn="l" defTabSz="914400" rtl="0" eaLnBrk="1" fontAlgn="auto" latinLnBrk="0" hangingPunct="1">
              <a:lnSpc>
                <a:spcPct val="100000"/>
              </a:lnSpc>
              <a:spcBef>
                <a:spcPts val="0"/>
              </a:spcBef>
              <a:spcAft>
                <a:spcPts val="0"/>
              </a:spcAft>
              <a:buClrTx/>
              <a:buSzTx/>
              <a:buFontTx/>
              <a:buChar char="-"/>
              <a:tabLst/>
              <a:defRPr/>
            </a:pPr>
            <a:r>
              <a:rPr kumimoji="0" lang="da-DK" sz="1000" b="0" i="0" u="none" strike="noStrike" kern="1200" cap="none" spc="0" normalizeH="0" baseline="0" noProof="0">
                <a:ln>
                  <a:noFill/>
                </a:ln>
                <a:solidFill>
                  <a:srgbClr val="000000"/>
                </a:solidFill>
                <a:effectLst/>
                <a:uLnTx/>
                <a:uFillTx/>
                <a:latin typeface="Arial"/>
                <a:ea typeface="+mn-ea"/>
                <a:cs typeface="+mn-cs"/>
              </a:rPr>
              <a:t>NN test</a:t>
            </a:r>
          </a:p>
        </p:txBody>
      </p:sp>
      <p:sp>
        <p:nvSpPr>
          <p:cNvPr id="2" name="Rectangle 1">
            <a:extLst>
              <a:ext uri="{FF2B5EF4-FFF2-40B4-BE49-F238E27FC236}">
                <a16:creationId xmlns:a16="http://schemas.microsoft.com/office/drawing/2014/main" id="{75CC3936-7C4D-EF23-4BBA-C2D21413D755}"/>
              </a:ext>
            </a:extLst>
          </p:cNvPr>
          <p:cNvSpPr/>
          <p:nvPr/>
        </p:nvSpPr>
        <p:spPr>
          <a:xfrm>
            <a:off x="8912564" y="4086530"/>
            <a:ext cx="998212" cy="456404"/>
          </a:xfrm>
          <a:prstGeom prst="rect">
            <a:avLst/>
          </a:prstGeom>
          <a:solidFill>
            <a:schemeClr val="bg1">
              <a:lumMod val="65000"/>
            </a:schemeClr>
          </a:solid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a-DK" sz="1600" b="0" i="0" u="none" strike="noStrike" kern="1200" cap="none" spc="0" normalizeH="0" baseline="0" noProof="0" err="1">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4A4CEC55-B688-47B5-A440-E0D0D25F23BC}"/>
              </a:ext>
            </a:extLst>
          </p:cNvPr>
          <p:cNvSpPr txBox="1"/>
          <p:nvPr/>
        </p:nvSpPr>
        <p:spPr>
          <a:xfrm>
            <a:off x="9017112" y="4142688"/>
            <a:ext cx="806099" cy="307777"/>
          </a:xfrm>
          <a:prstGeom prst="rect">
            <a:avLst/>
          </a:prstGeom>
          <a:solidFill>
            <a:schemeClr val="bg1">
              <a:lumMod val="65000"/>
            </a:schemeClr>
          </a:solidFill>
          <a:ln>
            <a:noFill/>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1000" b="1" i="0" u="none" strike="noStrike" kern="1200" cap="none" spc="0" normalizeH="0" baseline="0" noProof="0">
                <a:ln>
                  <a:noFill/>
                </a:ln>
                <a:solidFill>
                  <a:srgbClr val="000000"/>
                </a:solidFill>
                <a:effectLst/>
                <a:uLnTx/>
                <a:uFillTx/>
                <a:latin typeface="Arial"/>
                <a:ea typeface="+mn-ea"/>
                <a:cs typeface="+mn-cs"/>
              </a:rPr>
              <a:t>Informations </a:t>
            </a:r>
            <a:r>
              <a:rPr kumimoji="0" lang="da-DK" sz="1000" b="1" i="0" u="none" strike="noStrike" kern="1200" cap="none" spc="0" normalizeH="0" baseline="0" noProof="0" err="1">
                <a:ln>
                  <a:noFill/>
                </a:ln>
                <a:solidFill>
                  <a:srgbClr val="000000"/>
                </a:solidFill>
                <a:effectLst/>
                <a:uLnTx/>
                <a:uFillTx/>
                <a:latin typeface="Arial"/>
                <a:ea typeface="+mn-ea"/>
                <a:cs typeface="+mn-cs"/>
              </a:rPr>
              <a:t>ogDatamodel</a:t>
            </a:r>
            <a:endParaRPr kumimoji="0" lang="da-DK" sz="1000" b="0" i="0" u="none" strike="noStrike" kern="1200" cap="none" spc="0" normalizeH="0" baseline="0" noProof="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93537665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34&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CONTAINEDIMAGEPATH" val="C:\Users\catmo\AppData\Local\Templafy\AddIns\PowerPointVsto\Værktøjer.png"/>
</p:tagLst>
</file>

<file path=ppt/tags/tag6.xml><?xml version="1.0" encoding="utf-8"?>
<p:tagLst xmlns:a="http://schemas.openxmlformats.org/drawingml/2006/main" xmlns:r="http://schemas.openxmlformats.org/officeDocument/2006/relationships" xmlns:p="http://schemas.openxmlformats.org/presentationml/2006/main">
  <p:tag name="CONTAINEDIMAGEPATH" val="C:\Users\catmo\AppData\Local\Templafy\AddIns\PowerPointVsto\Citizen Science.png"/>
</p:tagLst>
</file>

<file path=ppt/tags/tag7.xml><?xml version="1.0" encoding="utf-8"?>
<p:tagLst xmlns:a="http://schemas.openxmlformats.org/drawingml/2006/main" xmlns:r="http://schemas.openxmlformats.org/officeDocument/2006/relationships" xmlns:p="http://schemas.openxmlformats.org/presentationml/2006/main">
  <p:tag name="CONTAINEDIMAGEPATH" val="C:\Users\catmo\AppData\Local\Templafy\AddIns\PowerPointVsto\Grøn omstilling.png"/>
</p:tagLst>
</file>

<file path=ppt/tags/tag8.xml><?xml version="1.0" encoding="utf-8"?>
<p:tagLst xmlns:a="http://schemas.openxmlformats.org/drawingml/2006/main" xmlns:r="http://schemas.openxmlformats.org/officeDocument/2006/relationships" xmlns:p="http://schemas.openxmlformats.org/presentationml/2006/main">
  <p:tag name="CONTAINEDIMAGEPATH" val="C:\Users\catmo\AppData\Local\Templafy\AddIns\PowerPointVsto\Organisation people.png"/>
</p:tagLst>
</file>

<file path=ppt/tags/tag9.xml><?xml version="1.0" encoding="utf-8"?>
<p:tagLst xmlns:a="http://schemas.openxmlformats.org/drawingml/2006/main" xmlns:r="http://schemas.openxmlformats.org/officeDocument/2006/relationships" xmlns:p="http://schemas.openxmlformats.org/presentationml/2006/main">
  <p:tag name="CONTAINEDIMAGEPATH" val="C:\Users\catmo\AppData\Local\Templafy\AddIns\PowerPointVsto\Personalevilkår.png"/>
</p:tagLst>
</file>

<file path=ppt/theme/theme1.xml><?xml version="1.0" encoding="utf-8"?>
<a:theme xmlns:a="http://schemas.openxmlformats.org/drawingml/2006/main" name="Blank">
  <a:themeElements>
    <a:clrScheme name="SDU">
      <a:dk1>
        <a:srgbClr val="000000"/>
      </a:dk1>
      <a:lt1>
        <a:srgbClr val="FFFFFF"/>
      </a:lt1>
      <a:dk2>
        <a:srgbClr val="7A6040"/>
      </a:dk2>
      <a:lt2>
        <a:srgbClr val="DDCBA4"/>
      </a:lt2>
      <a:accent1>
        <a:srgbClr val="AEB862"/>
      </a:accent1>
      <a:accent2>
        <a:srgbClr val="789D4A"/>
      </a:accent2>
      <a:accent3>
        <a:srgbClr val="F2C75C"/>
      </a:accent3>
      <a:accent4>
        <a:srgbClr val="E07E3C"/>
      </a:accent4>
      <a:accent5>
        <a:srgbClr val="E1BBB4"/>
      </a:accent5>
      <a:accent6>
        <a:srgbClr val="D05A57"/>
      </a:accent6>
      <a:hlink>
        <a:srgbClr val="0563C1"/>
      </a:hlink>
      <a:folHlink>
        <a:srgbClr val="954F72"/>
      </a:folHlink>
    </a:clrScheme>
    <a:fontScheme name="SD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72000" rIns="72000" bIns="72000" rtlCol="0" anchor="ctr"/>
      <a:lstStyle>
        <a:defPPr algn="ctr">
          <a:defRPr sz="16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custClrLst>
    <a:custClr name="Grøn 1">
      <a:srgbClr val="4E5B31"/>
    </a:custClr>
    <a:custClr name="Grøn 2">
      <a:srgbClr val="789D4A"/>
    </a:custClr>
    <a:custClr name="Grøn 3">
      <a:srgbClr val="AEB862"/>
    </a:custClr>
    <a:custClr name="Grøn 4">
      <a:srgbClr val="EAE7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Orange 1">
      <a:srgbClr val="D38235"/>
    </a:custClr>
    <a:custClr name="Orange 2">
      <a:srgbClr val="E0A526"/>
    </a:custClr>
    <a:custClr name="Orange 3">
      <a:srgbClr val="EED484"/>
    </a:custClr>
    <a:custClr name="Orange 4">
      <a:srgbClr val="FCF0C4"/>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ød 1">
      <a:srgbClr val="862633"/>
    </a:custClr>
    <a:custClr name="Rød 2">
      <a:srgbClr val="D05A57"/>
    </a:custClr>
    <a:custClr name="Rød 3">
      <a:srgbClr val="E1BBB4"/>
    </a:custClr>
    <a:custClr name="Rød 4">
      <a:srgbClr val="F4E2D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run 1">
      <a:srgbClr val="473729"/>
    </a:custClr>
    <a:custClr name="Brun 2">
      <a:srgbClr val="946037"/>
    </a:custClr>
    <a:custClr name="Brun 3">
      <a:srgbClr val="DDCBA4"/>
    </a:custClr>
    <a:custClr name="Brun 4">
      <a:srgbClr val="EFE5D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Sort">
      <a:srgbClr val="000000"/>
    </a:custClr>
    <a:custClr name="Hvid">
      <a:srgbClr val="FFFFFF"/>
    </a:custClr>
  </a:custClrLst>
  <a:extLst>
    <a:ext uri="{05A4C25C-085E-4340-85A3-A5531E510DB2}">
      <thm15:themeFamily xmlns:thm15="http://schemas.microsoft.com/office/thememl/2012/main" name="SDU widescreen.potx" id="{1C4F8E8D-0334-4267-96F7-9CAC143C1229}" vid="{6887ADA9-E5D5-4F4B-ACE2-43240691910A}"/>
    </a:ext>
  </a:extLst>
</a:theme>
</file>

<file path=ppt/theme/theme2.xml><?xml version="1.0" encoding="utf-8"?>
<a:theme xmlns:a="http://schemas.openxmlformats.org/drawingml/2006/main" name="1_Office-tema">
  <a:themeElements>
    <a:clrScheme name="Nyt SIS">
      <a:dk1>
        <a:sysClr val="windowText" lastClr="000000"/>
      </a:dk1>
      <a:lt1>
        <a:sysClr val="window" lastClr="FFFFFF"/>
      </a:lt1>
      <a:dk2>
        <a:srgbClr val="064F44"/>
      </a:dk2>
      <a:lt2>
        <a:srgbClr val="E7E6E6"/>
      </a:lt2>
      <a:accent1>
        <a:srgbClr val="4A8588"/>
      </a:accent1>
      <a:accent2>
        <a:srgbClr val="429FAC"/>
      </a:accent2>
      <a:accent3>
        <a:srgbClr val="9CC4D8"/>
      </a:accent3>
      <a:accent4>
        <a:srgbClr val="A3E5CC"/>
      </a:accent4>
      <a:accent5>
        <a:srgbClr val="CBD6B9"/>
      </a:accent5>
      <a:accent6>
        <a:srgbClr val="FC5E61"/>
      </a:accent6>
      <a:hlink>
        <a:srgbClr val="006F44"/>
      </a:hlink>
      <a:folHlink>
        <a:srgbClr val="FC5E6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yt SIS Powerpoint skabelon" id="{F4896C55-85A6-4390-BD9A-79C604098F5D}" vid="{139A7FB5-7B09-4EB8-8E72-23E9814005C8}"/>
    </a:ext>
  </a:extLst>
</a:theme>
</file>

<file path=ppt/theme/theme3.xml><?xml version="1.0" encoding="utf-8"?>
<a:theme xmlns:a="http://schemas.openxmlformats.org/drawingml/2006/main" name="2_Blank">
  <a:themeElements>
    <a:clrScheme name="SDU">
      <a:dk1>
        <a:srgbClr val="000000"/>
      </a:dk1>
      <a:lt1>
        <a:srgbClr val="FFFFFF"/>
      </a:lt1>
      <a:dk2>
        <a:srgbClr val="7A6040"/>
      </a:dk2>
      <a:lt2>
        <a:srgbClr val="DDCBA4"/>
      </a:lt2>
      <a:accent1>
        <a:srgbClr val="AEB862"/>
      </a:accent1>
      <a:accent2>
        <a:srgbClr val="789D4A"/>
      </a:accent2>
      <a:accent3>
        <a:srgbClr val="F2C75C"/>
      </a:accent3>
      <a:accent4>
        <a:srgbClr val="E07E3C"/>
      </a:accent4>
      <a:accent5>
        <a:srgbClr val="E1BBB4"/>
      </a:accent5>
      <a:accent6>
        <a:srgbClr val="D05A57"/>
      </a:accent6>
      <a:hlink>
        <a:srgbClr val="0563C1"/>
      </a:hlink>
      <a:folHlink>
        <a:srgbClr val="954F72"/>
      </a:folHlink>
    </a:clrScheme>
    <a:fontScheme name="SD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72000" rIns="72000" bIns="72000" rtlCol="0" anchor="ctr"/>
      <a:lstStyle>
        <a:defPPr algn="ctr">
          <a:defRPr sz="16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custClrLst>
    <a:custClr name="Grøn 1">
      <a:srgbClr val="4E5B31"/>
    </a:custClr>
    <a:custClr name="Grøn 2">
      <a:srgbClr val="789D4A"/>
    </a:custClr>
    <a:custClr name="Grøn 3">
      <a:srgbClr val="AEB862"/>
    </a:custClr>
    <a:custClr name="Grøn 4">
      <a:srgbClr val="EAE7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Orange 1">
      <a:srgbClr val="D38235"/>
    </a:custClr>
    <a:custClr name="Orange 2">
      <a:srgbClr val="E0A526"/>
    </a:custClr>
    <a:custClr name="Orange 3">
      <a:srgbClr val="EED484"/>
    </a:custClr>
    <a:custClr name="Orange 4">
      <a:srgbClr val="FCF0C4"/>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ød 1">
      <a:srgbClr val="862633"/>
    </a:custClr>
    <a:custClr name="Rød 2">
      <a:srgbClr val="D05A57"/>
    </a:custClr>
    <a:custClr name="Rød 3">
      <a:srgbClr val="E1BBB4"/>
    </a:custClr>
    <a:custClr name="Rød 4">
      <a:srgbClr val="F4E2D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run 1">
      <a:srgbClr val="473729"/>
    </a:custClr>
    <a:custClr name="Brun 2">
      <a:srgbClr val="946037"/>
    </a:custClr>
    <a:custClr name="Brun 3">
      <a:srgbClr val="DDCBA4"/>
    </a:custClr>
    <a:custClr name="Brun 4">
      <a:srgbClr val="EFE5D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Sort">
      <a:srgbClr val="000000"/>
    </a:custClr>
    <a:custClr name="Hvid">
      <a:srgbClr val="FFFFFF"/>
    </a:custClr>
  </a:custClrLst>
  <a:extLst>
    <a:ext uri="{05A4C25C-085E-4340-85A3-A5531E510DB2}">
      <thm15:themeFamily xmlns:thm15="http://schemas.microsoft.com/office/thememl/2012/main" name="SDU widescreen.potx" id="{1C4F8E8D-0334-4267-96F7-9CAC143C1229}" vid="{6887ADA9-E5D5-4F4B-ACE2-43240691910A}"/>
    </a:ext>
  </a:extLst>
</a:theme>
</file>

<file path=ppt/theme/theme4.xml><?xml version="1.0" encoding="utf-8"?>
<a:theme xmlns:a="http://schemas.openxmlformats.org/drawingml/2006/main" name="1_Blank">
  <a:themeElements>
    <a:clrScheme name="SDU">
      <a:dk1>
        <a:srgbClr val="000000"/>
      </a:dk1>
      <a:lt1>
        <a:srgbClr val="FFFFFF"/>
      </a:lt1>
      <a:dk2>
        <a:srgbClr val="7A6040"/>
      </a:dk2>
      <a:lt2>
        <a:srgbClr val="DDCBA4"/>
      </a:lt2>
      <a:accent1>
        <a:srgbClr val="AEB862"/>
      </a:accent1>
      <a:accent2>
        <a:srgbClr val="789D4A"/>
      </a:accent2>
      <a:accent3>
        <a:srgbClr val="F2C75C"/>
      </a:accent3>
      <a:accent4>
        <a:srgbClr val="E07E3C"/>
      </a:accent4>
      <a:accent5>
        <a:srgbClr val="E1BBB4"/>
      </a:accent5>
      <a:accent6>
        <a:srgbClr val="D05A57"/>
      </a:accent6>
      <a:hlink>
        <a:srgbClr val="0563C1"/>
      </a:hlink>
      <a:folHlink>
        <a:srgbClr val="954F72"/>
      </a:folHlink>
    </a:clrScheme>
    <a:fontScheme name="SD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72000" rIns="72000" bIns="72000" rtlCol="0" anchor="ctr"/>
      <a:lstStyle>
        <a:defPPr algn="ctr">
          <a:defRPr sz="16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custClrLst>
    <a:custClr name="Grøn 1">
      <a:srgbClr val="4E5B31"/>
    </a:custClr>
    <a:custClr name="Grøn 2">
      <a:srgbClr val="789D4A"/>
    </a:custClr>
    <a:custClr name="Grøn 3">
      <a:srgbClr val="AEB862"/>
    </a:custClr>
    <a:custClr name="Grøn 4">
      <a:srgbClr val="EAE7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Orange 1">
      <a:srgbClr val="D38235"/>
    </a:custClr>
    <a:custClr name="Orange 2">
      <a:srgbClr val="E0A526"/>
    </a:custClr>
    <a:custClr name="Orange 3">
      <a:srgbClr val="EED484"/>
    </a:custClr>
    <a:custClr name="Orange 4">
      <a:srgbClr val="FCF0C4"/>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ød 1">
      <a:srgbClr val="862633"/>
    </a:custClr>
    <a:custClr name="Rød 2">
      <a:srgbClr val="D05A57"/>
    </a:custClr>
    <a:custClr name="Rød 3">
      <a:srgbClr val="E1BBB4"/>
    </a:custClr>
    <a:custClr name="Rød 4">
      <a:srgbClr val="F4E2D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run 1">
      <a:srgbClr val="473729"/>
    </a:custClr>
    <a:custClr name="Brun 2">
      <a:srgbClr val="946037"/>
    </a:custClr>
    <a:custClr name="Brun 3">
      <a:srgbClr val="DDCBA4"/>
    </a:custClr>
    <a:custClr name="Brun 4">
      <a:srgbClr val="EFE5D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Sort">
      <a:srgbClr val="000000"/>
    </a:custClr>
    <a:custClr name="Hvid">
      <a:srgbClr val="FFFFFF"/>
    </a:custClr>
  </a:custClrLst>
  <a:extLst>
    <a:ext uri="{05A4C25C-085E-4340-85A3-A5531E510DB2}">
      <thm15:themeFamily xmlns:thm15="http://schemas.microsoft.com/office/thememl/2012/main" name="SDU widescreen.potx" id="{1C4F8E8D-0334-4267-96F7-9CAC143C1229}" vid="{6887ADA9-E5D5-4F4B-ACE2-43240691910A}"/>
    </a:ext>
  </a:extLst>
</a:theme>
</file>

<file path=ppt/theme/theme5.xml><?xml version="1.0" encoding="utf-8"?>
<a:theme xmlns:a="http://schemas.openxmlformats.org/drawingml/2006/main" name="3_Blank">
  <a:themeElements>
    <a:clrScheme name="SDU">
      <a:dk1>
        <a:srgbClr val="000000"/>
      </a:dk1>
      <a:lt1>
        <a:srgbClr val="FFFFFF"/>
      </a:lt1>
      <a:dk2>
        <a:srgbClr val="7A6040"/>
      </a:dk2>
      <a:lt2>
        <a:srgbClr val="DDCBA4"/>
      </a:lt2>
      <a:accent1>
        <a:srgbClr val="AEB862"/>
      </a:accent1>
      <a:accent2>
        <a:srgbClr val="789D4A"/>
      </a:accent2>
      <a:accent3>
        <a:srgbClr val="F2C75C"/>
      </a:accent3>
      <a:accent4>
        <a:srgbClr val="E07E3C"/>
      </a:accent4>
      <a:accent5>
        <a:srgbClr val="E1BBB4"/>
      </a:accent5>
      <a:accent6>
        <a:srgbClr val="D05A57"/>
      </a:accent6>
      <a:hlink>
        <a:srgbClr val="0563C1"/>
      </a:hlink>
      <a:folHlink>
        <a:srgbClr val="954F72"/>
      </a:folHlink>
    </a:clrScheme>
    <a:fontScheme name="SD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72000" rIns="72000" bIns="72000" rtlCol="0" anchor="ctr"/>
      <a:lstStyle>
        <a:defPPr algn="ctr">
          <a:defRPr sz="16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custClrLst>
    <a:custClr name="Grøn 1">
      <a:srgbClr val="4E5B31"/>
    </a:custClr>
    <a:custClr name="Grøn 2">
      <a:srgbClr val="789D4A"/>
    </a:custClr>
    <a:custClr name="Grøn 3">
      <a:srgbClr val="AEB862"/>
    </a:custClr>
    <a:custClr name="Grøn 4">
      <a:srgbClr val="EAE7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Orange 1">
      <a:srgbClr val="D38235"/>
    </a:custClr>
    <a:custClr name="Orange 2">
      <a:srgbClr val="E0A526"/>
    </a:custClr>
    <a:custClr name="Orange 3">
      <a:srgbClr val="EED484"/>
    </a:custClr>
    <a:custClr name="Orange 4">
      <a:srgbClr val="FCF0C4"/>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ød 1">
      <a:srgbClr val="862633"/>
    </a:custClr>
    <a:custClr name="Rød 2">
      <a:srgbClr val="D05A57"/>
    </a:custClr>
    <a:custClr name="Rød 3">
      <a:srgbClr val="E1BBB4"/>
    </a:custClr>
    <a:custClr name="Rød 4">
      <a:srgbClr val="F4E2D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run 1">
      <a:srgbClr val="473729"/>
    </a:custClr>
    <a:custClr name="Brun 2">
      <a:srgbClr val="946037"/>
    </a:custClr>
    <a:custClr name="Brun 3">
      <a:srgbClr val="DDCBA4"/>
    </a:custClr>
    <a:custClr name="Brun 4">
      <a:srgbClr val="EFE5D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Sort">
      <a:srgbClr val="000000"/>
    </a:custClr>
    <a:custClr name="Hvid">
      <a:srgbClr val="FFFFFF"/>
    </a:custClr>
  </a:custClrLst>
  <a:extLst>
    <a:ext uri="{05A4C25C-085E-4340-85A3-A5531E510DB2}">
      <thm15:themeFamily xmlns:thm15="http://schemas.microsoft.com/office/thememl/2012/main" name="SDU widescreen.potx" id="{1C4F8E8D-0334-4267-96F7-9CAC143C1229}" vid="{6887ADA9-E5D5-4F4B-ACE2-43240691910A}"/>
    </a:ext>
  </a:extLst>
</a:theme>
</file>

<file path=ppt/theme/theme6.xml><?xml version="1.0" encoding="utf-8"?>
<a:theme xmlns:a="http://schemas.openxmlformats.org/drawingml/2006/main" name="4_Blank">
  <a:themeElements>
    <a:clrScheme name="SDU">
      <a:dk1>
        <a:srgbClr val="000000"/>
      </a:dk1>
      <a:lt1>
        <a:srgbClr val="FFFFFF"/>
      </a:lt1>
      <a:dk2>
        <a:srgbClr val="7A6040"/>
      </a:dk2>
      <a:lt2>
        <a:srgbClr val="DDCBA4"/>
      </a:lt2>
      <a:accent1>
        <a:srgbClr val="AEB862"/>
      </a:accent1>
      <a:accent2>
        <a:srgbClr val="789D4A"/>
      </a:accent2>
      <a:accent3>
        <a:srgbClr val="F2C75C"/>
      </a:accent3>
      <a:accent4>
        <a:srgbClr val="E07E3C"/>
      </a:accent4>
      <a:accent5>
        <a:srgbClr val="E1BBB4"/>
      </a:accent5>
      <a:accent6>
        <a:srgbClr val="D05A57"/>
      </a:accent6>
      <a:hlink>
        <a:srgbClr val="0563C1"/>
      </a:hlink>
      <a:folHlink>
        <a:srgbClr val="954F72"/>
      </a:folHlink>
    </a:clrScheme>
    <a:fontScheme name="SDU">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solidFill>
            <a:schemeClr val="accent1"/>
          </a:solidFill>
        </a:ln>
      </a:spPr>
      <a:bodyPr lIns="72000" tIns="72000" rIns="72000" bIns="72000" rtlCol="0" anchor="ctr"/>
      <a:lstStyle>
        <a:defPPr algn="ctr">
          <a:defRPr sz="1600" dirty="0" err="1"/>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dirty="0" err="1"/>
        </a:defPPr>
      </a:lstStyle>
    </a:txDef>
  </a:objectDefaults>
  <a:extraClrSchemeLst/>
  <a:custClrLst>
    <a:custClr name="Grøn 1">
      <a:srgbClr val="4E5B31"/>
    </a:custClr>
    <a:custClr name="Grøn 2">
      <a:srgbClr val="789D4A"/>
    </a:custClr>
    <a:custClr name="Grøn 3">
      <a:srgbClr val="AEB862"/>
    </a:custClr>
    <a:custClr name="Grøn 4">
      <a:srgbClr val="EAE7B9"/>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Orange 1">
      <a:srgbClr val="D38235"/>
    </a:custClr>
    <a:custClr name="Orange 2">
      <a:srgbClr val="E0A526"/>
    </a:custClr>
    <a:custClr name="Orange 3">
      <a:srgbClr val="EED484"/>
    </a:custClr>
    <a:custClr name="Orange 4">
      <a:srgbClr val="FCF0C4"/>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Rød 1">
      <a:srgbClr val="862633"/>
    </a:custClr>
    <a:custClr name="Rød 2">
      <a:srgbClr val="D05A57"/>
    </a:custClr>
    <a:custClr name="Rød 3">
      <a:srgbClr val="E1BBB4"/>
    </a:custClr>
    <a:custClr name="Rød 4">
      <a:srgbClr val="F4E2DE"/>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Brun 1">
      <a:srgbClr val="473729"/>
    </a:custClr>
    <a:custClr name="Brun 2">
      <a:srgbClr val="946037"/>
    </a:custClr>
    <a:custClr name="Brun 3">
      <a:srgbClr val="DDCBA4"/>
    </a:custClr>
    <a:custClr name="Brun 4">
      <a:srgbClr val="EFE5D1"/>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Color has no name">
      <a:srgbClr val="FFFFFF"/>
    </a:custClr>
    <a:custClr name="Sort">
      <a:srgbClr val="000000"/>
    </a:custClr>
    <a:custClr name="Hvid">
      <a:srgbClr val="FFFFFF"/>
    </a:custClr>
  </a:custClrLst>
  <a:extLst>
    <a:ext uri="{05A4C25C-085E-4340-85A3-A5531E510DB2}">
      <thm15:themeFamily xmlns:thm15="http://schemas.microsoft.com/office/thememl/2012/main" name="SDU widescreen.potx" id="{1C4F8E8D-0334-4267-96F7-9CAC143C1229}" vid="{6887ADA9-E5D5-4F4B-ACE2-43240691910A}"/>
    </a:ext>
  </a:extLst>
</a:theme>
</file>

<file path=ppt/theme/theme7.xml><?xml version="1.0" encoding="utf-8"?>
<a:theme xmlns:a="http://schemas.openxmlformats.org/drawingml/2006/main" name="Office-tema">
  <a:themeElements>
    <a:clrScheme name="Nyt SIS">
      <a:dk1>
        <a:sysClr val="windowText" lastClr="000000"/>
      </a:dk1>
      <a:lt1>
        <a:sysClr val="window" lastClr="FFFFFF"/>
      </a:lt1>
      <a:dk2>
        <a:srgbClr val="064F44"/>
      </a:dk2>
      <a:lt2>
        <a:srgbClr val="E7E6E6"/>
      </a:lt2>
      <a:accent1>
        <a:srgbClr val="4A8588"/>
      </a:accent1>
      <a:accent2>
        <a:srgbClr val="429FAC"/>
      </a:accent2>
      <a:accent3>
        <a:srgbClr val="9CC4D8"/>
      </a:accent3>
      <a:accent4>
        <a:srgbClr val="A3E5CC"/>
      </a:accent4>
      <a:accent5>
        <a:srgbClr val="CBD6B9"/>
      </a:accent5>
      <a:accent6>
        <a:srgbClr val="FC5E61"/>
      </a:accent6>
      <a:hlink>
        <a:srgbClr val="006F44"/>
      </a:hlink>
      <a:folHlink>
        <a:srgbClr val="FC5E6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skabelon" id="{854CC988-2128-458F-A28D-A6AFBD07002E}" vid="{12F7C4BA-8F8F-4926-BD39-506BFE495D1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TemplateConfiguration><![CDATA[{"documentContentValidatorConfiguration":{"enableDocumentContentValidator":false,"documentContentValidatorVersion":0},"elementsMetadata":[],"slideId":"636891895634292862","enableDocumentContentUpdater":true,"version":"1.3"}]]></TemplafySlideTemplateConfiguration>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TemplafySlideFormConfiguration><![CDATA[{"formFields":[],"formDataEntries":[]}]]></TemplafySlideFormConfiguration>
</file>

<file path=customXml/item4.xml><?xml version="1.0" encoding="utf-8"?>
<ct:contentTypeSchema xmlns:ct="http://schemas.microsoft.com/office/2006/metadata/contentType" xmlns:ma="http://schemas.microsoft.com/office/2006/metadata/properties/metaAttributes" ct:_="" ma:_="" ma:contentTypeName="Dokument" ma:contentTypeID="0x0101001A147376E4071D4B8B249705545EB074" ma:contentTypeVersion="10" ma:contentTypeDescription="Opret et nyt dokument." ma:contentTypeScope="" ma:versionID="687ae7e744c8a72671e97cfa538291f3">
  <xsd:schema xmlns:xsd="http://www.w3.org/2001/XMLSchema" xmlns:xs="http://www.w3.org/2001/XMLSchema" xmlns:p="http://schemas.microsoft.com/office/2006/metadata/properties" xmlns:ns2="8a47e293-3c41-4a30-bba8-509b235e1cb9" xmlns:ns3="b1eb15c8-9992-4af8-8065-f58597bfc9ea" targetNamespace="http://schemas.microsoft.com/office/2006/metadata/properties" ma:root="true" ma:fieldsID="45a33d8fd375af7fc4e28c906da46761" ns2:_="" ns3:_="">
    <xsd:import namespace="8a47e293-3c41-4a30-bba8-509b235e1cb9"/>
    <xsd:import namespace="b1eb15c8-9992-4af8-8065-f58597bfc9e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bjectDetectorVersions" minOccurs="0"/>
                <xsd:element ref="ns2:MediaServiceOCR"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a47e293-3c41-4a30-bba8-509b235e1c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Billedmærker" ma:readOnly="false" ma:fieldId="{5cf76f15-5ced-4ddc-b409-7134ff3c332f}" ma:taxonomyMulti="true" ma:sspId="f9553f63-5966-4a09-978d-72b299aea11b"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1eb15c8-9992-4af8-8065-f58597bfc9e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39ada5f-512b-4352-9e4c-7dfcf9ec8960}" ma:internalName="TaxCatchAll" ma:showField="CatchAllData" ma:web="b1eb15c8-9992-4af8-8065-f58597bfc9e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5.xml><?xml version="1.0" encoding="utf-8"?>
<p:properties xmlns:p="http://schemas.microsoft.com/office/2006/metadata/properties" xmlns:xsi="http://www.w3.org/2001/XMLSchema-instance" xmlns:pc="http://schemas.microsoft.com/office/infopath/2007/PartnerControls">
  <documentManagement>
    <lcf76f155ced4ddcb4097134ff3c332f xmlns="8a47e293-3c41-4a30-bba8-509b235e1cb9">
      <Terms xmlns="http://schemas.microsoft.com/office/infopath/2007/PartnerControls"/>
    </lcf76f155ced4ddcb4097134ff3c332f>
    <TaxCatchAll xmlns="b1eb15c8-9992-4af8-8065-f58597bfc9ea" xsi:nil="true"/>
  </documentManagement>
</p:properties>
</file>

<file path=customXml/item6.xml><?xml version="1.0" encoding="utf-8"?>
<TemplafySlideFormConfiguration><![CDATA[{"formFields":[],"formDataEntries":[]}]]></TemplafySlideFormConfiguration>
</file>

<file path=customXml/item7.xml><?xml version="1.0" encoding="utf-8"?>
<TemplafySlideTemplateConfiguration><![CDATA[{"documentContentValidatorConfiguration":{"enableDocumentContentValidator":false,"documentContentValidatorVersion":0},"elementsMetadata":[],"slideId":"636891895634292862","enableDocumentContentUpdater":true,"version":"1.3"}]]></TemplafySlideTemplateConfiguration>
</file>

<file path=customXml/item8.xml><?xml version="1.0" encoding="utf-8"?>
<TemplafySlideTemplateConfiguration><![CDATA[{"slideVersion":1,"isValidatorEnabled":false,"isLocked":false,"elementsMetadata":[],"slideId":"637926249703923580","enableDocumentContentUpdater":false,"version":"2.0"}]]></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80A386E5-FB57-411F-ACEC-E4C4608EF981}">
  <ds:schemaRefs/>
</ds:datastoreItem>
</file>

<file path=customXml/itemProps2.xml><?xml version="1.0" encoding="utf-8"?>
<ds:datastoreItem xmlns:ds="http://schemas.openxmlformats.org/officeDocument/2006/customXml" ds:itemID="{580EB984-EF8D-495F-8019-875751118926}">
  <ds:schemaRefs>
    <ds:schemaRef ds:uri="http://schemas.microsoft.com/sharepoint/v3/contenttype/forms"/>
  </ds:schemaRefs>
</ds:datastoreItem>
</file>

<file path=customXml/itemProps3.xml><?xml version="1.0" encoding="utf-8"?>
<ds:datastoreItem xmlns:ds="http://schemas.openxmlformats.org/officeDocument/2006/customXml" ds:itemID="{43723FED-A2E0-415E-8B28-139637BC092B}">
  <ds:schemaRefs/>
</ds:datastoreItem>
</file>

<file path=customXml/itemProps4.xml><?xml version="1.0" encoding="utf-8"?>
<ds:datastoreItem xmlns:ds="http://schemas.openxmlformats.org/officeDocument/2006/customXml" ds:itemID="{5B9308ED-F1CD-4F33-A2E4-6B0A88840F31}">
  <ds:schemaRefs>
    <ds:schemaRef ds:uri="8a47e293-3c41-4a30-bba8-509b235e1cb9"/>
    <ds:schemaRef ds:uri="b1eb15c8-9992-4af8-8065-f58597bfc9e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5.xml><?xml version="1.0" encoding="utf-8"?>
<ds:datastoreItem xmlns:ds="http://schemas.openxmlformats.org/officeDocument/2006/customXml" ds:itemID="{C482F5E8-946A-432F-9E84-F6B501F8874A}">
  <ds:schemaRefs>
    <ds:schemaRef ds:uri="8a47e293-3c41-4a30-bba8-509b235e1cb9"/>
    <ds:schemaRef ds:uri="b1eb15c8-9992-4af8-8065-f58597bfc9ea"/>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6.xml><?xml version="1.0" encoding="utf-8"?>
<ds:datastoreItem xmlns:ds="http://schemas.openxmlformats.org/officeDocument/2006/customXml" ds:itemID="{B00E11DF-AFC4-4825-BA57-A1BA61F8F53A}">
  <ds:schemaRefs/>
</ds:datastoreItem>
</file>

<file path=customXml/itemProps7.xml><?xml version="1.0" encoding="utf-8"?>
<ds:datastoreItem xmlns:ds="http://schemas.openxmlformats.org/officeDocument/2006/customXml" ds:itemID="{C38543DD-2347-48A2-BC8C-81B76FFC4D12}">
  <ds:schemaRefs/>
</ds:datastoreItem>
</file>

<file path=customXml/itemProps8.xml><?xml version="1.0" encoding="utf-8"?>
<ds:datastoreItem xmlns:ds="http://schemas.openxmlformats.org/officeDocument/2006/customXml" ds:itemID="{8966E087-F819-494A-9CE7-0298D0F464E2}">
  <ds:schemaRefs/>
</ds:datastoreItem>
</file>

<file path=customXml/itemProps9.xml><?xml version="1.0" encoding="utf-8"?>
<ds:datastoreItem xmlns:ds="http://schemas.openxmlformats.org/officeDocument/2006/customXml" ds:itemID="{883434F9-D096-4BEA-8EF4-236818595C1A}">
  <ds:schemaRefs/>
</ds:datastoreItem>
</file>

<file path=docProps/app.xml><?xml version="1.0" encoding="utf-8"?>
<Properties xmlns="http://schemas.openxmlformats.org/officeDocument/2006/extended-properties" xmlns:vt="http://schemas.openxmlformats.org/officeDocument/2006/docPropsVTypes">
  <TotalTime>10545</TotalTime>
  <Words>2716</Words>
  <Application>Microsoft Office PowerPoint</Application>
  <PresentationFormat>Widescreen</PresentationFormat>
  <Paragraphs>716</Paragraphs>
  <Slides>37</Slides>
  <Notes>7</Notes>
  <HiddenSlides>1</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37</vt:i4>
      </vt:variant>
    </vt:vector>
  </HeadingPairs>
  <TitlesOfParts>
    <vt:vector size="56" baseType="lpstr">
      <vt:lpstr>Aptos</vt:lpstr>
      <vt:lpstr>Arial</vt:lpstr>
      <vt:lpstr>Brown</vt:lpstr>
      <vt:lpstr>Calibri</vt:lpstr>
      <vt:lpstr>Campton Book</vt:lpstr>
      <vt:lpstr>Google Sans</vt:lpstr>
      <vt:lpstr>inherit</vt:lpstr>
      <vt:lpstr>Lucida Handwriting</vt:lpstr>
      <vt:lpstr>Lyon Display Web</vt:lpstr>
      <vt:lpstr>Symbol,Sans-Serif</vt:lpstr>
      <vt:lpstr>Wingdings</vt:lpstr>
      <vt:lpstr>Blank</vt:lpstr>
      <vt:lpstr>1_Office-tema</vt:lpstr>
      <vt:lpstr>2_Blank</vt:lpstr>
      <vt:lpstr>1_Blank</vt:lpstr>
      <vt:lpstr>3_Blank</vt:lpstr>
      <vt:lpstr>4_Blank</vt:lpstr>
      <vt:lpstr>Office-tema</vt:lpstr>
      <vt:lpstr>think-cell Slide</vt:lpstr>
      <vt:lpstr>SDU SIS  program   </vt:lpstr>
      <vt:lpstr>Den næste times tid</vt:lpstr>
      <vt:lpstr>Hvad er et program?  </vt:lpstr>
      <vt:lpstr>SDU´s SIS program - SDU Fælles - SDU Lokal</vt:lpstr>
      <vt:lpstr>SIS historik </vt:lpstr>
      <vt:lpstr>VISION – SDU SIS</vt:lpstr>
      <vt:lpstr>PowerPoint Presentation</vt:lpstr>
      <vt:lpstr>Fælles SIS programorganisering designfase</vt:lpstr>
      <vt:lpstr>PowerPoint Presentation</vt:lpstr>
      <vt:lpstr>PowerPoint Presentation</vt:lpstr>
      <vt:lpstr>PowerPoint Presentation</vt:lpstr>
      <vt:lpstr>PowerPoint Presentation</vt:lpstr>
      <vt:lpstr>PowerPoint Presentation</vt:lpstr>
      <vt:lpstr>Ketchup og bump</vt:lpstr>
      <vt:lpstr>Transition  </vt:lpstr>
      <vt:lpstr>SDU IT og -Digital ressourcer</vt:lpstr>
      <vt:lpstr>PowerPoint Presentation</vt:lpstr>
      <vt:lpstr>PowerPoint Presentation</vt:lpstr>
      <vt:lpstr>PowerPoint Presentation</vt:lpstr>
      <vt:lpstr>PowerPoint Presentation</vt:lpstr>
      <vt:lpstr>What to do?</vt:lpstr>
      <vt:lpstr>Hvordan styrer vi - ressourcer / kompetencer - motivation gennem bump og klumpning af opgaver?  Hvordan lykkes I?</vt:lpstr>
      <vt:lpstr>Samarbejde / mange interessenter - tillid - hurtige beslutninger</vt:lpstr>
      <vt:lpstr>Fælles national løsning</vt:lpstr>
      <vt:lpstr> </vt:lpstr>
      <vt:lpstr> </vt:lpstr>
      <vt:lpstr>Forandringsorganisation</vt:lpstr>
      <vt:lpstr>Øvrige interessent grupper</vt:lpstr>
      <vt:lpstr>Fælles  kapabilitetsopbygning </vt:lpstr>
      <vt:lpstr>Fart og tillid</vt:lpstr>
      <vt:lpstr>Standardsystem</vt:lpstr>
      <vt:lpstr>Hvad er det for en løsning vi får?</vt:lpstr>
      <vt:lpstr>100 % fælles</vt:lpstr>
      <vt:lpstr>MVP Minimum Viable Product</vt:lpstr>
      <vt:lpstr>Forberedelse</vt:lpstr>
      <vt:lpstr>Fra egenudviklet til standar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rlængelse af Designfasen | Med ændringsanmodning 35 foreslår Leverandøren at forlænge Designfasen med fem måneder</dc:title>
  <dc:creator>Ron, Ida</dc:creator>
  <cp:lastModifiedBy>Mette Thomassen</cp:lastModifiedBy>
  <cp:revision>5</cp:revision>
  <dcterms:created xsi:type="dcterms:W3CDTF">2024-11-14T08:18:35Z</dcterms:created>
  <dcterms:modified xsi:type="dcterms:W3CDTF">2025-05-09T14:32: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11-14T08:25:45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5e6131af-3838-40da-9d0f-7649e0c7733c</vt:lpwstr>
  </property>
  <property fmtid="{D5CDD505-2E9C-101B-9397-08002B2CF9AE}" pid="8" name="MSIP_Label_ea60d57e-af5b-4752-ac57-3e4f28ca11dc_ContentBits">
    <vt:lpwstr>0</vt:lpwstr>
  </property>
  <property fmtid="{D5CDD505-2E9C-101B-9397-08002B2CF9AE}" pid="9" name="ContentTypeId">
    <vt:lpwstr>0x0101001A147376E4071D4B8B249705545EB074</vt:lpwstr>
  </property>
  <property fmtid="{D5CDD505-2E9C-101B-9397-08002B2CF9AE}" pid="10" name="MediaServiceImageTags">
    <vt:lpwstr/>
  </property>
</Properties>
</file>